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5"/>
    <p:sldMasterId id="2147483668" r:id="rId6"/>
    <p:sldMasterId id="2147483725" r:id="rId7"/>
  </p:sldMasterIdLst>
  <p:notesMasterIdLst>
    <p:notesMasterId r:id="rId16"/>
  </p:notesMasterIdLst>
  <p:sldIdLst>
    <p:sldId id="270" r:id="rId8"/>
    <p:sldId id="2147480973" r:id="rId9"/>
    <p:sldId id="2147480984" r:id="rId10"/>
    <p:sldId id="2147480975" r:id="rId11"/>
    <p:sldId id="2139119723" r:id="rId12"/>
    <p:sldId id="2147480987" r:id="rId13"/>
    <p:sldId id="2147480986" r:id="rId14"/>
    <p:sldId id="2147480988" r:id="rId15"/>
  </p:sldIdLst>
  <p:sldSz cx="12192000" cy="6858000"/>
  <p:notesSz cx="7102475" cy="9388475"/>
  <p:custDataLst>
    <p:tags r:id="rId17"/>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EF0DC"/>
    <a:srgbClr val="9F2331"/>
    <a:srgbClr val="3F000B"/>
    <a:srgbClr val="525457"/>
    <a:srgbClr val="FDDCAE"/>
    <a:srgbClr val="FFC9D2"/>
    <a:srgbClr val="C1D4E2"/>
    <a:srgbClr val="4A101A"/>
    <a:srgbClr val="007434"/>
    <a:srgbClr val="008E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FD28E4-D12C-46D3-8241-101A03BAA84C}" v="1915" dt="2023-05-22T16:41:54.2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7" autoAdjust="0"/>
    <p:restoredTop sz="42206" autoAdjust="0"/>
  </p:normalViewPr>
  <p:slideViewPr>
    <p:cSldViewPr snapToGrid="0">
      <p:cViewPr>
        <p:scale>
          <a:sx n="50" d="100"/>
          <a:sy n="50" d="100"/>
        </p:scale>
        <p:origin x="273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5" Type="http://schemas.openxmlformats.org/officeDocument/2006/relationships/slideMaster" Target="slideMasters/slideMaster1.xml"/><Relationship Id="rId15" Type="http://schemas.openxmlformats.org/officeDocument/2006/relationships/slide" Target="slides/slide8.xml"/><Relationship Id="rId23"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uldsbury, Brian" userId="38f05b2e-fac1-4f2f-9dd8-c5800f9e0066" providerId="ADAL" clId="{ABFD28E4-D12C-46D3-8241-101A03BAA84C}"/>
    <pc:docChg chg="undo redo custSel addSld delSld modSld sldOrd modMainMaster replTag">
      <pc:chgData name="Gouldsbury, Brian" userId="38f05b2e-fac1-4f2f-9dd8-c5800f9e0066" providerId="ADAL" clId="{ABFD28E4-D12C-46D3-8241-101A03BAA84C}" dt="2023-05-23T12:34:32.900" v="14602" actId="20577"/>
      <pc:docMkLst>
        <pc:docMk/>
      </pc:docMkLst>
      <pc:sldChg chg="addSp delSp modSp mod modTransition modNotesTx">
        <pc:chgData name="Gouldsbury, Brian" userId="38f05b2e-fac1-4f2f-9dd8-c5800f9e0066" providerId="ADAL" clId="{ABFD28E4-D12C-46D3-8241-101A03BAA84C}" dt="2023-05-23T12:34:32.900" v="14602" actId="20577"/>
        <pc:sldMkLst>
          <pc:docMk/>
          <pc:sldMk cId="2369542032" sldId="270"/>
        </pc:sldMkLst>
        <pc:spChg chg="mod ord">
          <ac:chgData name="Gouldsbury, Brian" userId="38f05b2e-fac1-4f2f-9dd8-c5800f9e0066" providerId="ADAL" clId="{ABFD28E4-D12C-46D3-8241-101A03BAA84C}" dt="2023-05-22T16:39:19.431" v="14089"/>
          <ac:spMkLst>
            <pc:docMk/>
            <pc:sldMk cId="2369542032" sldId="270"/>
            <ac:spMk id="2" creationId="{D1937392-E140-DC84-BAAD-1549DCBBCC53}"/>
          </ac:spMkLst>
        </pc:spChg>
        <pc:spChg chg="add mod ord">
          <ac:chgData name="Gouldsbury, Brian" userId="38f05b2e-fac1-4f2f-9dd8-c5800f9e0066" providerId="ADAL" clId="{ABFD28E4-D12C-46D3-8241-101A03BAA84C}" dt="2023-05-22T16:39:19.429" v="14083"/>
          <ac:spMkLst>
            <pc:docMk/>
            <pc:sldMk cId="2369542032" sldId="270"/>
            <ac:spMk id="3" creationId="{48493452-43B1-B19B-C94C-1FEC2EFEB6B5}"/>
          </ac:spMkLst>
        </pc:spChg>
        <pc:spChg chg="add del mod modVis">
          <ac:chgData name="Gouldsbury, Brian" userId="38f05b2e-fac1-4f2f-9dd8-c5800f9e0066" providerId="ADAL" clId="{ABFD28E4-D12C-46D3-8241-101A03BAA84C}" dt="2023-05-22T16:39:19.437" v="14106"/>
          <ac:spMkLst>
            <pc:docMk/>
            <pc:sldMk cId="2369542032" sldId="270"/>
            <ac:spMk id="4" creationId="{73EBC2CF-71AF-0D15-1345-6A5D44DCB131}"/>
          </ac:spMkLst>
        </pc:spChg>
        <pc:spChg chg="mod ord">
          <ac:chgData name="Gouldsbury, Brian" userId="38f05b2e-fac1-4f2f-9dd8-c5800f9e0066" providerId="ADAL" clId="{ABFD28E4-D12C-46D3-8241-101A03BAA84C}" dt="2023-05-22T16:39:26.762" v="14109" actId="207"/>
          <ac:spMkLst>
            <pc:docMk/>
            <pc:sldMk cId="2369542032" sldId="270"/>
            <ac:spMk id="7" creationId="{338B0504-0933-84E4-0EE5-DC359318D291}"/>
          </ac:spMkLst>
        </pc:spChg>
        <pc:spChg chg="add del mod">
          <ac:chgData name="Gouldsbury, Brian" userId="38f05b2e-fac1-4f2f-9dd8-c5800f9e0066" providerId="ADAL" clId="{ABFD28E4-D12C-46D3-8241-101A03BAA84C}" dt="2023-05-15T10:32:18.109" v="95" actId="478"/>
          <ac:spMkLst>
            <pc:docMk/>
            <pc:sldMk cId="2369542032" sldId="270"/>
            <ac:spMk id="8" creationId="{81028000-6D0D-8920-E482-C6550C51B859}"/>
          </ac:spMkLst>
        </pc:spChg>
        <pc:spChg chg="add del mod">
          <ac:chgData name="Gouldsbury, Brian" userId="38f05b2e-fac1-4f2f-9dd8-c5800f9e0066" providerId="ADAL" clId="{ABFD28E4-D12C-46D3-8241-101A03BAA84C}" dt="2023-05-15T10:32:38.365" v="100" actId="478"/>
          <ac:spMkLst>
            <pc:docMk/>
            <pc:sldMk cId="2369542032" sldId="270"/>
            <ac:spMk id="9" creationId="{01A38B94-D4FC-4531-A254-F69B2D7D2CEC}"/>
          </ac:spMkLst>
        </pc:spChg>
        <pc:spChg chg="mod ord">
          <ac:chgData name="Gouldsbury, Brian" userId="38f05b2e-fac1-4f2f-9dd8-c5800f9e0066" providerId="ADAL" clId="{ABFD28E4-D12C-46D3-8241-101A03BAA84C}" dt="2023-05-15T10:44:15.047" v="621" actId="1037"/>
          <ac:spMkLst>
            <pc:docMk/>
            <pc:sldMk cId="2369542032" sldId="270"/>
            <ac:spMk id="12" creationId="{E1F2FA83-D187-D8C1-6D43-8AA9F1A4B6A2}"/>
          </ac:spMkLst>
        </pc:spChg>
        <pc:spChg chg="del">
          <ac:chgData name="Gouldsbury, Brian" userId="38f05b2e-fac1-4f2f-9dd8-c5800f9e0066" providerId="ADAL" clId="{ABFD28E4-D12C-46D3-8241-101A03BAA84C}" dt="2023-05-15T10:37:59.176" v="281" actId="478"/>
          <ac:spMkLst>
            <pc:docMk/>
            <pc:sldMk cId="2369542032" sldId="270"/>
            <ac:spMk id="16" creationId="{6F29A0F9-E3CA-D26E-D33F-9FE41DDC0688}"/>
          </ac:spMkLst>
        </pc:spChg>
        <pc:spChg chg="del">
          <ac:chgData name="Gouldsbury, Brian" userId="38f05b2e-fac1-4f2f-9dd8-c5800f9e0066" providerId="ADAL" clId="{ABFD28E4-D12C-46D3-8241-101A03BAA84C}" dt="2023-05-15T10:37:59.176" v="281" actId="478"/>
          <ac:spMkLst>
            <pc:docMk/>
            <pc:sldMk cId="2369542032" sldId="270"/>
            <ac:spMk id="19" creationId="{BC357822-DCB5-CC6E-284D-F22B06F0F31E}"/>
          </ac:spMkLst>
        </pc:spChg>
        <pc:spChg chg="add mod ord">
          <ac:chgData name="Gouldsbury, Brian" userId="38f05b2e-fac1-4f2f-9dd8-c5800f9e0066" providerId="ADAL" clId="{ABFD28E4-D12C-46D3-8241-101A03BAA84C}" dt="2023-05-15T10:44:19.694" v="625" actId="1037"/>
          <ac:spMkLst>
            <pc:docMk/>
            <pc:sldMk cId="2369542032" sldId="270"/>
            <ac:spMk id="22" creationId="{93229972-1B16-A861-A940-9C4F76DD36D0}"/>
          </ac:spMkLst>
        </pc:spChg>
        <pc:spChg chg="add mod ord">
          <ac:chgData name="Gouldsbury, Brian" userId="38f05b2e-fac1-4f2f-9dd8-c5800f9e0066" providerId="ADAL" clId="{ABFD28E4-D12C-46D3-8241-101A03BAA84C}" dt="2023-05-15T11:10:34.476" v="2674" actId="20577"/>
          <ac:spMkLst>
            <pc:docMk/>
            <pc:sldMk cId="2369542032" sldId="270"/>
            <ac:spMk id="23" creationId="{327EBDD2-F6F1-8F78-8ECA-22D7CBAAABC5}"/>
          </ac:spMkLst>
        </pc:spChg>
        <pc:spChg chg="add mod ord">
          <ac:chgData name="Gouldsbury, Brian" userId="38f05b2e-fac1-4f2f-9dd8-c5800f9e0066" providerId="ADAL" clId="{ABFD28E4-D12C-46D3-8241-101A03BAA84C}" dt="2023-05-15T10:44:31.371" v="634" actId="1037"/>
          <ac:spMkLst>
            <pc:docMk/>
            <pc:sldMk cId="2369542032" sldId="270"/>
            <ac:spMk id="24" creationId="{F8BDF45C-0261-FCCE-2E79-F2745F865669}"/>
          </ac:spMkLst>
        </pc:spChg>
        <pc:spChg chg="add mod ord">
          <ac:chgData name="Gouldsbury, Brian" userId="38f05b2e-fac1-4f2f-9dd8-c5800f9e0066" providerId="ADAL" clId="{ABFD28E4-D12C-46D3-8241-101A03BAA84C}" dt="2023-05-15T10:44:34.978" v="657" actId="1038"/>
          <ac:spMkLst>
            <pc:docMk/>
            <pc:sldMk cId="2369542032" sldId="270"/>
            <ac:spMk id="25" creationId="{E5374585-C214-EA16-C487-88200AF63BFB}"/>
          </ac:spMkLst>
        </pc:spChg>
        <pc:spChg chg="add mod ord">
          <ac:chgData name="Gouldsbury, Brian" userId="38f05b2e-fac1-4f2f-9dd8-c5800f9e0066" providerId="ADAL" clId="{ABFD28E4-D12C-46D3-8241-101A03BAA84C}" dt="2023-05-15T10:59:46.586" v="1316" actId="20577"/>
          <ac:spMkLst>
            <pc:docMk/>
            <pc:sldMk cId="2369542032" sldId="270"/>
            <ac:spMk id="26" creationId="{4ACDE24F-72B1-4E11-965F-21F62522E22A}"/>
          </ac:spMkLst>
        </pc:spChg>
        <pc:spChg chg="add mod ord">
          <ac:chgData name="Gouldsbury, Brian" userId="38f05b2e-fac1-4f2f-9dd8-c5800f9e0066" providerId="ADAL" clId="{ABFD28E4-D12C-46D3-8241-101A03BAA84C}" dt="2023-05-15T10:41:26.363" v="555" actId="1038"/>
          <ac:spMkLst>
            <pc:docMk/>
            <pc:sldMk cId="2369542032" sldId="270"/>
            <ac:spMk id="27" creationId="{E657D9E7-2408-1D02-DEA0-01E0C39A4D67}"/>
          </ac:spMkLst>
        </pc:spChg>
        <pc:spChg chg="add mod">
          <ac:chgData name="Gouldsbury, Brian" userId="38f05b2e-fac1-4f2f-9dd8-c5800f9e0066" providerId="ADAL" clId="{ABFD28E4-D12C-46D3-8241-101A03BAA84C}" dt="2023-05-15T10:44:27.271" v="631" actId="571"/>
          <ac:spMkLst>
            <pc:docMk/>
            <pc:sldMk cId="2369542032" sldId="270"/>
            <ac:spMk id="36" creationId="{17A235B2-CF09-6742-5B65-12D06571DB3F}"/>
          </ac:spMkLst>
        </pc:spChg>
        <pc:spChg chg="mod">
          <ac:chgData name="Gouldsbury, Brian" userId="38f05b2e-fac1-4f2f-9dd8-c5800f9e0066" providerId="ADAL" clId="{ABFD28E4-D12C-46D3-8241-101A03BAA84C}" dt="2023-05-15T10:45:22.335" v="697" actId="207"/>
          <ac:spMkLst>
            <pc:docMk/>
            <pc:sldMk cId="2369542032" sldId="270"/>
            <ac:spMk id="44" creationId="{0111EDEB-1312-5F68-276F-071D69BE9428}"/>
          </ac:spMkLst>
        </pc:spChg>
        <pc:spChg chg="add mod ord">
          <ac:chgData name="Gouldsbury, Brian" userId="38f05b2e-fac1-4f2f-9dd8-c5800f9e0066" providerId="ADAL" clId="{ABFD28E4-D12C-46D3-8241-101A03BAA84C}" dt="2023-05-22T16:39:26.762" v="14109" actId="207"/>
          <ac:spMkLst>
            <pc:docMk/>
            <pc:sldMk cId="2369542032" sldId="270"/>
            <ac:spMk id="48" creationId="{A6AEF479-0B33-E674-15C9-81336DFA89C5}"/>
          </ac:spMkLst>
        </pc:spChg>
        <pc:spChg chg="add del mod ord">
          <ac:chgData name="Gouldsbury, Brian" userId="38f05b2e-fac1-4f2f-9dd8-c5800f9e0066" providerId="ADAL" clId="{ABFD28E4-D12C-46D3-8241-101A03BAA84C}" dt="2023-05-15T10:47:34.547" v="776" actId="478"/>
          <ac:spMkLst>
            <pc:docMk/>
            <pc:sldMk cId="2369542032" sldId="270"/>
            <ac:spMk id="49" creationId="{4B20C176-7455-558F-26AD-631776774D5C}"/>
          </ac:spMkLst>
        </pc:spChg>
        <pc:spChg chg="add mod ord">
          <ac:chgData name="Gouldsbury, Brian" userId="38f05b2e-fac1-4f2f-9dd8-c5800f9e0066" providerId="ADAL" clId="{ABFD28E4-D12C-46D3-8241-101A03BAA84C}" dt="2023-05-22T16:39:26.762" v="14109" actId="207"/>
          <ac:spMkLst>
            <pc:docMk/>
            <pc:sldMk cId="2369542032" sldId="270"/>
            <ac:spMk id="50" creationId="{AB770862-48AA-142C-C313-B4CB9C97EECA}"/>
          </ac:spMkLst>
        </pc:spChg>
        <pc:spChg chg="add mod ord">
          <ac:chgData name="Gouldsbury, Brian" userId="38f05b2e-fac1-4f2f-9dd8-c5800f9e0066" providerId="ADAL" clId="{ABFD28E4-D12C-46D3-8241-101A03BAA84C}" dt="2023-05-22T16:39:26.762" v="14109" actId="207"/>
          <ac:spMkLst>
            <pc:docMk/>
            <pc:sldMk cId="2369542032" sldId="270"/>
            <ac:spMk id="51" creationId="{6CFB35D7-90FE-D348-B4FF-1089BEF44ABC}"/>
          </ac:spMkLst>
        </pc:spChg>
        <pc:spChg chg="add mod ord">
          <ac:chgData name="Gouldsbury, Brian" userId="38f05b2e-fac1-4f2f-9dd8-c5800f9e0066" providerId="ADAL" clId="{ABFD28E4-D12C-46D3-8241-101A03BAA84C}" dt="2023-05-22T16:39:26.762" v="14109" actId="207"/>
          <ac:spMkLst>
            <pc:docMk/>
            <pc:sldMk cId="2369542032" sldId="270"/>
            <ac:spMk id="52" creationId="{51096F15-C086-6481-50A3-5D23414BEFDD}"/>
          </ac:spMkLst>
        </pc:spChg>
        <pc:spChg chg="add mod ord">
          <ac:chgData name="Gouldsbury, Brian" userId="38f05b2e-fac1-4f2f-9dd8-c5800f9e0066" providerId="ADAL" clId="{ABFD28E4-D12C-46D3-8241-101A03BAA84C}" dt="2023-05-22T16:39:26.762" v="14109" actId="207"/>
          <ac:spMkLst>
            <pc:docMk/>
            <pc:sldMk cId="2369542032" sldId="270"/>
            <ac:spMk id="53" creationId="{86ABF525-9B8C-9268-20E8-CC9997D54493}"/>
          </ac:spMkLst>
        </pc:spChg>
        <pc:spChg chg="add del mod ord">
          <ac:chgData name="Gouldsbury, Brian" userId="38f05b2e-fac1-4f2f-9dd8-c5800f9e0066" providerId="ADAL" clId="{ABFD28E4-D12C-46D3-8241-101A03BAA84C}" dt="2023-05-23T12:34:32.900" v="14602" actId="20577"/>
          <ac:spMkLst>
            <pc:docMk/>
            <pc:sldMk cId="2369542032" sldId="270"/>
            <ac:spMk id="54" creationId="{BA19E982-9BD7-09E0-B7F0-F31151D1802F}"/>
          </ac:spMkLst>
        </pc:spChg>
        <pc:spChg chg="add mod ord">
          <ac:chgData name="Gouldsbury, Brian" userId="38f05b2e-fac1-4f2f-9dd8-c5800f9e0066" providerId="ADAL" clId="{ABFD28E4-D12C-46D3-8241-101A03BAA84C}" dt="2023-05-23T12:31:40.017" v="14251" actId="207"/>
          <ac:spMkLst>
            <pc:docMk/>
            <pc:sldMk cId="2369542032" sldId="270"/>
            <ac:spMk id="56" creationId="{D0D0E161-5B99-3307-4BE0-BE1DF43B938B}"/>
          </ac:spMkLst>
        </pc:spChg>
        <pc:grpChg chg="add mod">
          <ac:chgData name="Gouldsbury, Brian" userId="38f05b2e-fac1-4f2f-9dd8-c5800f9e0066" providerId="ADAL" clId="{ABFD28E4-D12C-46D3-8241-101A03BAA84C}" dt="2023-05-22T16:39:19.434" v="14099"/>
          <ac:grpSpMkLst>
            <pc:docMk/>
            <pc:sldMk cId="2369542032" sldId="270"/>
            <ac:grpSpMk id="28" creationId="{950B7BE7-106D-D4FF-ED5B-547BAF46B57F}"/>
          </ac:grpSpMkLst>
        </pc:grpChg>
        <pc:grpChg chg="add mod">
          <ac:chgData name="Gouldsbury, Brian" userId="38f05b2e-fac1-4f2f-9dd8-c5800f9e0066" providerId="ADAL" clId="{ABFD28E4-D12C-46D3-8241-101A03BAA84C}" dt="2023-05-22T16:39:19.431" v="14090"/>
          <ac:grpSpMkLst>
            <pc:docMk/>
            <pc:sldMk cId="2369542032" sldId="270"/>
            <ac:grpSpMk id="30" creationId="{C4A24F3E-77B7-0E71-CB6E-1947EFE16C39}"/>
          </ac:grpSpMkLst>
        </pc:grpChg>
        <pc:grpChg chg="add mod">
          <ac:chgData name="Gouldsbury, Brian" userId="38f05b2e-fac1-4f2f-9dd8-c5800f9e0066" providerId="ADAL" clId="{ABFD28E4-D12C-46D3-8241-101A03BAA84C}" dt="2023-05-22T16:39:19.434" v="14098"/>
          <ac:grpSpMkLst>
            <pc:docMk/>
            <pc:sldMk cId="2369542032" sldId="270"/>
            <ac:grpSpMk id="31" creationId="{635848DE-E54D-18FD-EFEF-3E3A6F845CC3}"/>
          </ac:grpSpMkLst>
        </pc:grpChg>
        <pc:grpChg chg="add mod">
          <ac:chgData name="Gouldsbury, Brian" userId="38f05b2e-fac1-4f2f-9dd8-c5800f9e0066" providerId="ADAL" clId="{ABFD28E4-D12C-46D3-8241-101A03BAA84C}" dt="2023-05-22T16:39:19.432" v="14094"/>
          <ac:grpSpMkLst>
            <pc:docMk/>
            <pc:sldMk cId="2369542032" sldId="270"/>
            <ac:grpSpMk id="32" creationId="{553BA717-E712-D56F-2FD5-F44794EC3F60}"/>
          </ac:grpSpMkLst>
        </pc:grpChg>
        <pc:grpChg chg="add mod">
          <ac:chgData name="Gouldsbury, Brian" userId="38f05b2e-fac1-4f2f-9dd8-c5800f9e0066" providerId="ADAL" clId="{ABFD28E4-D12C-46D3-8241-101A03BAA84C}" dt="2023-05-22T16:39:19.433" v="14095"/>
          <ac:grpSpMkLst>
            <pc:docMk/>
            <pc:sldMk cId="2369542032" sldId="270"/>
            <ac:grpSpMk id="33" creationId="{8D5981F3-E211-2751-A128-7E2AA99EDF14}"/>
          </ac:grpSpMkLst>
        </pc:grpChg>
        <pc:grpChg chg="add mod">
          <ac:chgData name="Gouldsbury, Brian" userId="38f05b2e-fac1-4f2f-9dd8-c5800f9e0066" providerId="ADAL" clId="{ABFD28E4-D12C-46D3-8241-101A03BAA84C}" dt="2023-05-22T16:39:19.434" v="14097"/>
          <ac:grpSpMkLst>
            <pc:docMk/>
            <pc:sldMk cId="2369542032" sldId="270"/>
            <ac:grpSpMk id="34" creationId="{07B46E36-F1BC-83EB-29F2-C159C16DA817}"/>
          </ac:grpSpMkLst>
        </pc:grpChg>
        <pc:grpChg chg="add mod">
          <ac:chgData name="Gouldsbury, Brian" userId="38f05b2e-fac1-4f2f-9dd8-c5800f9e0066" providerId="ADAL" clId="{ABFD28E4-D12C-46D3-8241-101A03BAA84C}" dt="2023-05-22T16:39:19.433" v="14096"/>
          <ac:grpSpMkLst>
            <pc:docMk/>
            <pc:sldMk cId="2369542032" sldId="270"/>
            <ac:grpSpMk id="40" creationId="{7C278881-646A-46A9-347D-C4D31BA9F1B6}"/>
          </ac:grpSpMkLst>
        </pc:grpChg>
        <pc:grpChg chg="add mod">
          <ac:chgData name="Gouldsbury, Brian" userId="38f05b2e-fac1-4f2f-9dd8-c5800f9e0066" providerId="ADAL" clId="{ABFD28E4-D12C-46D3-8241-101A03BAA84C}" dt="2023-05-22T16:39:19.435" v="14100"/>
          <ac:grpSpMkLst>
            <pc:docMk/>
            <pc:sldMk cId="2369542032" sldId="270"/>
            <ac:grpSpMk id="41" creationId="{6B3A7970-D3C1-9441-CF28-2723969E1402}"/>
          </ac:grpSpMkLst>
        </pc:grpChg>
        <pc:grpChg chg="add mod">
          <ac:chgData name="Gouldsbury, Brian" userId="38f05b2e-fac1-4f2f-9dd8-c5800f9e0066" providerId="ADAL" clId="{ABFD28E4-D12C-46D3-8241-101A03BAA84C}" dt="2023-05-15T10:58:12.756" v="1312" actId="164"/>
          <ac:grpSpMkLst>
            <pc:docMk/>
            <pc:sldMk cId="2369542032" sldId="270"/>
            <ac:grpSpMk id="57" creationId="{0202A75F-D3D1-9514-FE06-E55AC83F587C}"/>
          </ac:grpSpMkLst>
        </pc:grpChg>
        <pc:grpChg chg="add mod">
          <ac:chgData name="Gouldsbury, Brian" userId="38f05b2e-fac1-4f2f-9dd8-c5800f9e0066" providerId="ADAL" clId="{ABFD28E4-D12C-46D3-8241-101A03BAA84C}" dt="2023-05-15T10:58:12.756" v="1312" actId="164"/>
          <ac:grpSpMkLst>
            <pc:docMk/>
            <pc:sldMk cId="2369542032" sldId="270"/>
            <ac:grpSpMk id="58" creationId="{96556BD3-AFC3-67B2-DB4A-F6B8791DEC96}"/>
          </ac:grpSpMkLst>
        </pc:grpChg>
        <pc:grpChg chg="add mod ord">
          <ac:chgData name="Gouldsbury, Brian" userId="38f05b2e-fac1-4f2f-9dd8-c5800f9e0066" providerId="ADAL" clId="{ABFD28E4-D12C-46D3-8241-101A03BAA84C}" dt="2023-05-22T16:39:19.435" v="14102"/>
          <ac:grpSpMkLst>
            <pc:docMk/>
            <pc:sldMk cId="2369542032" sldId="270"/>
            <ac:grpSpMk id="59" creationId="{484A0913-CB2A-5091-555A-C2B8C5D78B64}"/>
          </ac:grpSpMkLst>
        </pc:grpChg>
        <pc:graphicFrameChg chg="mod">
          <ac:chgData name="Gouldsbury, Brian" userId="38f05b2e-fac1-4f2f-9dd8-c5800f9e0066" providerId="ADAL" clId="{ABFD28E4-D12C-46D3-8241-101A03BAA84C}" dt="2023-05-22T16:39:19.439" v="14108"/>
          <ac:graphicFrameMkLst>
            <pc:docMk/>
            <pc:sldMk cId="2369542032" sldId="270"/>
            <ac:graphicFrameMk id="6" creationId="{353D220D-D77C-2EFD-BF03-869FF7AA3BA8}"/>
          </ac:graphicFrameMkLst>
        </pc:graphicFrameChg>
        <pc:graphicFrameChg chg="add del mod ord modGraphic">
          <ac:chgData name="Gouldsbury, Brian" userId="38f05b2e-fac1-4f2f-9dd8-c5800f9e0066" providerId="ADAL" clId="{ABFD28E4-D12C-46D3-8241-101A03BAA84C}" dt="2023-05-22T16:39:48.942" v="14112" actId="207"/>
          <ac:graphicFrameMkLst>
            <pc:docMk/>
            <pc:sldMk cId="2369542032" sldId="270"/>
            <ac:graphicFrameMk id="10" creationId="{51F76287-9D6C-679B-7F09-91D798E11DDC}"/>
          </ac:graphicFrameMkLst>
        </pc:graphicFrameChg>
        <pc:graphicFrameChg chg="add del modGraphic">
          <ac:chgData name="Gouldsbury, Brian" userId="38f05b2e-fac1-4f2f-9dd8-c5800f9e0066" providerId="ADAL" clId="{ABFD28E4-D12C-46D3-8241-101A03BAA84C}" dt="2023-05-15T10:35:26.990" v="214" actId="3680"/>
          <ac:graphicFrameMkLst>
            <pc:docMk/>
            <pc:sldMk cId="2369542032" sldId="270"/>
            <ac:graphicFrameMk id="17" creationId="{DF7C9AE9-73ED-2FC0-FA3D-DD4DE3B9FBD1}"/>
          </ac:graphicFrameMkLst>
        </pc:graphicFrameChg>
        <pc:graphicFrameChg chg="add del mod ord modGraphic">
          <ac:chgData name="Gouldsbury, Brian" userId="38f05b2e-fac1-4f2f-9dd8-c5800f9e0066" providerId="ADAL" clId="{ABFD28E4-D12C-46D3-8241-101A03BAA84C}" dt="2023-05-15T10:44:11.618" v="620" actId="478"/>
          <ac:graphicFrameMkLst>
            <pc:docMk/>
            <pc:sldMk cId="2369542032" sldId="270"/>
            <ac:graphicFrameMk id="21" creationId="{594EAD0F-3AD6-C224-A240-C73376C3C052}"/>
          </ac:graphicFrameMkLst>
        </pc:graphicFrameChg>
        <pc:picChg chg="add mod">
          <ac:chgData name="Gouldsbury, Brian" userId="38f05b2e-fac1-4f2f-9dd8-c5800f9e0066" providerId="ADAL" clId="{ABFD28E4-D12C-46D3-8241-101A03BAA84C}" dt="2023-05-15T10:44:21.574" v="627" actId="1037"/>
          <ac:picMkLst>
            <pc:docMk/>
            <pc:sldMk cId="2369542032" sldId="270"/>
            <ac:picMk id="11" creationId="{36BFA0AB-A4BA-79A7-2208-108EA675D664}"/>
          </ac:picMkLst>
        </pc:picChg>
        <pc:picChg chg="add mod">
          <ac:chgData name="Gouldsbury, Brian" userId="38f05b2e-fac1-4f2f-9dd8-c5800f9e0066" providerId="ADAL" clId="{ABFD28E4-D12C-46D3-8241-101A03BAA84C}" dt="2023-05-15T10:44:31.371" v="634" actId="1037"/>
          <ac:picMkLst>
            <pc:docMk/>
            <pc:sldMk cId="2369542032" sldId="270"/>
            <ac:picMk id="13" creationId="{F1A646EF-04C0-06EE-7ACC-9AE61A99C0A1}"/>
          </ac:picMkLst>
        </pc:picChg>
        <pc:picChg chg="add mod">
          <ac:chgData name="Gouldsbury, Brian" userId="38f05b2e-fac1-4f2f-9dd8-c5800f9e0066" providerId="ADAL" clId="{ABFD28E4-D12C-46D3-8241-101A03BAA84C}" dt="2023-05-15T10:44:27.271" v="631" actId="571"/>
          <ac:picMkLst>
            <pc:docMk/>
            <pc:sldMk cId="2369542032" sldId="270"/>
            <ac:picMk id="35" creationId="{7354D7DE-9718-73DE-3434-7F8FBFD5D4B4}"/>
          </ac:picMkLst>
        </pc:picChg>
        <pc:picChg chg="mod">
          <ac:chgData name="Gouldsbury, Brian" userId="38f05b2e-fac1-4f2f-9dd8-c5800f9e0066" providerId="ADAL" clId="{ABFD28E4-D12C-46D3-8241-101A03BAA84C}" dt="2023-05-15T10:44:15.047" v="621" actId="1037"/>
          <ac:picMkLst>
            <pc:docMk/>
            <pc:sldMk cId="2369542032" sldId="270"/>
            <ac:picMk id="37" creationId="{A08CCB68-436B-0600-45CF-0C1D8359CF99}"/>
          </ac:picMkLst>
        </pc:picChg>
        <pc:picChg chg="mod">
          <ac:chgData name="Gouldsbury, Brian" userId="38f05b2e-fac1-4f2f-9dd8-c5800f9e0066" providerId="ADAL" clId="{ABFD28E4-D12C-46D3-8241-101A03BAA84C}" dt="2023-05-15T10:44:19.694" v="625" actId="1037"/>
          <ac:picMkLst>
            <pc:docMk/>
            <pc:sldMk cId="2369542032" sldId="270"/>
            <ac:picMk id="38" creationId="{DDAF9A54-257A-AAB5-A263-3B8CD739014C}"/>
          </ac:picMkLst>
        </pc:picChg>
        <pc:picChg chg="mod">
          <ac:chgData name="Gouldsbury, Brian" userId="38f05b2e-fac1-4f2f-9dd8-c5800f9e0066" providerId="ADAL" clId="{ABFD28E4-D12C-46D3-8241-101A03BAA84C}" dt="2023-05-15T10:44:34.978" v="657" actId="1038"/>
          <ac:picMkLst>
            <pc:docMk/>
            <pc:sldMk cId="2369542032" sldId="270"/>
            <ac:picMk id="39" creationId="{13100455-DDA9-5E54-0446-E6107F0A13EE}"/>
          </ac:picMkLst>
        </pc:picChg>
        <pc:picChg chg="mod">
          <ac:chgData name="Gouldsbury, Brian" userId="38f05b2e-fac1-4f2f-9dd8-c5800f9e0066" providerId="ADAL" clId="{ABFD28E4-D12C-46D3-8241-101A03BAA84C}" dt="2023-05-15T10:44:49.119" v="662" actId="1037"/>
          <ac:picMkLst>
            <pc:docMk/>
            <pc:sldMk cId="2369542032" sldId="270"/>
            <ac:picMk id="42" creationId="{C5671AB9-077F-49D0-9826-1DCF7670E869}"/>
          </ac:picMkLst>
        </pc:picChg>
        <pc:picChg chg="mod">
          <ac:chgData name="Gouldsbury, Brian" userId="38f05b2e-fac1-4f2f-9dd8-c5800f9e0066" providerId="ADAL" clId="{ABFD28E4-D12C-46D3-8241-101A03BAA84C}" dt="2023-05-22T16:39:19.432" v="14091"/>
          <ac:picMkLst>
            <pc:docMk/>
            <pc:sldMk cId="2369542032" sldId="270"/>
            <ac:picMk id="43" creationId="{1FF6B97C-35A5-FBDB-15E5-4F0A2A335DCC}"/>
          </ac:picMkLst>
        </pc:picChg>
        <pc:picChg chg="add del mod">
          <ac:chgData name="Gouldsbury, Brian" userId="38f05b2e-fac1-4f2f-9dd8-c5800f9e0066" providerId="ADAL" clId="{ABFD28E4-D12C-46D3-8241-101A03BAA84C}" dt="2023-05-15T10:53:23.964" v="1063"/>
          <ac:picMkLst>
            <pc:docMk/>
            <pc:sldMk cId="2369542032" sldId="270"/>
            <ac:picMk id="55" creationId="{9301D6F1-3E39-296A-642C-5B9FF9616E28}"/>
          </ac:picMkLst>
        </pc:picChg>
        <pc:picChg chg="mod">
          <ac:chgData name="Gouldsbury, Brian" userId="38f05b2e-fac1-4f2f-9dd8-c5800f9e0066" providerId="ADAL" clId="{ABFD28E4-D12C-46D3-8241-101A03BAA84C}" dt="2023-05-15T10:44:17.813" v="623" actId="1038"/>
          <ac:picMkLst>
            <pc:docMk/>
            <pc:sldMk cId="2369542032" sldId="270"/>
            <ac:picMk id="1026" creationId="{306EE5C8-3CC0-AC75-02CF-0D1D865DF2F7}"/>
          </ac:picMkLst>
        </pc:picChg>
        <pc:picChg chg="add mod">
          <ac:chgData name="Gouldsbury, Brian" userId="38f05b2e-fac1-4f2f-9dd8-c5800f9e0066" providerId="ADAL" clId="{ABFD28E4-D12C-46D3-8241-101A03BAA84C}" dt="2023-05-15T10:41:35.478" v="556"/>
          <ac:picMkLst>
            <pc:docMk/>
            <pc:sldMk cId="2369542032" sldId="270"/>
            <ac:picMk id="1028" creationId="{57818458-54D6-F809-0CBB-31D5F57ACA16}"/>
          </ac:picMkLst>
        </pc:picChg>
      </pc:sldChg>
      <pc:sldChg chg="delSp add del modNotesTx">
        <pc:chgData name="Gouldsbury, Brian" userId="38f05b2e-fac1-4f2f-9dd8-c5800f9e0066" providerId="ADAL" clId="{ABFD28E4-D12C-46D3-8241-101A03BAA84C}" dt="2023-05-19T09:39:19.501" v="3134" actId="47"/>
        <pc:sldMkLst>
          <pc:docMk/>
          <pc:sldMk cId="1715510334" sldId="271"/>
        </pc:sldMkLst>
        <pc:spChg chg="del">
          <ac:chgData name="Gouldsbury, Brian" userId="38f05b2e-fac1-4f2f-9dd8-c5800f9e0066" providerId="ADAL" clId="{ABFD28E4-D12C-46D3-8241-101A03BAA84C}" dt="2023-05-19T09:36:12.882" v="3129" actId="478"/>
          <ac:spMkLst>
            <pc:docMk/>
            <pc:sldMk cId="1715510334" sldId="271"/>
            <ac:spMk id="7" creationId="{338B0504-0933-84E4-0EE5-DC359318D291}"/>
          </ac:spMkLst>
        </pc:spChg>
        <pc:spChg chg="del">
          <ac:chgData name="Gouldsbury, Brian" userId="38f05b2e-fac1-4f2f-9dd8-c5800f9e0066" providerId="ADAL" clId="{ABFD28E4-D12C-46D3-8241-101A03BAA84C}" dt="2023-05-19T09:36:12.882" v="3129" actId="478"/>
          <ac:spMkLst>
            <pc:docMk/>
            <pc:sldMk cId="1715510334" sldId="271"/>
            <ac:spMk id="56" creationId="{D0D0E161-5B99-3307-4BE0-BE1DF43B938B}"/>
          </ac:spMkLst>
        </pc:spChg>
        <pc:grpChg chg="del">
          <ac:chgData name="Gouldsbury, Brian" userId="38f05b2e-fac1-4f2f-9dd8-c5800f9e0066" providerId="ADAL" clId="{ABFD28E4-D12C-46D3-8241-101A03BAA84C}" dt="2023-05-19T09:36:12.882" v="3129" actId="478"/>
          <ac:grpSpMkLst>
            <pc:docMk/>
            <pc:sldMk cId="1715510334" sldId="271"/>
            <ac:grpSpMk id="28" creationId="{950B7BE7-106D-D4FF-ED5B-547BAF46B57F}"/>
          </ac:grpSpMkLst>
        </pc:grpChg>
        <pc:grpChg chg="del">
          <ac:chgData name="Gouldsbury, Brian" userId="38f05b2e-fac1-4f2f-9dd8-c5800f9e0066" providerId="ADAL" clId="{ABFD28E4-D12C-46D3-8241-101A03BAA84C}" dt="2023-05-19T09:36:12.882" v="3129" actId="478"/>
          <ac:grpSpMkLst>
            <pc:docMk/>
            <pc:sldMk cId="1715510334" sldId="271"/>
            <ac:grpSpMk id="30" creationId="{C4A24F3E-77B7-0E71-CB6E-1947EFE16C39}"/>
          </ac:grpSpMkLst>
        </pc:grpChg>
        <pc:grpChg chg="del">
          <ac:chgData name="Gouldsbury, Brian" userId="38f05b2e-fac1-4f2f-9dd8-c5800f9e0066" providerId="ADAL" clId="{ABFD28E4-D12C-46D3-8241-101A03BAA84C}" dt="2023-05-19T09:36:12.882" v="3129" actId="478"/>
          <ac:grpSpMkLst>
            <pc:docMk/>
            <pc:sldMk cId="1715510334" sldId="271"/>
            <ac:grpSpMk id="31" creationId="{635848DE-E54D-18FD-EFEF-3E3A6F845CC3}"/>
          </ac:grpSpMkLst>
        </pc:grpChg>
        <pc:grpChg chg="del">
          <ac:chgData name="Gouldsbury, Brian" userId="38f05b2e-fac1-4f2f-9dd8-c5800f9e0066" providerId="ADAL" clId="{ABFD28E4-D12C-46D3-8241-101A03BAA84C}" dt="2023-05-19T09:36:12.882" v="3129" actId="478"/>
          <ac:grpSpMkLst>
            <pc:docMk/>
            <pc:sldMk cId="1715510334" sldId="271"/>
            <ac:grpSpMk id="32" creationId="{553BA717-E712-D56F-2FD5-F44794EC3F60}"/>
          </ac:grpSpMkLst>
        </pc:grpChg>
        <pc:grpChg chg="del">
          <ac:chgData name="Gouldsbury, Brian" userId="38f05b2e-fac1-4f2f-9dd8-c5800f9e0066" providerId="ADAL" clId="{ABFD28E4-D12C-46D3-8241-101A03BAA84C}" dt="2023-05-19T09:36:12.882" v="3129" actId="478"/>
          <ac:grpSpMkLst>
            <pc:docMk/>
            <pc:sldMk cId="1715510334" sldId="271"/>
            <ac:grpSpMk id="33" creationId="{8D5981F3-E211-2751-A128-7E2AA99EDF14}"/>
          </ac:grpSpMkLst>
        </pc:grpChg>
        <pc:grpChg chg="del">
          <ac:chgData name="Gouldsbury, Brian" userId="38f05b2e-fac1-4f2f-9dd8-c5800f9e0066" providerId="ADAL" clId="{ABFD28E4-D12C-46D3-8241-101A03BAA84C}" dt="2023-05-19T09:36:12.882" v="3129" actId="478"/>
          <ac:grpSpMkLst>
            <pc:docMk/>
            <pc:sldMk cId="1715510334" sldId="271"/>
            <ac:grpSpMk id="34" creationId="{07B46E36-F1BC-83EB-29F2-C159C16DA817}"/>
          </ac:grpSpMkLst>
        </pc:grpChg>
        <pc:grpChg chg="del">
          <ac:chgData name="Gouldsbury, Brian" userId="38f05b2e-fac1-4f2f-9dd8-c5800f9e0066" providerId="ADAL" clId="{ABFD28E4-D12C-46D3-8241-101A03BAA84C}" dt="2023-05-19T09:36:12.882" v="3129" actId="478"/>
          <ac:grpSpMkLst>
            <pc:docMk/>
            <pc:sldMk cId="1715510334" sldId="271"/>
            <ac:grpSpMk id="40" creationId="{7C278881-646A-46A9-347D-C4D31BA9F1B6}"/>
          </ac:grpSpMkLst>
        </pc:grpChg>
        <pc:grpChg chg="del">
          <ac:chgData name="Gouldsbury, Brian" userId="38f05b2e-fac1-4f2f-9dd8-c5800f9e0066" providerId="ADAL" clId="{ABFD28E4-D12C-46D3-8241-101A03BAA84C}" dt="2023-05-19T09:36:12.882" v="3129" actId="478"/>
          <ac:grpSpMkLst>
            <pc:docMk/>
            <pc:sldMk cId="1715510334" sldId="271"/>
            <ac:grpSpMk id="41" creationId="{6B3A7970-D3C1-9441-CF28-2723969E1402}"/>
          </ac:grpSpMkLst>
        </pc:grpChg>
        <pc:grpChg chg="del">
          <ac:chgData name="Gouldsbury, Brian" userId="38f05b2e-fac1-4f2f-9dd8-c5800f9e0066" providerId="ADAL" clId="{ABFD28E4-D12C-46D3-8241-101A03BAA84C}" dt="2023-05-19T09:36:12.882" v="3129" actId="478"/>
          <ac:grpSpMkLst>
            <pc:docMk/>
            <pc:sldMk cId="1715510334" sldId="271"/>
            <ac:grpSpMk id="59" creationId="{484A0913-CB2A-5091-555A-C2B8C5D78B64}"/>
          </ac:grpSpMkLst>
        </pc:grpChg>
        <pc:graphicFrameChg chg="del">
          <ac:chgData name="Gouldsbury, Brian" userId="38f05b2e-fac1-4f2f-9dd8-c5800f9e0066" providerId="ADAL" clId="{ABFD28E4-D12C-46D3-8241-101A03BAA84C}" dt="2023-05-19T09:36:12.882" v="3129" actId="478"/>
          <ac:graphicFrameMkLst>
            <pc:docMk/>
            <pc:sldMk cId="1715510334" sldId="271"/>
            <ac:graphicFrameMk id="10" creationId="{51F76287-9D6C-679B-7F09-91D798E11DDC}"/>
          </ac:graphicFrameMkLst>
        </pc:graphicFrameChg>
        <pc:picChg chg="del">
          <ac:chgData name="Gouldsbury, Brian" userId="38f05b2e-fac1-4f2f-9dd8-c5800f9e0066" providerId="ADAL" clId="{ABFD28E4-D12C-46D3-8241-101A03BAA84C}" dt="2023-05-19T09:36:12.882" v="3129" actId="478"/>
          <ac:picMkLst>
            <pc:docMk/>
            <pc:sldMk cId="1715510334" sldId="271"/>
            <ac:picMk id="43" creationId="{1FF6B97C-35A5-FBDB-15E5-4F0A2A335DCC}"/>
          </ac:picMkLst>
        </pc:picChg>
      </pc:sldChg>
      <pc:sldChg chg="del">
        <pc:chgData name="Gouldsbury, Brian" userId="38f05b2e-fac1-4f2f-9dd8-c5800f9e0066" providerId="ADAL" clId="{ABFD28E4-D12C-46D3-8241-101A03BAA84C}" dt="2023-05-15T10:59:24.727" v="1314" actId="47"/>
        <pc:sldMkLst>
          <pc:docMk/>
          <pc:sldMk cId="1998106213" sldId="271"/>
        </pc:sldMkLst>
      </pc:sldChg>
      <pc:sldChg chg="addSp delSp modSp add del mod ord modTransition">
        <pc:chgData name="Gouldsbury, Brian" userId="38f05b2e-fac1-4f2f-9dd8-c5800f9e0066" providerId="ADAL" clId="{ABFD28E4-D12C-46D3-8241-101A03BAA84C}" dt="2023-05-22T16:38:37.600" v="14039"/>
        <pc:sldMkLst>
          <pc:docMk/>
          <pc:sldMk cId="4162498058" sldId="2139119723"/>
        </pc:sldMkLst>
        <pc:spChg chg="add del mod modVis">
          <ac:chgData name="Gouldsbury, Brian" userId="38f05b2e-fac1-4f2f-9dd8-c5800f9e0066" providerId="ADAL" clId="{ABFD28E4-D12C-46D3-8241-101A03BAA84C}" dt="2023-05-19T09:39:40.073" v="3217"/>
          <ac:spMkLst>
            <pc:docMk/>
            <pc:sldMk cId="4162498058" sldId="2139119723"/>
            <ac:spMk id="4" creationId="{FB76B7C2-5687-46D7-DB0C-4BD930CDB163}"/>
          </ac:spMkLst>
        </pc:spChg>
        <pc:spChg chg="mod">
          <ac:chgData name="Gouldsbury, Brian" userId="38f05b2e-fac1-4f2f-9dd8-c5800f9e0066" providerId="ADAL" clId="{ABFD28E4-D12C-46D3-8241-101A03BAA84C}" dt="2023-05-19T13:17:11.772" v="11297" actId="948"/>
          <ac:spMkLst>
            <pc:docMk/>
            <pc:sldMk cId="4162498058" sldId="2139119723"/>
            <ac:spMk id="5" creationId="{FC3E3BD6-4F3F-4D01-9398-5271C33C0B3E}"/>
          </ac:spMkLst>
        </pc:spChg>
        <pc:spChg chg="add del">
          <ac:chgData name="Gouldsbury, Brian" userId="38f05b2e-fac1-4f2f-9dd8-c5800f9e0066" providerId="ADAL" clId="{ABFD28E4-D12C-46D3-8241-101A03BAA84C}" dt="2023-05-19T09:46:24.335" v="4923" actId="478"/>
          <ac:spMkLst>
            <pc:docMk/>
            <pc:sldMk cId="4162498058" sldId="2139119723"/>
            <ac:spMk id="7" creationId="{7B8353EC-D1BB-F58D-B43E-CF85FF8F4304}"/>
          </ac:spMkLst>
        </pc:spChg>
        <pc:spChg chg="add mod">
          <ac:chgData name="Gouldsbury, Brian" userId="38f05b2e-fac1-4f2f-9dd8-c5800f9e0066" providerId="ADAL" clId="{ABFD28E4-D12C-46D3-8241-101A03BAA84C}" dt="2023-05-22T08:43:20.866" v="11553" actId="465"/>
          <ac:spMkLst>
            <pc:docMk/>
            <pc:sldMk cId="4162498058" sldId="2139119723"/>
            <ac:spMk id="7" creationId="{A0A68FC3-90D3-6D9F-E8E0-33C8BE4E292D}"/>
          </ac:spMkLst>
        </pc:spChg>
        <pc:spChg chg="add del mod modVis">
          <ac:chgData name="Gouldsbury, Brian" userId="38f05b2e-fac1-4f2f-9dd8-c5800f9e0066" providerId="ADAL" clId="{ABFD28E4-D12C-46D3-8241-101A03BAA84C}" dt="2023-05-19T09:45:38.758" v="4625"/>
          <ac:spMkLst>
            <pc:docMk/>
            <pc:sldMk cId="4162498058" sldId="2139119723"/>
            <ac:spMk id="8" creationId="{B042D859-12BC-6397-B21C-126A9B67CD45}"/>
          </ac:spMkLst>
        </pc:spChg>
        <pc:spChg chg="add mod">
          <ac:chgData name="Gouldsbury, Brian" userId="38f05b2e-fac1-4f2f-9dd8-c5800f9e0066" providerId="ADAL" clId="{ABFD28E4-D12C-46D3-8241-101A03BAA84C}" dt="2023-05-22T08:43:16.094" v="11550" actId="164"/>
          <ac:spMkLst>
            <pc:docMk/>
            <pc:sldMk cId="4162498058" sldId="2139119723"/>
            <ac:spMk id="8" creationId="{B1EBAB48-D813-6C49-5B75-0D694C8C45F3}"/>
          </ac:spMkLst>
        </pc:spChg>
        <pc:spChg chg="mod">
          <ac:chgData name="Gouldsbury, Brian" userId="38f05b2e-fac1-4f2f-9dd8-c5800f9e0066" providerId="ADAL" clId="{ABFD28E4-D12C-46D3-8241-101A03BAA84C}" dt="2023-05-19T11:38:41.070" v="6633" actId="1035"/>
          <ac:spMkLst>
            <pc:docMk/>
            <pc:sldMk cId="4162498058" sldId="2139119723"/>
            <ac:spMk id="9" creationId="{314C135F-D527-A27D-A39D-717B3C444946}"/>
          </ac:spMkLst>
        </pc:spChg>
        <pc:spChg chg="del mod">
          <ac:chgData name="Gouldsbury, Brian" userId="38f05b2e-fac1-4f2f-9dd8-c5800f9e0066" providerId="ADAL" clId="{ABFD28E4-D12C-46D3-8241-101A03BAA84C}" dt="2023-05-19T09:50:04.434" v="5230" actId="478"/>
          <ac:spMkLst>
            <pc:docMk/>
            <pc:sldMk cId="4162498058" sldId="2139119723"/>
            <ac:spMk id="10" creationId="{D4E742F9-23B0-E945-2D74-A48C4BD741F4}"/>
          </ac:spMkLst>
        </pc:spChg>
        <pc:spChg chg="add mod">
          <ac:chgData name="Gouldsbury, Brian" userId="38f05b2e-fac1-4f2f-9dd8-c5800f9e0066" providerId="ADAL" clId="{ABFD28E4-D12C-46D3-8241-101A03BAA84C}" dt="2023-05-22T08:42:34.839" v="11510" actId="571"/>
          <ac:spMkLst>
            <pc:docMk/>
            <pc:sldMk cId="4162498058" sldId="2139119723"/>
            <ac:spMk id="10" creationId="{E430E74F-E4AA-61EB-E271-E7C999A2CC0F}"/>
          </ac:spMkLst>
        </pc:spChg>
        <pc:spChg chg="add del mod modVis">
          <ac:chgData name="Gouldsbury, Brian" userId="38f05b2e-fac1-4f2f-9dd8-c5800f9e0066" providerId="ADAL" clId="{ABFD28E4-D12C-46D3-8241-101A03BAA84C}" dt="2023-05-19T09:45:43.173" v="4695"/>
          <ac:spMkLst>
            <pc:docMk/>
            <pc:sldMk cId="4162498058" sldId="2139119723"/>
            <ac:spMk id="11" creationId="{B549A3ED-5981-F198-7B46-65EC6EB8FA28}"/>
          </ac:spMkLst>
        </pc:spChg>
        <pc:spChg chg="del mod">
          <ac:chgData name="Gouldsbury, Brian" userId="38f05b2e-fac1-4f2f-9dd8-c5800f9e0066" providerId="ADAL" clId="{ABFD28E4-D12C-46D3-8241-101A03BAA84C}" dt="2023-05-19T09:50:05.796" v="5231" actId="478"/>
          <ac:spMkLst>
            <pc:docMk/>
            <pc:sldMk cId="4162498058" sldId="2139119723"/>
            <ac:spMk id="12" creationId="{F14E339C-975E-9282-35FB-F1297F490B8F}"/>
          </ac:spMkLst>
        </pc:spChg>
        <pc:spChg chg="mod">
          <ac:chgData name="Gouldsbury, Brian" userId="38f05b2e-fac1-4f2f-9dd8-c5800f9e0066" providerId="ADAL" clId="{ABFD28E4-D12C-46D3-8241-101A03BAA84C}" dt="2023-05-19T09:47:08.795" v="5183" actId="1037"/>
          <ac:spMkLst>
            <pc:docMk/>
            <pc:sldMk cId="4162498058" sldId="2139119723"/>
            <ac:spMk id="13" creationId="{8F43FC4F-62AF-B0BF-9FE3-4B1A7771576F}"/>
          </ac:spMkLst>
        </pc:spChg>
        <pc:spChg chg="mod">
          <ac:chgData name="Gouldsbury, Brian" userId="38f05b2e-fac1-4f2f-9dd8-c5800f9e0066" providerId="ADAL" clId="{ABFD28E4-D12C-46D3-8241-101A03BAA84C}" dt="2023-05-19T09:47:08.795" v="5183" actId="1037"/>
          <ac:spMkLst>
            <pc:docMk/>
            <pc:sldMk cId="4162498058" sldId="2139119723"/>
            <ac:spMk id="14" creationId="{47C48AC5-122E-681A-C057-49B958A2EAA2}"/>
          </ac:spMkLst>
        </pc:spChg>
        <pc:spChg chg="mod">
          <ac:chgData name="Gouldsbury, Brian" userId="38f05b2e-fac1-4f2f-9dd8-c5800f9e0066" providerId="ADAL" clId="{ABFD28E4-D12C-46D3-8241-101A03BAA84C}" dt="2023-05-19T09:47:08.795" v="5183" actId="1037"/>
          <ac:spMkLst>
            <pc:docMk/>
            <pc:sldMk cId="4162498058" sldId="2139119723"/>
            <ac:spMk id="16" creationId="{DCCBFAC8-1D46-872F-CB5C-33111CD2EE19}"/>
          </ac:spMkLst>
        </pc:spChg>
        <pc:spChg chg="add mod">
          <ac:chgData name="Gouldsbury, Brian" userId="38f05b2e-fac1-4f2f-9dd8-c5800f9e0066" providerId="ADAL" clId="{ABFD28E4-D12C-46D3-8241-101A03BAA84C}" dt="2023-05-22T08:42:34.839" v="11510" actId="571"/>
          <ac:spMkLst>
            <pc:docMk/>
            <pc:sldMk cId="4162498058" sldId="2139119723"/>
            <ac:spMk id="17" creationId="{6B13090F-835C-498B-D87A-01B7AB550CA6}"/>
          </ac:spMkLst>
        </pc:spChg>
        <pc:spChg chg="add del mod modVis">
          <ac:chgData name="Gouldsbury, Brian" userId="38f05b2e-fac1-4f2f-9dd8-c5800f9e0066" providerId="ADAL" clId="{ABFD28E4-D12C-46D3-8241-101A03BAA84C}" dt="2023-05-19T09:45:45.775" v="4740"/>
          <ac:spMkLst>
            <pc:docMk/>
            <pc:sldMk cId="4162498058" sldId="2139119723"/>
            <ac:spMk id="17" creationId="{C578FCFA-3E49-4F1C-860E-4299ABA6B20C}"/>
          </ac:spMkLst>
        </pc:spChg>
        <pc:spChg chg="mod">
          <ac:chgData name="Gouldsbury, Brian" userId="38f05b2e-fac1-4f2f-9dd8-c5800f9e0066" providerId="ADAL" clId="{ABFD28E4-D12C-46D3-8241-101A03BAA84C}" dt="2023-05-19T09:47:08.795" v="5183" actId="1037"/>
          <ac:spMkLst>
            <pc:docMk/>
            <pc:sldMk cId="4162498058" sldId="2139119723"/>
            <ac:spMk id="18" creationId="{E85C7437-09D3-F0F7-B48D-1E994128FF83}"/>
          </ac:spMkLst>
        </pc:spChg>
        <pc:spChg chg="add del mod modVis">
          <ac:chgData name="Gouldsbury, Brian" userId="38f05b2e-fac1-4f2f-9dd8-c5800f9e0066" providerId="ADAL" clId="{ABFD28E4-D12C-46D3-8241-101A03BAA84C}" dt="2023-05-19T09:45:49.193" v="4785"/>
          <ac:spMkLst>
            <pc:docMk/>
            <pc:sldMk cId="4162498058" sldId="2139119723"/>
            <ac:spMk id="19" creationId="{974817EF-D1B7-BAFB-D878-8CBBC6A57775}"/>
          </ac:spMkLst>
        </pc:spChg>
        <pc:spChg chg="add mod">
          <ac:chgData name="Gouldsbury, Brian" userId="38f05b2e-fac1-4f2f-9dd8-c5800f9e0066" providerId="ADAL" clId="{ABFD28E4-D12C-46D3-8241-101A03BAA84C}" dt="2023-05-22T08:42:34.839" v="11510" actId="571"/>
          <ac:spMkLst>
            <pc:docMk/>
            <pc:sldMk cId="4162498058" sldId="2139119723"/>
            <ac:spMk id="20" creationId="{C8DA90B2-A100-7014-BEB5-206201FBBD94}"/>
          </ac:spMkLst>
        </pc:spChg>
        <pc:spChg chg="add del mod modVis">
          <ac:chgData name="Gouldsbury, Brian" userId="38f05b2e-fac1-4f2f-9dd8-c5800f9e0066" providerId="ADAL" clId="{ABFD28E4-D12C-46D3-8241-101A03BAA84C}" dt="2023-05-19T09:46:02.180" v="4872" actId="962"/>
          <ac:spMkLst>
            <pc:docMk/>
            <pc:sldMk cId="4162498058" sldId="2139119723"/>
            <ac:spMk id="20" creationId="{CDDBAB51-9F55-1C65-3270-D05AFB5703FD}"/>
          </ac:spMkLst>
        </pc:spChg>
        <pc:spChg chg="add del mod modVis">
          <ac:chgData name="Gouldsbury, Brian" userId="38f05b2e-fac1-4f2f-9dd8-c5800f9e0066" providerId="ADAL" clId="{ABFD28E4-D12C-46D3-8241-101A03BAA84C}" dt="2023-05-19T09:46:21.804" v="4920"/>
          <ac:spMkLst>
            <pc:docMk/>
            <pc:sldMk cId="4162498058" sldId="2139119723"/>
            <ac:spMk id="21" creationId="{FFD9786F-975E-1752-978F-2D4B618EE407}"/>
          </ac:spMkLst>
        </pc:spChg>
        <pc:spChg chg="add del mod modVis">
          <ac:chgData name="Gouldsbury, Brian" userId="38f05b2e-fac1-4f2f-9dd8-c5800f9e0066" providerId="ADAL" clId="{ABFD28E4-D12C-46D3-8241-101A03BAA84C}" dt="2023-05-19T09:46:45.387" v="4971"/>
          <ac:spMkLst>
            <pc:docMk/>
            <pc:sldMk cId="4162498058" sldId="2139119723"/>
            <ac:spMk id="22" creationId="{78328500-0CFA-605D-12E0-C429B475690A}"/>
          </ac:spMkLst>
        </pc:spChg>
        <pc:spChg chg="add del mod modVis">
          <ac:chgData name="Gouldsbury, Brian" userId="38f05b2e-fac1-4f2f-9dd8-c5800f9e0066" providerId="ADAL" clId="{ABFD28E4-D12C-46D3-8241-101A03BAA84C}" dt="2023-05-19T09:46:50.957" v="5057" actId="962"/>
          <ac:spMkLst>
            <pc:docMk/>
            <pc:sldMk cId="4162498058" sldId="2139119723"/>
            <ac:spMk id="23" creationId="{EA8F0438-DD09-7805-327F-BFE92BB4A5AC}"/>
          </ac:spMkLst>
        </pc:spChg>
        <pc:spChg chg="mod">
          <ac:chgData name="Gouldsbury, Brian" userId="38f05b2e-fac1-4f2f-9dd8-c5800f9e0066" providerId="ADAL" clId="{ABFD28E4-D12C-46D3-8241-101A03BAA84C}" dt="2023-05-19T11:38:29.851" v="6571" actId="12788"/>
          <ac:spMkLst>
            <pc:docMk/>
            <pc:sldMk cId="4162498058" sldId="2139119723"/>
            <ac:spMk id="24" creationId="{F3948BB4-585B-4CCF-BB60-6F04372B7652}"/>
          </ac:spMkLst>
        </pc:spChg>
        <pc:spChg chg="mod">
          <ac:chgData name="Gouldsbury, Brian" userId="38f05b2e-fac1-4f2f-9dd8-c5800f9e0066" providerId="ADAL" clId="{ABFD28E4-D12C-46D3-8241-101A03BAA84C}" dt="2023-05-19T11:38:33.931" v="6594" actId="1036"/>
          <ac:spMkLst>
            <pc:docMk/>
            <pc:sldMk cId="4162498058" sldId="2139119723"/>
            <ac:spMk id="25" creationId="{7438596C-7A4D-4B83-A526-B644AF5C2EBE}"/>
          </ac:spMkLst>
        </pc:spChg>
        <pc:spChg chg="add del mod modVis">
          <ac:chgData name="Gouldsbury, Brian" userId="38f05b2e-fac1-4f2f-9dd8-c5800f9e0066" providerId="ADAL" clId="{ABFD28E4-D12C-46D3-8241-101A03BAA84C}" dt="2023-05-19T09:46:54.378" v="5104"/>
          <ac:spMkLst>
            <pc:docMk/>
            <pc:sldMk cId="4162498058" sldId="2139119723"/>
            <ac:spMk id="26" creationId="{B4EB9DC2-E295-8A8F-F02E-3001B087237A}"/>
          </ac:spMkLst>
        </pc:spChg>
        <pc:spChg chg="mod">
          <ac:chgData name="Gouldsbury, Brian" userId="38f05b2e-fac1-4f2f-9dd8-c5800f9e0066" providerId="ADAL" clId="{ABFD28E4-D12C-46D3-8241-101A03BAA84C}" dt="2023-05-22T08:43:18.438" v="11552" actId="571"/>
          <ac:spMkLst>
            <pc:docMk/>
            <pc:sldMk cId="4162498058" sldId="2139119723"/>
            <ac:spMk id="27" creationId="{185B9335-1F9C-FE7B-219D-A80CCF95CF2C}"/>
          </ac:spMkLst>
        </pc:spChg>
        <pc:spChg chg="add del mod modVis">
          <ac:chgData name="Gouldsbury, Brian" userId="38f05b2e-fac1-4f2f-9dd8-c5800f9e0066" providerId="ADAL" clId="{ABFD28E4-D12C-46D3-8241-101A03BAA84C}" dt="2023-05-19T09:46:57.688" v="5149"/>
          <ac:spMkLst>
            <pc:docMk/>
            <pc:sldMk cId="4162498058" sldId="2139119723"/>
            <ac:spMk id="27" creationId="{F453C902-179D-BC20-432A-AF69291FA600}"/>
          </ac:spMkLst>
        </pc:spChg>
        <pc:spChg chg="add mod">
          <ac:chgData name="Gouldsbury, Brian" userId="38f05b2e-fac1-4f2f-9dd8-c5800f9e0066" providerId="ADAL" clId="{ABFD28E4-D12C-46D3-8241-101A03BAA84C}" dt="2023-05-19T12:38:57.024" v="8630" actId="20577"/>
          <ac:spMkLst>
            <pc:docMk/>
            <pc:sldMk cId="4162498058" sldId="2139119723"/>
            <ac:spMk id="28" creationId="{3C1F40D6-8D70-FCE0-7723-84CCDB2D3886}"/>
          </ac:spMkLst>
        </pc:spChg>
        <pc:spChg chg="add del">
          <ac:chgData name="Gouldsbury, Brian" userId="38f05b2e-fac1-4f2f-9dd8-c5800f9e0066" providerId="ADAL" clId="{ABFD28E4-D12C-46D3-8241-101A03BAA84C}" dt="2023-05-19T10:03:46.953" v="5656" actId="478"/>
          <ac:spMkLst>
            <pc:docMk/>
            <pc:sldMk cId="4162498058" sldId="2139119723"/>
            <ac:spMk id="30" creationId="{177FE135-B000-5D56-6E39-AF6C8FCFAD1A}"/>
          </ac:spMkLst>
        </pc:spChg>
        <pc:spChg chg="del mod">
          <ac:chgData name="Gouldsbury, Brian" userId="38f05b2e-fac1-4f2f-9dd8-c5800f9e0066" providerId="ADAL" clId="{ABFD28E4-D12C-46D3-8241-101A03BAA84C}" dt="2023-05-22T08:39:20.662" v="11415" actId="478"/>
          <ac:spMkLst>
            <pc:docMk/>
            <pc:sldMk cId="4162498058" sldId="2139119723"/>
            <ac:spMk id="31" creationId="{E87EC19F-2E72-4D3D-80C8-1C9A1ADFBA84}"/>
          </ac:spMkLst>
        </pc:spChg>
        <pc:spChg chg="add del mod modVis">
          <ac:chgData name="Gouldsbury, Brian" userId="38f05b2e-fac1-4f2f-9dd8-c5800f9e0066" providerId="ADAL" clId="{ABFD28E4-D12C-46D3-8241-101A03BAA84C}" dt="2023-05-19T11:13:32.457" v="5709"/>
          <ac:spMkLst>
            <pc:docMk/>
            <pc:sldMk cId="4162498058" sldId="2139119723"/>
            <ac:spMk id="32" creationId="{CFE9E5E2-4794-30D7-5931-C00A3CC4C43E}"/>
          </ac:spMkLst>
        </pc:spChg>
        <pc:spChg chg="add mod">
          <ac:chgData name="Gouldsbury, Brian" userId="38f05b2e-fac1-4f2f-9dd8-c5800f9e0066" providerId="ADAL" clId="{ABFD28E4-D12C-46D3-8241-101A03BAA84C}" dt="2023-05-22T08:38:48.790" v="11409" actId="207"/>
          <ac:spMkLst>
            <pc:docMk/>
            <pc:sldMk cId="4162498058" sldId="2139119723"/>
            <ac:spMk id="33" creationId="{4045FD78-5881-B6F3-99DB-FF6D25F883D0}"/>
          </ac:spMkLst>
        </pc:spChg>
        <pc:spChg chg="mod">
          <ac:chgData name="Gouldsbury, Brian" userId="38f05b2e-fac1-4f2f-9dd8-c5800f9e0066" providerId="ADAL" clId="{ABFD28E4-D12C-46D3-8241-101A03BAA84C}" dt="2023-05-19T11:38:29.851" v="6571" actId="12788"/>
          <ac:spMkLst>
            <pc:docMk/>
            <pc:sldMk cId="4162498058" sldId="2139119723"/>
            <ac:spMk id="34" creationId="{2782CADE-FC9B-C045-A79F-50078773D1F2}"/>
          </ac:spMkLst>
        </pc:spChg>
        <pc:spChg chg="del mod">
          <ac:chgData name="Gouldsbury, Brian" userId="38f05b2e-fac1-4f2f-9dd8-c5800f9e0066" providerId="ADAL" clId="{ABFD28E4-D12C-46D3-8241-101A03BAA84C}" dt="2023-05-19T09:55:21.523" v="5428" actId="478"/>
          <ac:spMkLst>
            <pc:docMk/>
            <pc:sldMk cId="4162498058" sldId="2139119723"/>
            <ac:spMk id="35" creationId="{B2AD056B-C1B0-3D1E-BCA8-E3E4F100E376}"/>
          </ac:spMkLst>
        </pc:spChg>
        <pc:spChg chg="mod">
          <ac:chgData name="Gouldsbury, Brian" userId="38f05b2e-fac1-4f2f-9dd8-c5800f9e0066" providerId="ADAL" clId="{ABFD28E4-D12C-46D3-8241-101A03BAA84C}" dt="2023-05-22T08:43:10.111" v="11548" actId="164"/>
          <ac:spMkLst>
            <pc:docMk/>
            <pc:sldMk cId="4162498058" sldId="2139119723"/>
            <ac:spMk id="36" creationId="{168A4EC2-D1F5-43EA-A780-82DBDD1AFB68}"/>
          </ac:spMkLst>
        </pc:spChg>
        <pc:spChg chg="add mod">
          <ac:chgData name="Gouldsbury, Brian" userId="38f05b2e-fac1-4f2f-9dd8-c5800f9e0066" providerId="ADAL" clId="{ABFD28E4-D12C-46D3-8241-101A03BAA84C}" dt="2023-05-19T11:38:37.365" v="6613" actId="1036"/>
          <ac:spMkLst>
            <pc:docMk/>
            <pc:sldMk cId="4162498058" sldId="2139119723"/>
            <ac:spMk id="37" creationId="{5CA2F4B9-E871-8E39-10A4-5575FFF62188}"/>
          </ac:spMkLst>
        </pc:spChg>
        <pc:spChg chg="add mod">
          <ac:chgData name="Gouldsbury, Brian" userId="38f05b2e-fac1-4f2f-9dd8-c5800f9e0066" providerId="ADAL" clId="{ABFD28E4-D12C-46D3-8241-101A03BAA84C}" dt="2023-05-19T11:38:29.851" v="6571" actId="12788"/>
          <ac:spMkLst>
            <pc:docMk/>
            <pc:sldMk cId="4162498058" sldId="2139119723"/>
            <ac:spMk id="38" creationId="{B5D91AA6-9080-0D03-1765-1615879BA0EA}"/>
          </ac:spMkLst>
        </pc:spChg>
        <pc:spChg chg="add mod">
          <ac:chgData name="Gouldsbury, Brian" userId="38f05b2e-fac1-4f2f-9dd8-c5800f9e0066" providerId="ADAL" clId="{ABFD28E4-D12C-46D3-8241-101A03BAA84C}" dt="2023-05-19T11:38:29.851" v="6571" actId="12788"/>
          <ac:spMkLst>
            <pc:docMk/>
            <pc:sldMk cId="4162498058" sldId="2139119723"/>
            <ac:spMk id="39" creationId="{FD3322C8-4BE9-8BF8-CBA4-81F80684B647}"/>
          </ac:spMkLst>
        </pc:spChg>
        <pc:spChg chg="add del mod modVis">
          <ac:chgData name="Gouldsbury, Brian" userId="38f05b2e-fac1-4f2f-9dd8-c5800f9e0066" providerId="ADAL" clId="{ABFD28E4-D12C-46D3-8241-101A03BAA84C}" dt="2023-05-19T13:17:11.809" v="11338"/>
          <ac:spMkLst>
            <pc:docMk/>
            <pc:sldMk cId="4162498058" sldId="2139119723"/>
            <ac:spMk id="40" creationId="{00A5A4E2-71A2-F445-B22D-3B1267F536E0}"/>
          </ac:spMkLst>
        </pc:spChg>
        <pc:spChg chg="mod">
          <ac:chgData name="Gouldsbury, Brian" userId="38f05b2e-fac1-4f2f-9dd8-c5800f9e0066" providerId="ADAL" clId="{ABFD28E4-D12C-46D3-8241-101A03BAA84C}" dt="2023-05-22T08:43:18.438" v="11552" actId="571"/>
          <ac:spMkLst>
            <pc:docMk/>
            <pc:sldMk cId="4162498058" sldId="2139119723"/>
            <ac:spMk id="40" creationId="{0446FD99-1281-7488-53EC-D18F7C53F64A}"/>
          </ac:spMkLst>
        </pc:spChg>
        <pc:spChg chg="del mod">
          <ac:chgData name="Gouldsbury, Brian" userId="38f05b2e-fac1-4f2f-9dd8-c5800f9e0066" providerId="ADAL" clId="{ABFD28E4-D12C-46D3-8241-101A03BAA84C}" dt="2023-05-22T08:39:17.980" v="11411" actId="478"/>
          <ac:spMkLst>
            <pc:docMk/>
            <pc:sldMk cId="4162498058" sldId="2139119723"/>
            <ac:spMk id="41" creationId="{3801B6EB-7970-4651-93EC-4023B079B065}"/>
          </ac:spMkLst>
        </pc:spChg>
        <pc:spChg chg="mod">
          <ac:chgData name="Gouldsbury, Brian" userId="38f05b2e-fac1-4f2f-9dd8-c5800f9e0066" providerId="ADAL" clId="{ABFD28E4-D12C-46D3-8241-101A03BAA84C}" dt="2023-05-22T08:43:18.438" v="11552" actId="571"/>
          <ac:spMkLst>
            <pc:docMk/>
            <pc:sldMk cId="4162498058" sldId="2139119723"/>
            <ac:spMk id="44" creationId="{B9378660-347D-3F18-A189-29F33A66686E}"/>
          </ac:spMkLst>
        </pc:spChg>
        <pc:spChg chg="del mod">
          <ac:chgData name="Gouldsbury, Brian" userId="38f05b2e-fac1-4f2f-9dd8-c5800f9e0066" providerId="ADAL" clId="{ABFD28E4-D12C-46D3-8241-101A03BAA84C}" dt="2023-05-19T09:50:02.944" v="5229" actId="478"/>
          <ac:spMkLst>
            <pc:docMk/>
            <pc:sldMk cId="4162498058" sldId="2139119723"/>
            <ac:spMk id="52" creationId="{6EC4069A-8F16-4929-8380-8DA5906CB359}"/>
          </ac:spMkLst>
        </pc:spChg>
        <pc:spChg chg="mod">
          <ac:chgData name="Gouldsbury, Brian" userId="38f05b2e-fac1-4f2f-9dd8-c5800f9e0066" providerId="ADAL" clId="{ABFD28E4-D12C-46D3-8241-101A03BAA84C}" dt="2023-05-19T11:21:22.832" v="5994" actId="1035"/>
          <ac:spMkLst>
            <pc:docMk/>
            <pc:sldMk cId="4162498058" sldId="2139119723"/>
            <ac:spMk id="63" creationId="{8E6E3486-F49C-44D7-9784-9E17FE2F8DB4}"/>
          </ac:spMkLst>
        </pc:spChg>
        <pc:grpChg chg="add mod">
          <ac:chgData name="Gouldsbury, Brian" userId="38f05b2e-fac1-4f2f-9dd8-c5800f9e0066" providerId="ADAL" clId="{ABFD28E4-D12C-46D3-8241-101A03BAA84C}" dt="2023-05-22T08:43:20.866" v="11553" actId="465"/>
          <ac:grpSpMkLst>
            <pc:docMk/>
            <pc:sldMk cId="4162498058" sldId="2139119723"/>
            <ac:grpSpMk id="21" creationId="{0F8C5254-26EC-DE6E-C379-DD85CDBA0692}"/>
          </ac:grpSpMkLst>
        </pc:grpChg>
        <pc:grpChg chg="add mod">
          <ac:chgData name="Gouldsbury, Brian" userId="38f05b2e-fac1-4f2f-9dd8-c5800f9e0066" providerId="ADAL" clId="{ABFD28E4-D12C-46D3-8241-101A03BAA84C}" dt="2023-05-22T08:43:20.866" v="11553" actId="465"/>
          <ac:grpSpMkLst>
            <pc:docMk/>
            <pc:sldMk cId="4162498058" sldId="2139119723"/>
            <ac:grpSpMk id="22" creationId="{AA8041A7-51D0-7DEA-B81E-76D07FFB5339}"/>
          </ac:grpSpMkLst>
        </pc:grpChg>
        <pc:grpChg chg="add mod">
          <ac:chgData name="Gouldsbury, Brian" userId="38f05b2e-fac1-4f2f-9dd8-c5800f9e0066" providerId="ADAL" clId="{ABFD28E4-D12C-46D3-8241-101A03BAA84C}" dt="2023-05-22T08:43:20.866" v="11553" actId="465"/>
          <ac:grpSpMkLst>
            <pc:docMk/>
            <pc:sldMk cId="4162498058" sldId="2139119723"/>
            <ac:grpSpMk id="23" creationId="{45C53BA5-6B99-E87E-5ACB-2E07A1A4D562}"/>
          </ac:grpSpMkLst>
        </pc:grpChg>
        <pc:grpChg chg="add mod">
          <ac:chgData name="Gouldsbury, Brian" userId="38f05b2e-fac1-4f2f-9dd8-c5800f9e0066" providerId="ADAL" clId="{ABFD28E4-D12C-46D3-8241-101A03BAA84C}" dt="2023-05-22T08:43:18.438" v="11552" actId="571"/>
          <ac:grpSpMkLst>
            <pc:docMk/>
            <pc:sldMk cId="4162498058" sldId="2139119723"/>
            <ac:grpSpMk id="26" creationId="{0E61A26C-B8A5-6C45-1FC0-ACFBB2851B81}"/>
          </ac:grpSpMkLst>
        </pc:grpChg>
        <pc:grpChg chg="add mod">
          <ac:chgData name="Gouldsbury, Brian" userId="38f05b2e-fac1-4f2f-9dd8-c5800f9e0066" providerId="ADAL" clId="{ABFD28E4-D12C-46D3-8241-101A03BAA84C}" dt="2023-05-22T08:43:18.438" v="11552" actId="571"/>
          <ac:grpSpMkLst>
            <pc:docMk/>
            <pc:sldMk cId="4162498058" sldId="2139119723"/>
            <ac:grpSpMk id="32" creationId="{7BD9E887-EA1B-B7B1-DA31-4517FF28F413}"/>
          </ac:grpSpMkLst>
        </pc:grpChg>
        <pc:grpChg chg="add mod">
          <ac:chgData name="Gouldsbury, Brian" userId="38f05b2e-fac1-4f2f-9dd8-c5800f9e0066" providerId="ADAL" clId="{ABFD28E4-D12C-46D3-8241-101A03BAA84C}" dt="2023-05-22T08:43:18.438" v="11552" actId="571"/>
          <ac:grpSpMkLst>
            <pc:docMk/>
            <pc:sldMk cId="4162498058" sldId="2139119723"/>
            <ac:grpSpMk id="42" creationId="{7A797654-A12E-549E-693F-8E59708BC332}"/>
          </ac:grpSpMkLst>
        </pc:grpChg>
        <pc:graphicFrameChg chg="add mod ord modVis replST">
          <ac:chgData name="Gouldsbury, Brian" userId="38f05b2e-fac1-4f2f-9dd8-c5800f9e0066" providerId="ADAL" clId="{ABFD28E4-D12C-46D3-8241-101A03BAA84C}" dt="2023-05-19T13:17:11.811" v="11340"/>
          <ac:graphicFrameMkLst>
            <pc:docMk/>
            <pc:sldMk cId="4162498058" sldId="2139119723"/>
            <ac:graphicFrameMk id="6" creationId="{311C834D-B857-019E-D80B-6DB3655295B0}"/>
          </ac:graphicFrameMkLst>
        </pc:graphicFrameChg>
        <pc:picChg chg="add mod">
          <ac:chgData name="Gouldsbury, Brian" userId="38f05b2e-fac1-4f2f-9dd8-c5800f9e0066" providerId="ADAL" clId="{ABFD28E4-D12C-46D3-8241-101A03BAA84C}" dt="2023-05-22T08:43:20.866" v="11553" actId="465"/>
          <ac:picMkLst>
            <pc:docMk/>
            <pc:sldMk cId="4162498058" sldId="2139119723"/>
            <ac:picMk id="4" creationId="{76353B8C-D2D1-027B-E86E-C04B6CD03B2C}"/>
          </ac:picMkLst>
        </pc:picChg>
        <pc:picChg chg="add mod">
          <ac:chgData name="Gouldsbury, Brian" userId="38f05b2e-fac1-4f2f-9dd8-c5800f9e0066" providerId="ADAL" clId="{ABFD28E4-D12C-46D3-8241-101A03BAA84C}" dt="2023-05-22T08:42:34.839" v="11510" actId="571"/>
          <ac:picMkLst>
            <pc:docMk/>
            <pc:sldMk cId="4162498058" sldId="2139119723"/>
            <ac:picMk id="11" creationId="{90D36791-849C-68A8-C3C8-D74A19FA5126}"/>
          </ac:picMkLst>
        </pc:picChg>
        <pc:picChg chg="add mod">
          <ac:chgData name="Gouldsbury, Brian" userId="38f05b2e-fac1-4f2f-9dd8-c5800f9e0066" providerId="ADAL" clId="{ABFD28E4-D12C-46D3-8241-101A03BAA84C}" dt="2023-05-22T08:42:34.839" v="11510" actId="571"/>
          <ac:picMkLst>
            <pc:docMk/>
            <pc:sldMk cId="4162498058" sldId="2139119723"/>
            <ac:picMk id="12" creationId="{53868F8E-C882-E6F8-8BED-2FE0BD13B055}"/>
          </ac:picMkLst>
        </pc:picChg>
        <pc:picChg chg="del mod">
          <ac:chgData name="Gouldsbury, Brian" userId="38f05b2e-fac1-4f2f-9dd8-c5800f9e0066" providerId="ADAL" clId="{ABFD28E4-D12C-46D3-8241-101A03BAA84C}" dt="2023-05-22T08:39:18.564" v="11412" actId="478"/>
          <ac:picMkLst>
            <pc:docMk/>
            <pc:sldMk cId="4162498058" sldId="2139119723"/>
            <ac:picMk id="15" creationId="{9F803502-3055-10B1-4FBF-E1E24186E39B}"/>
          </ac:picMkLst>
        </pc:picChg>
        <pc:picChg chg="add mod">
          <ac:chgData name="Gouldsbury, Brian" userId="38f05b2e-fac1-4f2f-9dd8-c5800f9e0066" providerId="ADAL" clId="{ABFD28E4-D12C-46D3-8241-101A03BAA84C}" dt="2023-05-22T08:42:34.839" v="11510" actId="571"/>
          <ac:picMkLst>
            <pc:docMk/>
            <pc:sldMk cId="4162498058" sldId="2139119723"/>
            <ac:picMk id="19" creationId="{D747D807-CB3A-F1F9-629D-385A925409BF}"/>
          </ac:picMkLst>
        </pc:picChg>
        <pc:picChg chg="del mod">
          <ac:chgData name="Gouldsbury, Brian" userId="38f05b2e-fac1-4f2f-9dd8-c5800f9e0066" providerId="ADAL" clId="{ABFD28E4-D12C-46D3-8241-101A03BAA84C}" dt="2023-05-22T08:39:13.975" v="11410" actId="478"/>
          <ac:picMkLst>
            <pc:docMk/>
            <pc:sldMk cId="4162498058" sldId="2139119723"/>
            <ac:picMk id="29" creationId="{3388BD46-F0AD-70C5-0927-DD856105D001}"/>
          </ac:picMkLst>
        </pc:picChg>
        <pc:picChg chg="mod">
          <ac:chgData name="Gouldsbury, Brian" userId="38f05b2e-fac1-4f2f-9dd8-c5800f9e0066" providerId="ADAL" clId="{ABFD28E4-D12C-46D3-8241-101A03BAA84C}" dt="2023-05-22T08:43:18.438" v="11552" actId="571"/>
          <ac:picMkLst>
            <pc:docMk/>
            <pc:sldMk cId="4162498058" sldId="2139119723"/>
            <ac:picMk id="30" creationId="{37E54ABD-3B97-CDFC-48AC-7C2DA88556E0}"/>
          </ac:picMkLst>
        </pc:picChg>
        <pc:picChg chg="mod">
          <ac:chgData name="Gouldsbury, Brian" userId="38f05b2e-fac1-4f2f-9dd8-c5800f9e0066" providerId="ADAL" clId="{ABFD28E4-D12C-46D3-8241-101A03BAA84C}" dt="2023-05-22T08:43:18.438" v="11552" actId="571"/>
          <ac:picMkLst>
            <pc:docMk/>
            <pc:sldMk cId="4162498058" sldId="2139119723"/>
            <ac:picMk id="35" creationId="{DB62A927-3EBB-D7BF-3643-9E2CE1875F97}"/>
          </ac:picMkLst>
        </pc:picChg>
        <pc:picChg chg="mod">
          <ac:chgData name="Gouldsbury, Brian" userId="38f05b2e-fac1-4f2f-9dd8-c5800f9e0066" providerId="ADAL" clId="{ABFD28E4-D12C-46D3-8241-101A03BAA84C}" dt="2023-05-22T08:43:18.438" v="11552" actId="571"/>
          <ac:picMkLst>
            <pc:docMk/>
            <pc:sldMk cId="4162498058" sldId="2139119723"/>
            <ac:picMk id="43" creationId="{49CD47CA-00FF-CA84-1963-F9ADF7FD1637}"/>
          </ac:picMkLst>
        </pc:picChg>
        <pc:picChg chg="mod">
          <ac:chgData name="Gouldsbury, Brian" userId="38f05b2e-fac1-4f2f-9dd8-c5800f9e0066" providerId="ADAL" clId="{ABFD28E4-D12C-46D3-8241-101A03BAA84C}" dt="2023-05-22T08:43:10.111" v="11548" actId="164"/>
          <ac:picMkLst>
            <pc:docMk/>
            <pc:sldMk cId="4162498058" sldId="2139119723"/>
            <ac:picMk id="1026" creationId="{9C82A79D-0AC0-993D-E76F-9899C7D9D703}"/>
          </ac:picMkLst>
        </pc:picChg>
        <pc:picChg chg="add mod">
          <ac:chgData name="Gouldsbury, Brian" userId="38f05b2e-fac1-4f2f-9dd8-c5800f9e0066" providerId="ADAL" clId="{ABFD28E4-D12C-46D3-8241-101A03BAA84C}" dt="2023-05-22T08:43:16.094" v="11550" actId="164"/>
          <ac:picMkLst>
            <pc:docMk/>
            <pc:sldMk cId="4162498058" sldId="2139119723"/>
            <ac:picMk id="1028" creationId="{A074235A-C88C-517A-F8DB-15BDD58CB2D6}"/>
          </ac:picMkLst>
        </pc:picChg>
        <pc:cxnChg chg="mod">
          <ac:chgData name="Gouldsbury, Brian" userId="38f05b2e-fac1-4f2f-9dd8-c5800f9e0066" providerId="ADAL" clId="{ABFD28E4-D12C-46D3-8241-101A03BAA84C}" dt="2023-05-19T11:38:29.851" v="6571" actId="12788"/>
          <ac:cxnSpMkLst>
            <pc:docMk/>
            <pc:sldMk cId="4162498058" sldId="2139119723"/>
            <ac:cxnSpMk id="59" creationId="{A72CCB5C-978B-4B5F-ACAD-FB60CFFAAC9A}"/>
          </ac:cxnSpMkLst>
        </pc:cxnChg>
      </pc:sldChg>
      <pc:sldChg chg="add del">
        <pc:chgData name="Gouldsbury, Brian" userId="38f05b2e-fac1-4f2f-9dd8-c5800f9e0066" providerId="ADAL" clId="{ABFD28E4-D12C-46D3-8241-101A03BAA84C}" dt="2023-05-19T09:42:42.703" v="3856" actId="47"/>
        <pc:sldMkLst>
          <pc:docMk/>
          <pc:sldMk cId="2163978875" sldId="2147480972"/>
        </pc:sldMkLst>
      </pc:sldChg>
      <pc:sldChg chg="addSp delSp modSp add mod ord modTransition">
        <pc:chgData name="Gouldsbury, Brian" userId="38f05b2e-fac1-4f2f-9dd8-c5800f9e0066" providerId="ADAL" clId="{ABFD28E4-D12C-46D3-8241-101A03BAA84C}" dt="2023-05-22T16:38:37.600" v="14039"/>
        <pc:sldMkLst>
          <pc:docMk/>
          <pc:sldMk cId="2336311547" sldId="2147480973"/>
        </pc:sldMkLst>
        <pc:spChg chg="del mod">
          <ac:chgData name="Gouldsbury, Brian" userId="38f05b2e-fac1-4f2f-9dd8-c5800f9e0066" providerId="ADAL" clId="{ABFD28E4-D12C-46D3-8241-101A03BAA84C}" dt="2023-05-19T09:43:20.789" v="4371" actId="478"/>
          <ac:spMkLst>
            <pc:docMk/>
            <pc:sldMk cId="2336311547" sldId="2147480973"/>
            <ac:spMk id="2" creationId="{6DE5E596-BDDD-D374-A717-32BFC395CAD9}"/>
          </ac:spMkLst>
        </pc:spChg>
        <pc:spChg chg="add del mod modVis">
          <ac:chgData name="Gouldsbury, Brian" userId="38f05b2e-fac1-4f2f-9dd8-c5800f9e0066" providerId="ADAL" clId="{ABFD28E4-D12C-46D3-8241-101A03BAA84C}" dt="2023-05-19T09:42:51.746" v="3899"/>
          <ac:spMkLst>
            <pc:docMk/>
            <pc:sldMk cId="2336311547" sldId="2147480973"/>
            <ac:spMk id="17" creationId="{A3B00F56-4E3C-C477-BBF8-37EF4EA98934}"/>
          </ac:spMkLst>
        </pc:spChg>
        <pc:spChg chg="add del mod modVis">
          <ac:chgData name="Gouldsbury, Brian" userId="38f05b2e-fac1-4f2f-9dd8-c5800f9e0066" providerId="ADAL" clId="{ABFD28E4-D12C-46D3-8241-101A03BAA84C}" dt="2023-05-19T09:42:54.563" v="3965"/>
          <ac:spMkLst>
            <pc:docMk/>
            <pc:sldMk cId="2336311547" sldId="2147480973"/>
            <ac:spMk id="19" creationId="{69FD4BE6-2E0D-0B9B-3CC7-EAA635C740DD}"/>
          </ac:spMkLst>
        </pc:spChg>
        <pc:spChg chg="add del mod modVis">
          <ac:chgData name="Gouldsbury, Brian" userId="38f05b2e-fac1-4f2f-9dd8-c5800f9e0066" providerId="ADAL" clId="{ABFD28E4-D12C-46D3-8241-101A03BAA84C}" dt="2023-05-19T09:42:55.994" v="4013"/>
          <ac:spMkLst>
            <pc:docMk/>
            <pc:sldMk cId="2336311547" sldId="2147480973"/>
            <ac:spMk id="20" creationId="{31AA9BA9-3DE6-6737-4BBF-B3919B4708A4}"/>
          </ac:spMkLst>
        </pc:spChg>
        <pc:spChg chg="add del mod modVis">
          <ac:chgData name="Gouldsbury, Brian" userId="38f05b2e-fac1-4f2f-9dd8-c5800f9e0066" providerId="ADAL" clId="{ABFD28E4-D12C-46D3-8241-101A03BAA84C}" dt="2023-05-19T09:43:04.204" v="4108"/>
          <ac:spMkLst>
            <pc:docMk/>
            <pc:sldMk cId="2336311547" sldId="2147480973"/>
            <ac:spMk id="21" creationId="{07997696-C3C1-F854-CAAE-6228870AD81F}"/>
          </ac:spMkLst>
        </pc:spChg>
        <pc:spChg chg="add del mod modVis">
          <ac:chgData name="Gouldsbury, Brian" userId="38f05b2e-fac1-4f2f-9dd8-c5800f9e0066" providerId="ADAL" clId="{ABFD28E4-D12C-46D3-8241-101A03BAA84C}" dt="2023-05-19T09:43:06.309" v="4163"/>
          <ac:spMkLst>
            <pc:docMk/>
            <pc:sldMk cId="2336311547" sldId="2147480973"/>
            <ac:spMk id="22" creationId="{F8352CBD-AEAA-3F88-1810-B6A2DFCBD119}"/>
          </ac:spMkLst>
        </pc:spChg>
        <pc:spChg chg="add del mod modVis">
          <ac:chgData name="Gouldsbury, Brian" userId="38f05b2e-fac1-4f2f-9dd8-c5800f9e0066" providerId="ADAL" clId="{ABFD28E4-D12C-46D3-8241-101A03BAA84C}" dt="2023-05-19T09:43:10.564" v="4238"/>
          <ac:spMkLst>
            <pc:docMk/>
            <pc:sldMk cId="2336311547" sldId="2147480973"/>
            <ac:spMk id="23" creationId="{A440F808-B493-019C-72B5-F264FD8BE1C8}"/>
          </ac:spMkLst>
        </pc:spChg>
        <pc:spChg chg="add del mod modVis">
          <ac:chgData name="Gouldsbury, Brian" userId="38f05b2e-fac1-4f2f-9dd8-c5800f9e0066" providerId="ADAL" clId="{ABFD28E4-D12C-46D3-8241-101A03BAA84C}" dt="2023-05-19T09:43:12.794" v="4297"/>
          <ac:spMkLst>
            <pc:docMk/>
            <pc:sldMk cId="2336311547" sldId="2147480973"/>
            <ac:spMk id="24" creationId="{1E78685F-6DEB-69DA-3DCF-4A28BA99EA2E}"/>
          </ac:spMkLst>
        </pc:spChg>
        <pc:spChg chg="add del mod modVis">
          <ac:chgData name="Gouldsbury, Brian" userId="38f05b2e-fac1-4f2f-9dd8-c5800f9e0066" providerId="ADAL" clId="{ABFD28E4-D12C-46D3-8241-101A03BAA84C}" dt="2023-05-19T09:43:20.169" v="4368"/>
          <ac:spMkLst>
            <pc:docMk/>
            <pc:sldMk cId="2336311547" sldId="2147480973"/>
            <ac:spMk id="25" creationId="{7BF2DACA-F04F-1A5B-4171-6CAA832248F4}"/>
          </ac:spMkLst>
        </pc:spChg>
        <pc:spChg chg="add del mod">
          <ac:chgData name="Gouldsbury, Brian" userId="38f05b2e-fac1-4f2f-9dd8-c5800f9e0066" providerId="ADAL" clId="{ABFD28E4-D12C-46D3-8241-101A03BAA84C}" dt="2023-05-19T09:43:24.850" v="4377" actId="478"/>
          <ac:spMkLst>
            <pc:docMk/>
            <pc:sldMk cId="2336311547" sldId="2147480973"/>
            <ac:spMk id="27" creationId="{6896EAE5-4D5C-C5D2-1B5E-044F86E089EE}"/>
          </ac:spMkLst>
        </pc:spChg>
        <pc:spChg chg="add mod">
          <ac:chgData name="Gouldsbury, Brian" userId="38f05b2e-fac1-4f2f-9dd8-c5800f9e0066" providerId="ADAL" clId="{ABFD28E4-D12C-46D3-8241-101A03BAA84C}" dt="2023-05-19T13:09:20.462" v="10868" actId="6549"/>
          <ac:spMkLst>
            <pc:docMk/>
            <pc:sldMk cId="2336311547" sldId="2147480973"/>
            <ac:spMk id="28" creationId="{772EEF5B-A738-16B9-E01D-1B309562D43D}"/>
          </ac:spMkLst>
        </pc:spChg>
        <pc:spChg chg="add mod">
          <ac:chgData name="Gouldsbury, Brian" userId="38f05b2e-fac1-4f2f-9dd8-c5800f9e0066" providerId="ADAL" clId="{ABFD28E4-D12C-46D3-8241-101A03BAA84C}" dt="2023-05-19T13:17:29.115" v="11402" actId="404"/>
          <ac:spMkLst>
            <pc:docMk/>
            <pc:sldMk cId="2336311547" sldId="2147480973"/>
            <ac:spMk id="29" creationId="{F37A7CFB-77AF-52A0-369A-3DC4C5B7A8F6}"/>
          </ac:spMkLst>
        </pc:spChg>
        <pc:spChg chg="del">
          <ac:chgData name="Gouldsbury, Brian" userId="38f05b2e-fac1-4f2f-9dd8-c5800f9e0066" providerId="ADAL" clId="{ABFD28E4-D12C-46D3-8241-101A03BAA84C}" dt="2023-05-19T09:43:23.234" v="4376" actId="478"/>
          <ac:spMkLst>
            <pc:docMk/>
            <pc:sldMk cId="2336311547" sldId="2147480973"/>
            <ac:spMk id="65" creationId="{721C8348-CA83-D568-0C8F-716FE9E962A3}"/>
          </ac:spMkLst>
        </pc:spChg>
        <pc:grpChg chg="del">
          <ac:chgData name="Gouldsbury, Brian" userId="38f05b2e-fac1-4f2f-9dd8-c5800f9e0066" providerId="ADAL" clId="{ABFD28E4-D12C-46D3-8241-101A03BAA84C}" dt="2023-05-19T12:51:35.388" v="9650" actId="478"/>
          <ac:grpSpMkLst>
            <pc:docMk/>
            <pc:sldMk cId="2336311547" sldId="2147480973"/>
            <ac:grpSpMk id="58" creationId="{13145C66-0A60-2F6B-FF5F-B884D462722B}"/>
          </ac:grpSpMkLst>
        </pc:grpChg>
        <pc:graphicFrameChg chg="add mod ord modVis replST">
          <ac:chgData name="Gouldsbury, Brian" userId="38f05b2e-fac1-4f2f-9dd8-c5800f9e0066" providerId="ADAL" clId="{ABFD28E4-D12C-46D3-8241-101A03BAA84C}" dt="2023-05-19T09:43:25.353" v="4381"/>
          <ac:graphicFrameMkLst>
            <pc:docMk/>
            <pc:sldMk cId="2336311547" sldId="2147480973"/>
            <ac:graphicFrameMk id="18" creationId="{B885EB48-905D-2163-E0E8-B774A05ED68C}"/>
          </ac:graphicFrameMkLst>
        </pc:graphicFrameChg>
        <pc:picChg chg="add mod">
          <ac:chgData name="Gouldsbury, Brian" userId="38f05b2e-fac1-4f2f-9dd8-c5800f9e0066" providerId="ADAL" clId="{ABFD28E4-D12C-46D3-8241-101A03BAA84C}" dt="2023-05-19T09:42:07.058" v="3839" actId="1076"/>
          <ac:picMkLst>
            <pc:docMk/>
            <pc:sldMk cId="2336311547" sldId="2147480973"/>
            <ac:picMk id="8" creationId="{3C6D9B2C-967C-9443-2B50-4CC3135FB790}"/>
          </ac:picMkLst>
        </pc:picChg>
        <pc:picChg chg="add mod">
          <ac:chgData name="Gouldsbury, Brian" userId="38f05b2e-fac1-4f2f-9dd8-c5800f9e0066" providerId="ADAL" clId="{ABFD28E4-D12C-46D3-8241-101A03BAA84C}" dt="2023-05-19T09:42:09.370" v="3841" actId="1076"/>
          <ac:picMkLst>
            <pc:docMk/>
            <pc:sldMk cId="2336311547" sldId="2147480973"/>
            <ac:picMk id="9" creationId="{6C524EE6-5BCD-8FF7-4F86-F4BDBFB12140}"/>
          </ac:picMkLst>
        </pc:picChg>
        <pc:picChg chg="add mod">
          <ac:chgData name="Gouldsbury, Brian" userId="38f05b2e-fac1-4f2f-9dd8-c5800f9e0066" providerId="ADAL" clId="{ABFD28E4-D12C-46D3-8241-101A03BAA84C}" dt="2023-05-19T09:42:11.728" v="3843" actId="1076"/>
          <ac:picMkLst>
            <pc:docMk/>
            <pc:sldMk cId="2336311547" sldId="2147480973"/>
            <ac:picMk id="10" creationId="{FBC6CE32-2B8E-EFF8-6E27-924B6052D47C}"/>
          </ac:picMkLst>
        </pc:picChg>
        <pc:picChg chg="add mod">
          <ac:chgData name="Gouldsbury, Brian" userId="38f05b2e-fac1-4f2f-9dd8-c5800f9e0066" providerId="ADAL" clId="{ABFD28E4-D12C-46D3-8241-101A03BAA84C}" dt="2023-05-19T09:42:15.596" v="3845" actId="1076"/>
          <ac:picMkLst>
            <pc:docMk/>
            <pc:sldMk cId="2336311547" sldId="2147480973"/>
            <ac:picMk id="11" creationId="{7A3C1DF9-1A98-F94C-287C-1533D1E54470}"/>
          </ac:picMkLst>
        </pc:picChg>
        <pc:picChg chg="add mod">
          <ac:chgData name="Gouldsbury, Brian" userId="38f05b2e-fac1-4f2f-9dd8-c5800f9e0066" providerId="ADAL" clId="{ABFD28E4-D12C-46D3-8241-101A03BAA84C}" dt="2023-05-19T09:42:19.426" v="3847" actId="1076"/>
          <ac:picMkLst>
            <pc:docMk/>
            <pc:sldMk cId="2336311547" sldId="2147480973"/>
            <ac:picMk id="12" creationId="{C274AB76-D16B-6F1F-D302-87D4780E8749}"/>
          </ac:picMkLst>
        </pc:picChg>
        <pc:picChg chg="add mod">
          <ac:chgData name="Gouldsbury, Brian" userId="38f05b2e-fac1-4f2f-9dd8-c5800f9e0066" providerId="ADAL" clId="{ABFD28E4-D12C-46D3-8241-101A03BAA84C}" dt="2023-05-19T09:42:23.168" v="3849" actId="1076"/>
          <ac:picMkLst>
            <pc:docMk/>
            <pc:sldMk cId="2336311547" sldId="2147480973"/>
            <ac:picMk id="13" creationId="{23E12382-5AE9-32D6-58D2-CA719D99DECF}"/>
          </ac:picMkLst>
        </pc:picChg>
        <pc:picChg chg="add mod">
          <ac:chgData name="Gouldsbury, Brian" userId="38f05b2e-fac1-4f2f-9dd8-c5800f9e0066" providerId="ADAL" clId="{ABFD28E4-D12C-46D3-8241-101A03BAA84C}" dt="2023-05-19T09:42:25.973" v="3851" actId="1076"/>
          <ac:picMkLst>
            <pc:docMk/>
            <pc:sldMk cId="2336311547" sldId="2147480973"/>
            <ac:picMk id="14" creationId="{3D023DEB-B52E-FA4D-2A2D-42797E0F9455}"/>
          </ac:picMkLst>
        </pc:picChg>
        <pc:picChg chg="add mod">
          <ac:chgData name="Gouldsbury, Brian" userId="38f05b2e-fac1-4f2f-9dd8-c5800f9e0066" providerId="ADAL" clId="{ABFD28E4-D12C-46D3-8241-101A03BAA84C}" dt="2023-05-19T09:42:30.040" v="3853" actId="1076"/>
          <ac:picMkLst>
            <pc:docMk/>
            <pc:sldMk cId="2336311547" sldId="2147480973"/>
            <ac:picMk id="15" creationId="{22BD7616-DF0C-056B-9A12-F06E2C5A00CF}"/>
          </ac:picMkLst>
        </pc:picChg>
        <pc:picChg chg="add mod">
          <ac:chgData name="Gouldsbury, Brian" userId="38f05b2e-fac1-4f2f-9dd8-c5800f9e0066" providerId="ADAL" clId="{ABFD28E4-D12C-46D3-8241-101A03BAA84C}" dt="2023-05-19T09:42:34.662" v="3855" actId="1076"/>
          <ac:picMkLst>
            <pc:docMk/>
            <pc:sldMk cId="2336311547" sldId="2147480973"/>
            <ac:picMk id="16" creationId="{EA913482-3749-17BC-D930-67CDB4FB1066}"/>
          </ac:picMkLst>
        </pc:picChg>
      </pc:sldChg>
      <pc:sldChg chg="addSp delSp modSp add mod ord modTransition">
        <pc:chgData name="Gouldsbury, Brian" userId="38f05b2e-fac1-4f2f-9dd8-c5800f9e0066" providerId="ADAL" clId="{ABFD28E4-D12C-46D3-8241-101A03BAA84C}" dt="2023-05-22T16:38:37.600" v="14039"/>
        <pc:sldMkLst>
          <pc:docMk/>
          <pc:sldMk cId="287710852" sldId="2147480975"/>
        </pc:sldMkLst>
        <pc:spChg chg="del mod ord">
          <ac:chgData name="Gouldsbury, Brian" userId="38f05b2e-fac1-4f2f-9dd8-c5800f9e0066" providerId="ADAL" clId="{ABFD28E4-D12C-46D3-8241-101A03BAA84C}" dt="2023-05-19T13:09:05.329" v="10861" actId="478"/>
          <ac:spMkLst>
            <pc:docMk/>
            <pc:sldMk cId="287710852" sldId="2147480975"/>
            <ac:spMk id="2" creationId="{6DE5E596-BDDD-D374-A717-32BFC395CAD9}"/>
          </ac:spMkLst>
        </pc:spChg>
        <pc:spChg chg="del">
          <ac:chgData name="Gouldsbury, Brian" userId="38f05b2e-fac1-4f2f-9dd8-c5800f9e0066" providerId="ADAL" clId="{ABFD28E4-D12C-46D3-8241-101A03BAA84C}" dt="2023-05-19T09:59:47.403" v="5550" actId="478"/>
          <ac:spMkLst>
            <pc:docMk/>
            <pc:sldMk cId="287710852" sldId="2147480975"/>
            <ac:spMk id="3" creationId="{206CAE61-B8E1-C863-A2B2-B68D300CFA0A}"/>
          </ac:spMkLst>
        </pc:spChg>
        <pc:spChg chg="mod ord">
          <ac:chgData name="Gouldsbury, Brian" userId="38f05b2e-fac1-4f2f-9dd8-c5800f9e0066" providerId="ADAL" clId="{ABFD28E4-D12C-46D3-8241-101A03BAA84C}" dt="2023-05-19T10:01:33.933" v="5566"/>
          <ac:spMkLst>
            <pc:docMk/>
            <pc:sldMk cId="287710852" sldId="2147480975"/>
            <ac:spMk id="5" creationId="{478EBAAF-7C89-24C2-120A-3086C7C1B673}"/>
          </ac:spMkLst>
        </pc:spChg>
        <pc:spChg chg="mod ord">
          <ac:chgData name="Gouldsbury, Brian" userId="38f05b2e-fac1-4f2f-9dd8-c5800f9e0066" providerId="ADAL" clId="{ABFD28E4-D12C-46D3-8241-101A03BAA84C}" dt="2023-05-19T10:01:33.935" v="5576"/>
          <ac:spMkLst>
            <pc:docMk/>
            <pc:sldMk cId="287710852" sldId="2147480975"/>
            <ac:spMk id="10" creationId="{5DE18FD2-3AFA-195E-40B4-5BC551555F9A}"/>
          </ac:spMkLst>
        </pc:spChg>
        <pc:spChg chg="mod ord">
          <ac:chgData name="Gouldsbury, Brian" userId="38f05b2e-fac1-4f2f-9dd8-c5800f9e0066" providerId="ADAL" clId="{ABFD28E4-D12C-46D3-8241-101A03BAA84C}" dt="2023-05-19T10:01:33.936" v="5578"/>
          <ac:spMkLst>
            <pc:docMk/>
            <pc:sldMk cId="287710852" sldId="2147480975"/>
            <ac:spMk id="11" creationId="{BD40E38B-A7FA-3E98-E697-6A0653162645}"/>
          </ac:spMkLst>
        </pc:spChg>
        <pc:spChg chg="mod ord">
          <ac:chgData name="Gouldsbury, Brian" userId="38f05b2e-fac1-4f2f-9dd8-c5800f9e0066" providerId="ADAL" clId="{ABFD28E4-D12C-46D3-8241-101A03BAA84C}" dt="2023-05-19T10:01:33.936" v="5580"/>
          <ac:spMkLst>
            <pc:docMk/>
            <pc:sldMk cId="287710852" sldId="2147480975"/>
            <ac:spMk id="12" creationId="{D0B855CF-05C5-4BC3-8D11-0B6B65774367}"/>
          </ac:spMkLst>
        </pc:spChg>
        <pc:spChg chg="mod ord">
          <ac:chgData name="Gouldsbury, Brian" userId="38f05b2e-fac1-4f2f-9dd8-c5800f9e0066" providerId="ADAL" clId="{ABFD28E4-D12C-46D3-8241-101A03BAA84C}" dt="2023-05-19T10:01:33.937" v="5584"/>
          <ac:spMkLst>
            <pc:docMk/>
            <pc:sldMk cId="287710852" sldId="2147480975"/>
            <ac:spMk id="14" creationId="{255B88D6-7AAA-2ECF-0754-796363886269}"/>
          </ac:spMkLst>
        </pc:spChg>
        <pc:spChg chg="mod ord">
          <ac:chgData name="Gouldsbury, Brian" userId="38f05b2e-fac1-4f2f-9dd8-c5800f9e0066" providerId="ADAL" clId="{ABFD28E4-D12C-46D3-8241-101A03BAA84C}" dt="2023-05-19T10:01:33.937" v="5586"/>
          <ac:spMkLst>
            <pc:docMk/>
            <pc:sldMk cId="287710852" sldId="2147480975"/>
            <ac:spMk id="15" creationId="{4A319111-48F1-0D7B-605A-3D689FA72EC5}"/>
          </ac:spMkLst>
        </pc:spChg>
        <pc:spChg chg="mod ord">
          <ac:chgData name="Gouldsbury, Brian" userId="38f05b2e-fac1-4f2f-9dd8-c5800f9e0066" providerId="ADAL" clId="{ABFD28E4-D12C-46D3-8241-101A03BAA84C}" dt="2023-05-19T10:01:33.938" v="5590"/>
          <ac:spMkLst>
            <pc:docMk/>
            <pc:sldMk cId="287710852" sldId="2147480975"/>
            <ac:spMk id="17" creationId="{57979B63-A042-F6A7-5AD5-4106971ED54F}"/>
          </ac:spMkLst>
        </pc:spChg>
        <pc:spChg chg="mod ord">
          <ac:chgData name="Gouldsbury, Brian" userId="38f05b2e-fac1-4f2f-9dd8-c5800f9e0066" providerId="ADAL" clId="{ABFD28E4-D12C-46D3-8241-101A03BAA84C}" dt="2023-05-19T10:01:33.939" v="5592"/>
          <ac:spMkLst>
            <pc:docMk/>
            <pc:sldMk cId="287710852" sldId="2147480975"/>
            <ac:spMk id="18" creationId="{2559A78D-F0B2-7F59-0CEF-1120892616BB}"/>
          </ac:spMkLst>
        </pc:spChg>
        <pc:spChg chg="mod ord">
          <ac:chgData name="Gouldsbury, Brian" userId="38f05b2e-fac1-4f2f-9dd8-c5800f9e0066" providerId="ADAL" clId="{ABFD28E4-D12C-46D3-8241-101A03BAA84C}" dt="2023-05-19T10:01:33.941" v="5601"/>
          <ac:spMkLst>
            <pc:docMk/>
            <pc:sldMk cId="287710852" sldId="2147480975"/>
            <ac:spMk id="23" creationId="{E2345932-1A6C-E8CC-FA55-2A03DCCF7053}"/>
          </ac:spMkLst>
        </pc:spChg>
        <pc:spChg chg="mod ord">
          <ac:chgData name="Gouldsbury, Brian" userId="38f05b2e-fac1-4f2f-9dd8-c5800f9e0066" providerId="ADAL" clId="{ABFD28E4-D12C-46D3-8241-101A03BAA84C}" dt="2023-05-19T10:01:33.941" v="5603"/>
          <ac:spMkLst>
            <pc:docMk/>
            <pc:sldMk cId="287710852" sldId="2147480975"/>
            <ac:spMk id="24" creationId="{66B41460-ED54-C127-3CD5-9F7B0D74E1FE}"/>
          </ac:spMkLst>
        </pc:spChg>
        <pc:spChg chg="add del mod modVis">
          <ac:chgData name="Gouldsbury, Brian" userId="38f05b2e-fac1-4f2f-9dd8-c5800f9e0066" providerId="ADAL" clId="{ABFD28E4-D12C-46D3-8241-101A03BAA84C}" dt="2023-05-19T09:44:20.252" v="4518"/>
          <ac:spMkLst>
            <pc:docMk/>
            <pc:sldMk cId="287710852" sldId="2147480975"/>
            <ac:spMk id="26" creationId="{A349C7C8-6FB3-CEEE-850B-E26CFF9A62F9}"/>
          </ac:spMkLst>
        </pc:spChg>
        <pc:spChg chg="add del mod modVis">
          <ac:chgData name="Gouldsbury, Brian" userId="38f05b2e-fac1-4f2f-9dd8-c5800f9e0066" providerId="ADAL" clId="{ABFD28E4-D12C-46D3-8241-101A03BAA84C}" dt="2023-05-19T09:44:22.764" v="4577"/>
          <ac:spMkLst>
            <pc:docMk/>
            <pc:sldMk cId="287710852" sldId="2147480975"/>
            <ac:spMk id="28" creationId="{7305FDAE-C46D-82B2-D869-49960D5062E6}"/>
          </ac:spMkLst>
        </pc:spChg>
        <pc:spChg chg="add mod ord">
          <ac:chgData name="Gouldsbury, Brian" userId="38f05b2e-fac1-4f2f-9dd8-c5800f9e0066" providerId="ADAL" clId="{ABFD28E4-D12C-46D3-8241-101A03BAA84C}" dt="2023-05-19T10:01:33.931" v="5560"/>
          <ac:spMkLst>
            <pc:docMk/>
            <pc:sldMk cId="287710852" sldId="2147480975"/>
            <ac:spMk id="29" creationId="{02E75FCE-53E7-944F-D75F-D1ED4EFBD693}"/>
          </ac:spMkLst>
        </pc:spChg>
        <pc:spChg chg="add mod">
          <ac:chgData name="Gouldsbury, Brian" userId="38f05b2e-fac1-4f2f-9dd8-c5800f9e0066" providerId="ADAL" clId="{ABFD28E4-D12C-46D3-8241-101A03BAA84C}" dt="2023-05-19T13:17:16.413" v="11341" actId="404"/>
          <ac:spMkLst>
            <pc:docMk/>
            <pc:sldMk cId="287710852" sldId="2147480975"/>
            <ac:spMk id="30" creationId="{DC3C7690-A7BC-400F-9B45-724146B27D64}"/>
          </ac:spMkLst>
        </pc:spChg>
        <pc:spChg chg="mod ord">
          <ac:chgData name="Gouldsbury, Brian" userId="38f05b2e-fac1-4f2f-9dd8-c5800f9e0066" providerId="ADAL" clId="{ABFD28E4-D12C-46D3-8241-101A03BAA84C}" dt="2023-05-19T10:01:33.944" v="5614"/>
          <ac:spMkLst>
            <pc:docMk/>
            <pc:sldMk cId="287710852" sldId="2147480975"/>
            <ac:spMk id="41" creationId="{C541E2F4-909E-2396-DB8A-D9CE32EA6CEC}"/>
          </ac:spMkLst>
        </pc:spChg>
        <pc:grpChg chg="del mod ord">
          <ac:chgData name="Gouldsbury, Brian" userId="38f05b2e-fac1-4f2f-9dd8-c5800f9e0066" providerId="ADAL" clId="{ABFD28E4-D12C-46D3-8241-101A03BAA84C}" dt="2023-05-19T12:51:32.023" v="9649" actId="478"/>
          <ac:grpSpMkLst>
            <pc:docMk/>
            <pc:sldMk cId="287710852" sldId="2147480975"/>
            <ac:grpSpMk id="58" creationId="{13145C66-0A60-2F6B-FF5F-B884D462722B}"/>
          </ac:grpSpMkLst>
        </pc:grpChg>
        <pc:graphicFrameChg chg="add mod ord modVis replST">
          <ac:chgData name="Gouldsbury, Brian" userId="38f05b2e-fac1-4f2f-9dd8-c5800f9e0066" providerId="ADAL" clId="{ABFD28E4-D12C-46D3-8241-101A03BAA84C}" dt="2023-05-19T13:09:05.845" v="10865"/>
          <ac:graphicFrameMkLst>
            <pc:docMk/>
            <pc:sldMk cId="287710852" sldId="2147480975"/>
            <ac:graphicFrameMk id="27" creationId="{2EC39C54-9427-BC00-7699-806ECB64BA11}"/>
          </ac:graphicFrameMkLst>
        </pc:graphicFrameChg>
        <pc:picChg chg="mod ord">
          <ac:chgData name="Gouldsbury, Brian" userId="38f05b2e-fac1-4f2f-9dd8-c5800f9e0066" providerId="ADAL" clId="{ABFD28E4-D12C-46D3-8241-101A03BAA84C}" dt="2023-05-19T10:01:33.947" v="5626"/>
          <ac:picMkLst>
            <pc:docMk/>
            <pc:sldMk cId="287710852" sldId="2147480975"/>
            <ac:picMk id="4" creationId="{632A516B-0897-4AA0-F544-3502DC1DE75A}"/>
          </ac:picMkLst>
        </pc:picChg>
        <pc:picChg chg="mod ord">
          <ac:chgData name="Gouldsbury, Brian" userId="38f05b2e-fac1-4f2f-9dd8-c5800f9e0066" providerId="ADAL" clId="{ABFD28E4-D12C-46D3-8241-101A03BAA84C}" dt="2023-05-19T10:01:33.937" v="5582"/>
          <ac:picMkLst>
            <pc:docMk/>
            <pc:sldMk cId="287710852" sldId="2147480975"/>
            <ac:picMk id="13" creationId="{8709B4AB-A522-73AA-4D13-166903ADCBEC}"/>
          </ac:picMkLst>
        </pc:picChg>
        <pc:picChg chg="mod">
          <ac:chgData name="Gouldsbury, Brian" userId="38f05b2e-fac1-4f2f-9dd8-c5800f9e0066" providerId="ADAL" clId="{ABFD28E4-D12C-46D3-8241-101A03BAA84C}" dt="2023-05-19T10:01:33.939" v="5593"/>
          <ac:picMkLst>
            <pc:docMk/>
            <pc:sldMk cId="287710852" sldId="2147480975"/>
            <ac:picMk id="19" creationId="{DD932B42-2B54-ED2E-0771-D3DDA40C17C9}"/>
          </ac:picMkLst>
        </pc:picChg>
        <pc:picChg chg="mod">
          <ac:chgData name="Gouldsbury, Brian" userId="38f05b2e-fac1-4f2f-9dd8-c5800f9e0066" providerId="ADAL" clId="{ABFD28E4-D12C-46D3-8241-101A03BAA84C}" dt="2023-05-19T10:01:33.942" v="5604"/>
          <ac:picMkLst>
            <pc:docMk/>
            <pc:sldMk cId="287710852" sldId="2147480975"/>
            <ac:picMk id="25" creationId="{B84F3AD3-C4EE-D448-E596-67741F9520B1}"/>
          </ac:picMkLst>
        </pc:picChg>
        <pc:picChg chg="mod ord">
          <ac:chgData name="Gouldsbury, Brian" userId="38f05b2e-fac1-4f2f-9dd8-c5800f9e0066" providerId="ADAL" clId="{ABFD28E4-D12C-46D3-8241-101A03BAA84C}" dt="2023-05-19T10:01:33.942" v="5606"/>
          <ac:picMkLst>
            <pc:docMk/>
            <pc:sldMk cId="287710852" sldId="2147480975"/>
            <ac:picMk id="37" creationId="{BFF61E76-09A0-8C8E-DC17-5586E20F3B2C}"/>
          </ac:picMkLst>
        </pc:picChg>
        <pc:picChg chg="mod ord">
          <ac:chgData name="Gouldsbury, Brian" userId="38f05b2e-fac1-4f2f-9dd8-c5800f9e0066" providerId="ADAL" clId="{ABFD28E4-D12C-46D3-8241-101A03BAA84C}" dt="2023-05-19T10:01:33.943" v="5608"/>
          <ac:picMkLst>
            <pc:docMk/>
            <pc:sldMk cId="287710852" sldId="2147480975"/>
            <ac:picMk id="38" creationId="{76AF495B-F7A2-5900-9646-37DB2CE88C61}"/>
          </ac:picMkLst>
        </pc:picChg>
        <pc:picChg chg="mod ord">
          <ac:chgData name="Gouldsbury, Brian" userId="38f05b2e-fac1-4f2f-9dd8-c5800f9e0066" providerId="ADAL" clId="{ABFD28E4-D12C-46D3-8241-101A03BAA84C}" dt="2023-05-19T10:01:33.943" v="5610"/>
          <ac:picMkLst>
            <pc:docMk/>
            <pc:sldMk cId="287710852" sldId="2147480975"/>
            <ac:picMk id="39" creationId="{34C5FC74-28EA-C20F-5CF5-10D112A63AF0}"/>
          </ac:picMkLst>
        </pc:picChg>
        <pc:picChg chg="mod ord">
          <ac:chgData name="Gouldsbury, Brian" userId="38f05b2e-fac1-4f2f-9dd8-c5800f9e0066" providerId="ADAL" clId="{ABFD28E4-D12C-46D3-8241-101A03BAA84C}" dt="2023-05-19T10:01:33.944" v="5612"/>
          <ac:picMkLst>
            <pc:docMk/>
            <pc:sldMk cId="287710852" sldId="2147480975"/>
            <ac:picMk id="40" creationId="{C45F72C0-DD7A-3BA5-5361-293F590E26FB}"/>
          </ac:picMkLst>
        </pc:picChg>
        <pc:picChg chg="mod ord">
          <ac:chgData name="Gouldsbury, Brian" userId="38f05b2e-fac1-4f2f-9dd8-c5800f9e0066" providerId="ADAL" clId="{ABFD28E4-D12C-46D3-8241-101A03BAA84C}" dt="2023-05-19T10:01:33.944" v="5616"/>
          <ac:picMkLst>
            <pc:docMk/>
            <pc:sldMk cId="287710852" sldId="2147480975"/>
            <ac:picMk id="42" creationId="{2E4DCFCE-BF03-999C-3E4D-86439301DC1D}"/>
          </ac:picMkLst>
        </pc:picChg>
        <pc:picChg chg="mod ord">
          <ac:chgData name="Gouldsbury, Brian" userId="38f05b2e-fac1-4f2f-9dd8-c5800f9e0066" providerId="ADAL" clId="{ABFD28E4-D12C-46D3-8241-101A03BAA84C}" dt="2023-05-19T10:01:33.945" v="5618"/>
          <ac:picMkLst>
            <pc:docMk/>
            <pc:sldMk cId="287710852" sldId="2147480975"/>
            <ac:picMk id="44" creationId="{C0AF18B5-4818-8869-5F12-E62D7AD01600}"/>
          </ac:picMkLst>
        </pc:picChg>
        <pc:picChg chg="mod">
          <ac:chgData name="Gouldsbury, Brian" userId="38f05b2e-fac1-4f2f-9dd8-c5800f9e0066" providerId="ADAL" clId="{ABFD28E4-D12C-46D3-8241-101A03BAA84C}" dt="2023-05-19T10:01:33.945" v="5619"/>
          <ac:picMkLst>
            <pc:docMk/>
            <pc:sldMk cId="287710852" sldId="2147480975"/>
            <ac:picMk id="45" creationId="{C1EAC09E-F9EA-D595-6034-A449324288D1}"/>
          </ac:picMkLst>
        </pc:picChg>
        <pc:picChg chg="mod">
          <ac:chgData name="Gouldsbury, Brian" userId="38f05b2e-fac1-4f2f-9dd8-c5800f9e0066" providerId="ADAL" clId="{ABFD28E4-D12C-46D3-8241-101A03BAA84C}" dt="2023-05-19T10:01:33.945" v="5620"/>
          <ac:picMkLst>
            <pc:docMk/>
            <pc:sldMk cId="287710852" sldId="2147480975"/>
            <ac:picMk id="46" creationId="{124EE08C-79C6-090F-223C-D2ABF8C4C22C}"/>
          </ac:picMkLst>
        </pc:picChg>
        <pc:picChg chg="mod ord">
          <ac:chgData name="Gouldsbury, Brian" userId="38f05b2e-fac1-4f2f-9dd8-c5800f9e0066" providerId="ADAL" clId="{ABFD28E4-D12C-46D3-8241-101A03BAA84C}" dt="2023-05-19T10:01:33.946" v="5622"/>
          <ac:picMkLst>
            <pc:docMk/>
            <pc:sldMk cId="287710852" sldId="2147480975"/>
            <ac:picMk id="47" creationId="{0F1EBEA4-B555-8782-6E38-6F6CFDF015C2}"/>
          </ac:picMkLst>
        </pc:picChg>
        <pc:picChg chg="mod ord">
          <ac:chgData name="Gouldsbury, Brian" userId="38f05b2e-fac1-4f2f-9dd8-c5800f9e0066" providerId="ADAL" clId="{ABFD28E4-D12C-46D3-8241-101A03BAA84C}" dt="2023-05-19T10:01:33.946" v="5624"/>
          <ac:picMkLst>
            <pc:docMk/>
            <pc:sldMk cId="287710852" sldId="2147480975"/>
            <ac:picMk id="48" creationId="{6DB6BFB0-74E8-7744-EFEE-BF2688681F78}"/>
          </ac:picMkLst>
        </pc:picChg>
        <pc:picChg chg="mod ord">
          <ac:chgData name="Gouldsbury, Brian" userId="38f05b2e-fac1-4f2f-9dd8-c5800f9e0066" providerId="ADAL" clId="{ABFD28E4-D12C-46D3-8241-101A03BAA84C}" dt="2023-05-19T10:01:33.947" v="5628"/>
          <ac:picMkLst>
            <pc:docMk/>
            <pc:sldMk cId="287710852" sldId="2147480975"/>
            <ac:picMk id="49" creationId="{F645F94F-A4D1-8502-A5B6-53FC95A6B6BA}"/>
          </ac:picMkLst>
        </pc:picChg>
        <pc:picChg chg="mod">
          <ac:chgData name="Gouldsbury, Brian" userId="38f05b2e-fac1-4f2f-9dd8-c5800f9e0066" providerId="ADAL" clId="{ABFD28E4-D12C-46D3-8241-101A03BAA84C}" dt="2023-05-19T10:01:33.947" v="5629"/>
          <ac:picMkLst>
            <pc:docMk/>
            <pc:sldMk cId="287710852" sldId="2147480975"/>
            <ac:picMk id="50" creationId="{DBECBF5F-3BE9-B8EB-B632-B642F36EE6F4}"/>
          </ac:picMkLst>
        </pc:picChg>
        <pc:picChg chg="mod">
          <ac:chgData name="Gouldsbury, Brian" userId="38f05b2e-fac1-4f2f-9dd8-c5800f9e0066" providerId="ADAL" clId="{ABFD28E4-D12C-46D3-8241-101A03BAA84C}" dt="2023-05-19T10:01:45.068" v="5644" actId="14100"/>
          <ac:picMkLst>
            <pc:docMk/>
            <pc:sldMk cId="287710852" sldId="2147480975"/>
            <ac:picMk id="51" creationId="{F6AB9767-49A4-6F87-1BD4-85184364544C}"/>
          </ac:picMkLst>
        </pc:picChg>
        <pc:picChg chg="mod">
          <ac:chgData name="Gouldsbury, Brian" userId="38f05b2e-fac1-4f2f-9dd8-c5800f9e0066" providerId="ADAL" clId="{ABFD28E4-D12C-46D3-8241-101A03BAA84C}" dt="2023-05-19T10:01:33.948" v="5631"/>
          <ac:picMkLst>
            <pc:docMk/>
            <pc:sldMk cId="287710852" sldId="2147480975"/>
            <ac:picMk id="52" creationId="{12D5B6E9-F64B-AB8C-42D7-5D40741D54C5}"/>
          </ac:picMkLst>
        </pc:picChg>
        <pc:picChg chg="mod">
          <ac:chgData name="Gouldsbury, Brian" userId="38f05b2e-fac1-4f2f-9dd8-c5800f9e0066" providerId="ADAL" clId="{ABFD28E4-D12C-46D3-8241-101A03BAA84C}" dt="2023-05-19T10:01:33.948" v="5632"/>
          <ac:picMkLst>
            <pc:docMk/>
            <pc:sldMk cId="287710852" sldId="2147480975"/>
            <ac:picMk id="53" creationId="{6747F2CB-E0D9-EBC0-ABD7-3BA3CA4DE372}"/>
          </ac:picMkLst>
        </pc:picChg>
        <pc:picChg chg="mod">
          <ac:chgData name="Gouldsbury, Brian" userId="38f05b2e-fac1-4f2f-9dd8-c5800f9e0066" providerId="ADAL" clId="{ABFD28E4-D12C-46D3-8241-101A03BAA84C}" dt="2023-05-19T10:01:33.949" v="5633"/>
          <ac:picMkLst>
            <pc:docMk/>
            <pc:sldMk cId="287710852" sldId="2147480975"/>
            <ac:picMk id="54" creationId="{1D6EFA73-B072-AC41-D5D4-0F324E4703DC}"/>
          </ac:picMkLst>
        </pc:picChg>
        <pc:picChg chg="mod">
          <ac:chgData name="Gouldsbury, Brian" userId="38f05b2e-fac1-4f2f-9dd8-c5800f9e0066" providerId="ADAL" clId="{ABFD28E4-D12C-46D3-8241-101A03BAA84C}" dt="2023-05-19T10:01:33.949" v="5634"/>
          <ac:picMkLst>
            <pc:docMk/>
            <pc:sldMk cId="287710852" sldId="2147480975"/>
            <ac:picMk id="55" creationId="{242ACDB1-4E31-FA4F-5F47-3A7F0BC9A3FB}"/>
          </ac:picMkLst>
        </pc:picChg>
        <pc:picChg chg="mod">
          <ac:chgData name="Gouldsbury, Brian" userId="38f05b2e-fac1-4f2f-9dd8-c5800f9e0066" providerId="ADAL" clId="{ABFD28E4-D12C-46D3-8241-101A03BAA84C}" dt="2023-05-19T10:01:33.950" v="5635"/>
          <ac:picMkLst>
            <pc:docMk/>
            <pc:sldMk cId="287710852" sldId="2147480975"/>
            <ac:picMk id="56" creationId="{EABB5FE8-E941-C2A1-F477-184C99B151C7}"/>
          </ac:picMkLst>
        </pc:picChg>
        <pc:picChg chg="mod">
          <ac:chgData name="Gouldsbury, Brian" userId="38f05b2e-fac1-4f2f-9dd8-c5800f9e0066" providerId="ADAL" clId="{ABFD28E4-D12C-46D3-8241-101A03BAA84C}" dt="2023-05-19T10:01:33.950" v="5636"/>
          <ac:picMkLst>
            <pc:docMk/>
            <pc:sldMk cId="287710852" sldId="2147480975"/>
            <ac:picMk id="57" creationId="{CB80C0CE-A9EC-0156-743F-356867ED64CB}"/>
          </ac:picMkLst>
        </pc:picChg>
        <pc:picChg chg="mod">
          <ac:chgData name="Gouldsbury, Brian" userId="38f05b2e-fac1-4f2f-9dd8-c5800f9e0066" providerId="ADAL" clId="{ABFD28E4-D12C-46D3-8241-101A03BAA84C}" dt="2023-05-19T10:01:33.950" v="5637"/>
          <ac:picMkLst>
            <pc:docMk/>
            <pc:sldMk cId="287710852" sldId="2147480975"/>
            <ac:picMk id="69" creationId="{E52D7CF5-11BA-5D5D-446E-3E2EC3EC345D}"/>
          </ac:picMkLst>
        </pc:picChg>
        <pc:picChg chg="mod">
          <ac:chgData name="Gouldsbury, Brian" userId="38f05b2e-fac1-4f2f-9dd8-c5800f9e0066" providerId="ADAL" clId="{ABFD28E4-D12C-46D3-8241-101A03BAA84C}" dt="2023-05-19T10:01:33.951" v="5638"/>
          <ac:picMkLst>
            <pc:docMk/>
            <pc:sldMk cId="287710852" sldId="2147480975"/>
            <ac:picMk id="70" creationId="{D74EF8DF-8F4A-56F8-ABC4-5AD9FB1DB1BB}"/>
          </ac:picMkLst>
        </pc:picChg>
        <pc:cxnChg chg="mod ord">
          <ac:chgData name="Gouldsbury, Brian" userId="38f05b2e-fac1-4f2f-9dd8-c5800f9e0066" providerId="ADAL" clId="{ABFD28E4-D12C-46D3-8241-101A03BAA84C}" dt="2023-05-19T10:01:33.934" v="5568"/>
          <ac:cxnSpMkLst>
            <pc:docMk/>
            <pc:sldMk cId="287710852" sldId="2147480975"/>
            <ac:cxnSpMk id="6" creationId="{655F11DD-A534-7629-7D80-5EAC5D4D3C63}"/>
          </ac:cxnSpMkLst>
        </pc:cxnChg>
        <pc:cxnChg chg="mod ord">
          <ac:chgData name="Gouldsbury, Brian" userId="38f05b2e-fac1-4f2f-9dd8-c5800f9e0066" providerId="ADAL" clId="{ABFD28E4-D12C-46D3-8241-101A03BAA84C}" dt="2023-05-19T10:01:33.934" v="5570"/>
          <ac:cxnSpMkLst>
            <pc:docMk/>
            <pc:sldMk cId="287710852" sldId="2147480975"/>
            <ac:cxnSpMk id="7" creationId="{D588CCDB-6120-20CC-97DB-5F5EBAF30F49}"/>
          </ac:cxnSpMkLst>
        </pc:cxnChg>
        <pc:cxnChg chg="mod ord">
          <ac:chgData name="Gouldsbury, Brian" userId="38f05b2e-fac1-4f2f-9dd8-c5800f9e0066" providerId="ADAL" clId="{ABFD28E4-D12C-46D3-8241-101A03BAA84C}" dt="2023-05-19T10:01:33.934" v="5572"/>
          <ac:cxnSpMkLst>
            <pc:docMk/>
            <pc:sldMk cId="287710852" sldId="2147480975"/>
            <ac:cxnSpMk id="8" creationId="{3C58FC8A-0C17-9A9C-7E58-D984FA3F2324}"/>
          </ac:cxnSpMkLst>
        </pc:cxnChg>
        <pc:cxnChg chg="mod ord">
          <ac:chgData name="Gouldsbury, Brian" userId="38f05b2e-fac1-4f2f-9dd8-c5800f9e0066" providerId="ADAL" clId="{ABFD28E4-D12C-46D3-8241-101A03BAA84C}" dt="2023-05-19T10:01:33.935" v="5574"/>
          <ac:cxnSpMkLst>
            <pc:docMk/>
            <pc:sldMk cId="287710852" sldId="2147480975"/>
            <ac:cxnSpMk id="9" creationId="{96F85F43-2F8A-DD01-68D6-F3AD288EA05E}"/>
          </ac:cxnSpMkLst>
        </pc:cxnChg>
        <pc:cxnChg chg="mod ord">
          <ac:chgData name="Gouldsbury, Brian" userId="38f05b2e-fac1-4f2f-9dd8-c5800f9e0066" providerId="ADAL" clId="{ABFD28E4-D12C-46D3-8241-101A03BAA84C}" dt="2023-05-19T10:01:33.938" v="5588"/>
          <ac:cxnSpMkLst>
            <pc:docMk/>
            <pc:sldMk cId="287710852" sldId="2147480975"/>
            <ac:cxnSpMk id="16" creationId="{13D260C3-8278-3F23-7B79-4AD846DAC58C}"/>
          </ac:cxnSpMkLst>
        </pc:cxnChg>
        <pc:cxnChg chg="mod ord">
          <ac:chgData name="Gouldsbury, Brian" userId="38f05b2e-fac1-4f2f-9dd8-c5800f9e0066" providerId="ADAL" clId="{ABFD28E4-D12C-46D3-8241-101A03BAA84C}" dt="2023-05-19T10:01:33.940" v="5595"/>
          <ac:cxnSpMkLst>
            <pc:docMk/>
            <pc:sldMk cId="287710852" sldId="2147480975"/>
            <ac:cxnSpMk id="20" creationId="{5979BC06-0425-A25F-B1B7-A30533364E2C}"/>
          </ac:cxnSpMkLst>
        </pc:cxnChg>
        <pc:cxnChg chg="mod ord">
          <ac:chgData name="Gouldsbury, Brian" userId="38f05b2e-fac1-4f2f-9dd8-c5800f9e0066" providerId="ADAL" clId="{ABFD28E4-D12C-46D3-8241-101A03BAA84C}" dt="2023-05-19T10:01:33.940" v="5597"/>
          <ac:cxnSpMkLst>
            <pc:docMk/>
            <pc:sldMk cId="287710852" sldId="2147480975"/>
            <ac:cxnSpMk id="21" creationId="{4E91A83A-2745-37C0-4FB0-920C0D80E048}"/>
          </ac:cxnSpMkLst>
        </pc:cxnChg>
        <pc:cxnChg chg="mod ord">
          <ac:chgData name="Gouldsbury, Brian" userId="38f05b2e-fac1-4f2f-9dd8-c5800f9e0066" providerId="ADAL" clId="{ABFD28E4-D12C-46D3-8241-101A03BAA84C}" dt="2023-05-19T10:01:33.940" v="5599"/>
          <ac:cxnSpMkLst>
            <pc:docMk/>
            <pc:sldMk cId="287710852" sldId="2147480975"/>
            <ac:cxnSpMk id="22" creationId="{44B6CBED-303B-0CCB-260A-9A640D235DE2}"/>
          </ac:cxnSpMkLst>
        </pc:cxnChg>
      </pc:sldChg>
      <pc:sldChg chg="addSp delSp modSp add del mod ord modTransition">
        <pc:chgData name="Gouldsbury, Brian" userId="38f05b2e-fac1-4f2f-9dd8-c5800f9e0066" providerId="ADAL" clId="{ABFD28E4-D12C-46D3-8241-101A03BAA84C}" dt="2023-05-22T16:38:37.600" v="14039"/>
        <pc:sldMkLst>
          <pc:docMk/>
          <pc:sldMk cId="2828467743" sldId="2147480984"/>
        </pc:sldMkLst>
        <pc:spChg chg="mod ord">
          <ac:chgData name="Gouldsbury, Brian" userId="38f05b2e-fac1-4f2f-9dd8-c5800f9e0066" providerId="ADAL" clId="{ABFD28E4-D12C-46D3-8241-101A03BAA84C}" dt="2023-05-19T11:34:10.275" v="6421"/>
          <ac:spMkLst>
            <pc:docMk/>
            <pc:sldMk cId="2828467743" sldId="2147480984"/>
            <ac:spMk id="2" creationId="{22E048E9-6A8A-651F-9B19-BE986778B8FB}"/>
          </ac:spMkLst>
        </pc:spChg>
        <pc:spChg chg="mod ord">
          <ac:chgData name="Gouldsbury, Brian" userId="38f05b2e-fac1-4f2f-9dd8-c5800f9e0066" providerId="ADAL" clId="{ABFD28E4-D12C-46D3-8241-101A03BAA84C}" dt="2023-05-19T13:17:22.746" v="11343" actId="948"/>
          <ac:spMkLst>
            <pc:docMk/>
            <pc:sldMk cId="2828467743" sldId="2147480984"/>
            <ac:spMk id="3" creationId="{2908726A-FA5E-4B27-ABD5-A1E3743F36EE}"/>
          </ac:spMkLst>
        </pc:spChg>
        <pc:spChg chg="add del mod modVis">
          <ac:chgData name="Gouldsbury, Brian" userId="38f05b2e-fac1-4f2f-9dd8-c5800f9e0066" providerId="ADAL" clId="{ABFD28E4-D12C-46D3-8241-101A03BAA84C}" dt="2023-05-19T09:40:03.047" v="3281"/>
          <ac:spMkLst>
            <pc:docMk/>
            <pc:sldMk cId="2828467743" sldId="2147480984"/>
            <ac:spMk id="4" creationId="{874F0447-8C8E-3972-3C64-AB25AFB33E08}"/>
          </ac:spMkLst>
        </pc:spChg>
        <pc:spChg chg="del">
          <ac:chgData name="Gouldsbury, Brian" userId="38f05b2e-fac1-4f2f-9dd8-c5800f9e0066" providerId="ADAL" clId="{ABFD28E4-D12C-46D3-8241-101A03BAA84C}" dt="2023-05-19T11:31:54.891" v="6293" actId="478"/>
          <ac:spMkLst>
            <pc:docMk/>
            <pc:sldMk cId="2828467743" sldId="2147480984"/>
            <ac:spMk id="7" creationId="{A1684313-F387-9105-80D2-7A41ACD3FD9A}"/>
          </ac:spMkLst>
        </pc:spChg>
        <pc:spChg chg="add del mod modVis">
          <ac:chgData name="Gouldsbury, Brian" userId="38f05b2e-fac1-4f2f-9dd8-c5800f9e0066" providerId="ADAL" clId="{ABFD28E4-D12C-46D3-8241-101A03BAA84C}" dt="2023-05-19T09:40:07.395" v="3340"/>
          <ac:spMkLst>
            <pc:docMk/>
            <pc:sldMk cId="2828467743" sldId="2147480984"/>
            <ac:spMk id="9" creationId="{75791342-7BC7-CBF6-B156-42818DE50F65}"/>
          </ac:spMkLst>
        </pc:spChg>
        <pc:spChg chg="add del mod modVis">
          <ac:chgData name="Gouldsbury, Brian" userId="38f05b2e-fac1-4f2f-9dd8-c5800f9e0066" providerId="ADAL" clId="{ABFD28E4-D12C-46D3-8241-101A03BAA84C}" dt="2023-05-19T09:40:12.705" v="3402"/>
          <ac:spMkLst>
            <pc:docMk/>
            <pc:sldMk cId="2828467743" sldId="2147480984"/>
            <ac:spMk id="10" creationId="{3E8DFE25-0838-0322-04E4-BB6BB4C96126}"/>
          </ac:spMkLst>
        </pc:spChg>
        <pc:spChg chg="add del mod modVis">
          <ac:chgData name="Gouldsbury, Brian" userId="38f05b2e-fac1-4f2f-9dd8-c5800f9e0066" providerId="ADAL" clId="{ABFD28E4-D12C-46D3-8241-101A03BAA84C}" dt="2023-05-19T09:40:13.389" v="3448"/>
          <ac:spMkLst>
            <pc:docMk/>
            <pc:sldMk cId="2828467743" sldId="2147480984"/>
            <ac:spMk id="11" creationId="{AB9F617B-1FD6-819B-2B26-E8AA1293468A}"/>
          </ac:spMkLst>
        </pc:spChg>
        <pc:spChg chg="del">
          <ac:chgData name="Gouldsbury, Brian" userId="38f05b2e-fac1-4f2f-9dd8-c5800f9e0066" providerId="ADAL" clId="{ABFD28E4-D12C-46D3-8241-101A03BAA84C}" dt="2023-05-19T11:31:54.891" v="6293" actId="478"/>
          <ac:spMkLst>
            <pc:docMk/>
            <pc:sldMk cId="2828467743" sldId="2147480984"/>
            <ac:spMk id="12" creationId="{F506E247-21D0-12E8-B36B-502E094665D7}"/>
          </ac:spMkLst>
        </pc:spChg>
        <pc:spChg chg="add del mod modVis">
          <ac:chgData name="Gouldsbury, Brian" userId="38f05b2e-fac1-4f2f-9dd8-c5800f9e0066" providerId="ADAL" clId="{ABFD28E4-D12C-46D3-8241-101A03BAA84C}" dt="2023-05-19T09:40:14.692" v="3497"/>
          <ac:spMkLst>
            <pc:docMk/>
            <pc:sldMk cId="2828467743" sldId="2147480984"/>
            <ac:spMk id="13" creationId="{D8244CF0-F2A2-BBE7-5E90-6FDEA2F07773}"/>
          </ac:spMkLst>
        </pc:spChg>
        <pc:spChg chg="del">
          <ac:chgData name="Gouldsbury, Brian" userId="38f05b2e-fac1-4f2f-9dd8-c5800f9e0066" providerId="ADAL" clId="{ABFD28E4-D12C-46D3-8241-101A03BAA84C}" dt="2023-05-19T11:31:54.891" v="6293" actId="478"/>
          <ac:spMkLst>
            <pc:docMk/>
            <pc:sldMk cId="2828467743" sldId="2147480984"/>
            <ac:spMk id="14" creationId="{8B625DBB-F712-A6B1-60F6-17F7A8188281}"/>
          </ac:spMkLst>
        </pc:spChg>
        <pc:spChg chg="del">
          <ac:chgData name="Gouldsbury, Brian" userId="38f05b2e-fac1-4f2f-9dd8-c5800f9e0066" providerId="ADAL" clId="{ABFD28E4-D12C-46D3-8241-101A03BAA84C}" dt="2023-05-19T11:31:54.891" v="6293" actId="478"/>
          <ac:spMkLst>
            <pc:docMk/>
            <pc:sldMk cId="2828467743" sldId="2147480984"/>
            <ac:spMk id="17" creationId="{58A2F12F-5617-4E64-F656-7EC19584C18A}"/>
          </ac:spMkLst>
        </pc:spChg>
        <pc:spChg chg="add del mod modVis">
          <ac:chgData name="Gouldsbury, Brian" userId="38f05b2e-fac1-4f2f-9dd8-c5800f9e0066" providerId="ADAL" clId="{ABFD28E4-D12C-46D3-8241-101A03BAA84C}" dt="2023-05-19T09:40:18.817" v="3542"/>
          <ac:spMkLst>
            <pc:docMk/>
            <pc:sldMk cId="2828467743" sldId="2147480984"/>
            <ac:spMk id="19" creationId="{9CD6D693-7B64-91EA-84F6-D8F59A0B9232}"/>
          </ac:spMkLst>
        </pc:spChg>
        <pc:spChg chg="add del mod modVis">
          <ac:chgData name="Gouldsbury, Brian" userId="38f05b2e-fac1-4f2f-9dd8-c5800f9e0066" providerId="ADAL" clId="{ABFD28E4-D12C-46D3-8241-101A03BAA84C}" dt="2023-05-19T09:40:20.895" v="3587"/>
          <ac:spMkLst>
            <pc:docMk/>
            <pc:sldMk cId="2828467743" sldId="2147480984"/>
            <ac:spMk id="21" creationId="{5BB5B044-66CF-6B3D-7E8E-BD2D73F8DCA8}"/>
          </ac:spMkLst>
        </pc:spChg>
        <pc:spChg chg="add del mod modVis">
          <ac:chgData name="Gouldsbury, Brian" userId="38f05b2e-fac1-4f2f-9dd8-c5800f9e0066" providerId="ADAL" clId="{ABFD28E4-D12C-46D3-8241-101A03BAA84C}" dt="2023-05-19T09:40:24.903" v="3647"/>
          <ac:spMkLst>
            <pc:docMk/>
            <pc:sldMk cId="2828467743" sldId="2147480984"/>
            <ac:spMk id="22" creationId="{B7186DFD-918F-63B2-DEE5-46D926E8C979}"/>
          </ac:spMkLst>
        </pc:spChg>
        <pc:spChg chg="mod ord">
          <ac:chgData name="Gouldsbury, Brian" userId="38f05b2e-fac1-4f2f-9dd8-c5800f9e0066" providerId="ADAL" clId="{ABFD28E4-D12C-46D3-8241-101A03BAA84C}" dt="2023-05-19T11:34:10.273" v="6413"/>
          <ac:spMkLst>
            <pc:docMk/>
            <pc:sldMk cId="2828467743" sldId="2147480984"/>
            <ac:spMk id="23" creationId="{1A263DC9-0BDB-4B98-9D9E-E35CD3D7358B}"/>
          </ac:spMkLst>
        </pc:spChg>
        <pc:spChg chg="add del mod modVis">
          <ac:chgData name="Gouldsbury, Brian" userId="38f05b2e-fac1-4f2f-9dd8-c5800f9e0066" providerId="ADAL" clId="{ABFD28E4-D12C-46D3-8241-101A03BAA84C}" dt="2023-05-19T09:40:29.181" v="3708"/>
          <ac:spMkLst>
            <pc:docMk/>
            <pc:sldMk cId="2828467743" sldId="2147480984"/>
            <ac:spMk id="24" creationId="{65A69F90-4FAE-9D31-30C2-947701E7EAF4}"/>
          </ac:spMkLst>
        </pc:spChg>
        <pc:spChg chg="add del mod modVis">
          <ac:chgData name="Gouldsbury, Brian" userId="38f05b2e-fac1-4f2f-9dd8-c5800f9e0066" providerId="ADAL" clId="{ABFD28E4-D12C-46D3-8241-101A03BAA84C}" dt="2023-05-19T09:40:30.395" v="3769"/>
          <ac:spMkLst>
            <pc:docMk/>
            <pc:sldMk cId="2828467743" sldId="2147480984"/>
            <ac:spMk id="25" creationId="{4F141CB0-0153-9521-2019-979E698BBD37}"/>
          </ac:spMkLst>
        </pc:spChg>
        <pc:spChg chg="add del mod modVis">
          <ac:chgData name="Gouldsbury, Brian" userId="38f05b2e-fac1-4f2f-9dd8-c5800f9e0066" providerId="ADAL" clId="{ABFD28E4-D12C-46D3-8241-101A03BAA84C}" dt="2023-05-19T09:40:34.013" v="3829"/>
          <ac:spMkLst>
            <pc:docMk/>
            <pc:sldMk cId="2828467743" sldId="2147480984"/>
            <ac:spMk id="26" creationId="{B12C33F2-5EF2-0FBD-1744-4D5D3650CEEC}"/>
          </ac:spMkLst>
        </pc:spChg>
        <pc:spChg chg="add del mod">
          <ac:chgData name="Gouldsbury, Brian" userId="38f05b2e-fac1-4f2f-9dd8-c5800f9e0066" providerId="ADAL" clId="{ABFD28E4-D12C-46D3-8241-101A03BAA84C}" dt="2023-05-19T11:26:27.303" v="6032" actId="478"/>
          <ac:spMkLst>
            <pc:docMk/>
            <pc:sldMk cId="2828467743" sldId="2147480984"/>
            <ac:spMk id="28" creationId="{50657C0A-9980-11D4-389F-306D3AAA5C48}"/>
          </ac:spMkLst>
        </pc:spChg>
        <pc:spChg chg="mod ord">
          <ac:chgData name="Gouldsbury, Brian" userId="38f05b2e-fac1-4f2f-9dd8-c5800f9e0066" providerId="ADAL" clId="{ABFD28E4-D12C-46D3-8241-101A03BAA84C}" dt="2023-05-19T11:34:10.274" v="6417"/>
          <ac:spMkLst>
            <pc:docMk/>
            <pc:sldMk cId="2828467743" sldId="2147480984"/>
            <ac:spMk id="29" creationId="{B7035E02-ED2D-F861-3156-7F4A246C3980}"/>
          </ac:spMkLst>
        </pc:spChg>
        <pc:spChg chg="del">
          <ac:chgData name="Gouldsbury, Brian" userId="38f05b2e-fac1-4f2f-9dd8-c5800f9e0066" providerId="ADAL" clId="{ABFD28E4-D12C-46D3-8241-101A03BAA84C}" dt="2023-05-19T11:31:54.891" v="6293" actId="478"/>
          <ac:spMkLst>
            <pc:docMk/>
            <pc:sldMk cId="2828467743" sldId="2147480984"/>
            <ac:spMk id="30" creationId="{75A765F3-E14D-8449-2F3E-6701E5F04766}"/>
          </ac:spMkLst>
        </pc:spChg>
        <pc:spChg chg="add mod ord">
          <ac:chgData name="Gouldsbury, Brian" userId="38f05b2e-fac1-4f2f-9dd8-c5800f9e0066" providerId="ADAL" clId="{ABFD28E4-D12C-46D3-8241-101A03BAA84C}" dt="2023-05-19T11:34:10.275" v="6423"/>
          <ac:spMkLst>
            <pc:docMk/>
            <pc:sldMk cId="2828467743" sldId="2147480984"/>
            <ac:spMk id="31" creationId="{E329F031-E6F5-4EBE-E74A-A5C213C47B31}"/>
          </ac:spMkLst>
        </pc:spChg>
        <pc:spChg chg="del mod">
          <ac:chgData name="Gouldsbury, Brian" userId="38f05b2e-fac1-4f2f-9dd8-c5800f9e0066" providerId="ADAL" clId="{ABFD28E4-D12C-46D3-8241-101A03BAA84C}" dt="2023-05-19T11:31:54.891" v="6293" actId="478"/>
          <ac:spMkLst>
            <pc:docMk/>
            <pc:sldMk cId="2828467743" sldId="2147480984"/>
            <ac:spMk id="32" creationId="{BCDA6758-465B-F0B6-6FA3-91F9BD337E25}"/>
          </ac:spMkLst>
        </pc:spChg>
        <pc:spChg chg="add mod ord">
          <ac:chgData name="Gouldsbury, Brian" userId="38f05b2e-fac1-4f2f-9dd8-c5800f9e0066" providerId="ADAL" clId="{ABFD28E4-D12C-46D3-8241-101A03BAA84C}" dt="2023-05-19T11:34:10.276" v="6425"/>
          <ac:spMkLst>
            <pc:docMk/>
            <pc:sldMk cId="2828467743" sldId="2147480984"/>
            <ac:spMk id="33" creationId="{2A394820-ABFE-5B9A-5502-71CA06DB2D91}"/>
          </ac:spMkLst>
        </pc:spChg>
        <pc:spChg chg="add mod ord">
          <ac:chgData name="Gouldsbury, Brian" userId="38f05b2e-fac1-4f2f-9dd8-c5800f9e0066" providerId="ADAL" clId="{ABFD28E4-D12C-46D3-8241-101A03BAA84C}" dt="2023-05-19T11:34:10.276" v="6427"/>
          <ac:spMkLst>
            <pc:docMk/>
            <pc:sldMk cId="2828467743" sldId="2147480984"/>
            <ac:spMk id="34" creationId="{529835E2-03C4-5E02-ED39-F4F1588917E6}"/>
          </ac:spMkLst>
        </pc:spChg>
        <pc:spChg chg="del">
          <ac:chgData name="Gouldsbury, Brian" userId="38f05b2e-fac1-4f2f-9dd8-c5800f9e0066" providerId="ADAL" clId="{ABFD28E4-D12C-46D3-8241-101A03BAA84C}" dt="2023-05-19T11:31:54.891" v="6293" actId="478"/>
          <ac:spMkLst>
            <pc:docMk/>
            <pc:sldMk cId="2828467743" sldId="2147480984"/>
            <ac:spMk id="37" creationId="{25661F29-DA04-2C94-FB5A-5A2333A76E0C}"/>
          </ac:spMkLst>
        </pc:spChg>
        <pc:spChg chg="del mod">
          <ac:chgData name="Gouldsbury, Brian" userId="38f05b2e-fac1-4f2f-9dd8-c5800f9e0066" providerId="ADAL" clId="{ABFD28E4-D12C-46D3-8241-101A03BAA84C}" dt="2023-05-19T11:31:56.686" v="6294" actId="478"/>
          <ac:spMkLst>
            <pc:docMk/>
            <pc:sldMk cId="2828467743" sldId="2147480984"/>
            <ac:spMk id="39" creationId="{9FBFEB2D-B793-8DF3-5336-AC27A92B42D8}"/>
          </ac:spMkLst>
        </pc:spChg>
        <pc:spChg chg="add mod ord">
          <ac:chgData name="Gouldsbury, Brian" userId="38f05b2e-fac1-4f2f-9dd8-c5800f9e0066" providerId="ADAL" clId="{ABFD28E4-D12C-46D3-8241-101A03BAA84C}" dt="2023-05-19T11:34:10.276" v="6429"/>
          <ac:spMkLst>
            <pc:docMk/>
            <pc:sldMk cId="2828467743" sldId="2147480984"/>
            <ac:spMk id="40" creationId="{AA062D30-2908-4DC7-76FE-38FFD1E69CF9}"/>
          </ac:spMkLst>
        </pc:spChg>
        <pc:spChg chg="add mod ord">
          <ac:chgData name="Gouldsbury, Brian" userId="38f05b2e-fac1-4f2f-9dd8-c5800f9e0066" providerId="ADAL" clId="{ABFD28E4-D12C-46D3-8241-101A03BAA84C}" dt="2023-05-19T11:34:10.277" v="6431"/>
          <ac:spMkLst>
            <pc:docMk/>
            <pc:sldMk cId="2828467743" sldId="2147480984"/>
            <ac:spMk id="41" creationId="{56649067-D358-2ED8-5CFF-4BA895B9FD17}"/>
          </ac:spMkLst>
        </pc:spChg>
        <pc:spChg chg="add mod ord">
          <ac:chgData name="Gouldsbury, Brian" userId="38f05b2e-fac1-4f2f-9dd8-c5800f9e0066" providerId="ADAL" clId="{ABFD28E4-D12C-46D3-8241-101A03BAA84C}" dt="2023-05-19T11:34:10.278" v="6433"/>
          <ac:spMkLst>
            <pc:docMk/>
            <pc:sldMk cId="2828467743" sldId="2147480984"/>
            <ac:spMk id="42" creationId="{263C5CC3-5201-B8C4-8B2E-91422DD02C05}"/>
          </ac:spMkLst>
        </pc:spChg>
        <pc:spChg chg="add mod ord">
          <ac:chgData name="Gouldsbury, Brian" userId="38f05b2e-fac1-4f2f-9dd8-c5800f9e0066" providerId="ADAL" clId="{ABFD28E4-D12C-46D3-8241-101A03BAA84C}" dt="2023-05-19T11:34:10.278" v="6435"/>
          <ac:spMkLst>
            <pc:docMk/>
            <pc:sldMk cId="2828467743" sldId="2147480984"/>
            <ac:spMk id="43" creationId="{0FB3A286-0ED3-C88E-1CEF-ED344A9D5FCE}"/>
          </ac:spMkLst>
        </pc:spChg>
        <pc:spChg chg="add mod ord">
          <ac:chgData name="Gouldsbury, Brian" userId="38f05b2e-fac1-4f2f-9dd8-c5800f9e0066" providerId="ADAL" clId="{ABFD28E4-D12C-46D3-8241-101A03BAA84C}" dt="2023-05-19T13:16:09.322" v="11199" actId="1036"/>
          <ac:spMkLst>
            <pc:docMk/>
            <pc:sldMk cId="2828467743" sldId="2147480984"/>
            <ac:spMk id="44" creationId="{698A4E0A-47E0-7AF2-F724-A00955550BED}"/>
          </ac:spMkLst>
        </pc:spChg>
        <pc:spChg chg="add del mod modVis">
          <ac:chgData name="Gouldsbury, Brian" userId="38f05b2e-fac1-4f2f-9dd8-c5800f9e0066" providerId="ADAL" clId="{ABFD28E4-D12C-46D3-8241-101A03BAA84C}" dt="2023-05-19T13:09:33.222" v="10935"/>
          <ac:spMkLst>
            <pc:docMk/>
            <pc:sldMk cId="2828467743" sldId="2147480984"/>
            <ac:spMk id="45" creationId="{47949BC6-5F44-F995-3A77-F83CD8588805}"/>
          </ac:spMkLst>
        </pc:spChg>
        <pc:spChg chg="add del mod modVis">
          <ac:chgData name="Gouldsbury, Brian" userId="38f05b2e-fac1-4f2f-9dd8-c5800f9e0066" providerId="ADAL" clId="{ABFD28E4-D12C-46D3-8241-101A03BAA84C}" dt="2023-05-19T13:17:22.792" v="11399"/>
          <ac:spMkLst>
            <pc:docMk/>
            <pc:sldMk cId="2828467743" sldId="2147480984"/>
            <ac:spMk id="46" creationId="{02717A28-8467-D3C0-B55A-5DB79018F2F8}"/>
          </ac:spMkLst>
        </pc:spChg>
        <pc:graphicFrameChg chg="add mod ord modVis replST">
          <ac:chgData name="Gouldsbury, Brian" userId="38f05b2e-fac1-4f2f-9dd8-c5800f9e0066" providerId="ADAL" clId="{ABFD28E4-D12C-46D3-8241-101A03BAA84C}" dt="2023-05-19T13:17:22.794" v="11401"/>
          <ac:graphicFrameMkLst>
            <pc:docMk/>
            <pc:sldMk cId="2828467743" sldId="2147480984"/>
            <ac:graphicFrameMk id="5" creationId="{42ADD2DB-4EEC-9278-2AA7-E700DB9501E6}"/>
          </ac:graphicFrameMkLst>
        </pc:graphicFrameChg>
        <pc:graphicFrameChg chg="mod ord modGraphic">
          <ac:chgData name="Gouldsbury, Brian" userId="38f05b2e-fac1-4f2f-9dd8-c5800f9e0066" providerId="ADAL" clId="{ABFD28E4-D12C-46D3-8241-101A03BAA84C}" dt="2023-05-19T11:34:10.279" v="6439"/>
          <ac:graphicFrameMkLst>
            <pc:docMk/>
            <pc:sldMk cId="2828467743" sldId="2147480984"/>
            <ac:graphicFrameMk id="20" creationId="{E904A22F-5268-9622-0F07-22E20C7AC5BD}"/>
          </ac:graphicFrameMkLst>
        </pc:graphicFrameChg>
        <pc:picChg chg="del">
          <ac:chgData name="Gouldsbury, Brian" userId="38f05b2e-fac1-4f2f-9dd8-c5800f9e0066" providerId="ADAL" clId="{ABFD28E4-D12C-46D3-8241-101A03BAA84C}" dt="2023-05-19T11:31:54.891" v="6293" actId="478"/>
          <ac:picMkLst>
            <pc:docMk/>
            <pc:sldMk cId="2828467743" sldId="2147480984"/>
            <ac:picMk id="6" creationId="{328A0D33-D3C2-2256-9C93-45DEFD0A8E08}"/>
          </ac:picMkLst>
        </pc:picChg>
        <pc:picChg chg="mod ord">
          <ac:chgData name="Gouldsbury, Brian" userId="38f05b2e-fac1-4f2f-9dd8-c5800f9e0066" providerId="ADAL" clId="{ABFD28E4-D12C-46D3-8241-101A03BAA84C}" dt="2023-05-19T11:34:10.274" v="6419"/>
          <ac:picMkLst>
            <pc:docMk/>
            <pc:sldMk cId="2828467743" sldId="2147480984"/>
            <ac:picMk id="8" creationId="{076C5DF5-93CB-4041-F2DF-69A735BB89CF}"/>
          </ac:picMkLst>
        </pc:picChg>
        <pc:picChg chg="del">
          <ac:chgData name="Gouldsbury, Brian" userId="38f05b2e-fac1-4f2f-9dd8-c5800f9e0066" providerId="ADAL" clId="{ABFD28E4-D12C-46D3-8241-101A03BAA84C}" dt="2023-05-19T11:31:54.891" v="6293" actId="478"/>
          <ac:picMkLst>
            <pc:docMk/>
            <pc:sldMk cId="2828467743" sldId="2147480984"/>
            <ac:picMk id="15" creationId="{EBC4A324-1C24-9B87-1027-29E86835E750}"/>
          </ac:picMkLst>
        </pc:picChg>
        <pc:picChg chg="del">
          <ac:chgData name="Gouldsbury, Brian" userId="38f05b2e-fac1-4f2f-9dd8-c5800f9e0066" providerId="ADAL" clId="{ABFD28E4-D12C-46D3-8241-101A03BAA84C}" dt="2023-05-19T11:31:54.891" v="6293" actId="478"/>
          <ac:picMkLst>
            <pc:docMk/>
            <pc:sldMk cId="2828467743" sldId="2147480984"/>
            <ac:picMk id="16" creationId="{895CD704-448B-86A7-D7CF-80B00891C283}"/>
          </ac:picMkLst>
        </pc:picChg>
        <pc:picChg chg="del">
          <ac:chgData name="Gouldsbury, Brian" userId="38f05b2e-fac1-4f2f-9dd8-c5800f9e0066" providerId="ADAL" clId="{ABFD28E4-D12C-46D3-8241-101A03BAA84C}" dt="2023-05-19T11:31:54.891" v="6293" actId="478"/>
          <ac:picMkLst>
            <pc:docMk/>
            <pc:sldMk cId="2828467743" sldId="2147480984"/>
            <ac:picMk id="18" creationId="{4D9ADB78-044E-08F5-EB67-ADB45DEF7184}"/>
          </ac:picMkLst>
        </pc:picChg>
        <pc:picChg chg="del">
          <ac:chgData name="Gouldsbury, Brian" userId="38f05b2e-fac1-4f2f-9dd8-c5800f9e0066" providerId="ADAL" clId="{ABFD28E4-D12C-46D3-8241-101A03BAA84C}" dt="2023-05-19T11:31:54.891" v="6293" actId="478"/>
          <ac:picMkLst>
            <pc:docMk/>
            <pc:sldMk cId="2828467743" sldId="2147480984"/>
            <ac:picMk id="27" creationId="{471A2F89-D721-BC4C-BA45-9740534E2CDC}"/>
          </ac:picMkLst>
        </pc:picChg>
        <pc:picChg chg="del">
          <ac:chgData name="Gouldsbury, Brian" userId="38f05b2e-fac1-4f2f-9dd8-c5800f9e0066" providerId="ADAL" clId="{ABFD28E4-D12C-46D3-8241-101A03BAA84C}" dt="2023-05-19T11:31:54.891" v="6293" actId="478"/>
          <ac:picMkLst>
            <pc:docMk/>
            <pc:sldMk cId="2828467743" sldId="2147480984"/>
            <ac:picMk id="35" creationId="{4A6B1E86-6989-F388-E384-19A244341F2B}"/>
          </ac:picMkLst>
        </pc:picChg>
        <pc:picChg chg="del">
          <ac:chgData name="Gouldsbury, Brian" userId="38f05b2e-fac1-4f2f-9dd8-c5800f9e0066" providerId="ADAL" clId="{ABFD28E4-D12C-46D3-8241-101A03BAA84C}" dt="2023-05-19T11:31:54.891" v="6293" actId="478"/>
          <ac:picMkLst>
            <pc:docMk/>
            <pc:sldMk cId="2828467743" sldId="2147480984"/>
            <ac:picMk id="36" creationId="{185CD014-DB29-CFDC-4FC8-3EF1B3BB91E4}"/>
          </ac:picMkLst>
        </pc:picChg>
        <pc:picChg chg="del">
          <ac:chgData name="Gouldsbury, Brian" userId="38f05b2e-fac1-4f2f-9dd8-c5800f9e0066" providerId="ADAL" clId="{ABFD28E4-D12C-46D3-8241-101A03BAA84C}" dt="2023-05-19T11:31:54.891" v="6293" actId="478"/>
          <ac:picMkLst>
            <pc:docMk/>
            <pc:sldMk cId="2828467743" sldId="2147480984"/>
            <ac:picMk id="38" creationId="{328D8410-41D9-9189-FE91-006AC7F229A2}"/>
          </ac:picMkLst>
        </pc:picChg>
      </pc:sldChg>
      <pc:sldChg chg="add del modTransition">
        <pc:chgData name="Gouldsbury, Brian" userId="38f05b2e-fac1-4f2f-9dd8-c5800f9e0066" providerId="ADAL" clId="{ABFD28E4-D12C-46D3-8241-101A03BAA84C}" dt="2023-05-19T13:26:56.559" v="11405" actId="47"/>
        <pc:sldMkLst>
          <pc:docMk/>
          <pc:sldMk cId="1297716506" sldId="2147480985"/>
        </pc:sldMkLst>
      </pc:sldChg>
      <pc:sldChg chg="addSp delSp modSp add mod ord modTransition">
        <pc:chgData name="Gouldsbury, Brian" userId="38f05b2e-fac1-4f2f-9dd8-c5800f9e0066" providerId="ADAL" clId="{ABFD28E4-D12C-46D3-8241-101A03BAA84C}" dt="2023-05-22T16:41:54.292" v="14153" actId="1038"/>
        <pc:sldMkLst>
          <pc:docMk/>
          <pc:sldMk cId="1632941585" sldId="2147480986"/>
        </pc:sldMkLst>
        <pc:spChg chg="add del mod ord">
          <ac:chgData name="Gouldsbury, Brian" userId="38f05b2e-fac1-4f2f-9dd8-c5800f9e0066" providerId="ADAL" clId="{ABFD28E4-D12C-46D3-8241-101A03BAA84C}" dt="2023-05-22T09:39:27.811" v="13816" actId="948"/>
          <ac:spMkLst>
            <pc:docMk/>
            <pc:sldMk cId="1632941585" sldId="2147480986"/>
            <ac:spMk id="2" creationId="{6DE5E596-BDDD-D374-A717-32BFC395CAD9}"/>
          </ac:spMkLst>
        </pc:spChg>
        <pc:spChg chg="add mod ord">
          <ac:chgData name="Gouldsbury, Brian" userId="38f05b2e-fac1-4f2f-9dd8-c5800f9e0066" providerId="ADAL" clId="{ABFD28E4-D12C-46D3-8241-101A03BAA84C}" dt="2023-05-22T08:59:55.153" v="12374"/>
          <ac:spMkLst>
            <pc:docMk/>
            <pc:sldMk cId="1632941585" sldId="2147480986"/>
            <ac:spMk id="3" creationId="{5A5FC402-141E-21AF-0E01-EF3A9773A4BE}"/>
          </ac:spMkLst>
        </pc:spChg>
        <pc:spChg chg="add del mod">
          <ac:chgData name="Gouldsbury, Brian" userId="38f05b2e-fac1-4f2f-9dd8-c5800f9e0066" providerId="ADAL" clId="{ABFD28E4-D12C-46D3-8241-101A03BAA84C}" dt="2023-05-22T08:52:35.922" v="12037" actId="21"/>
          <ac:spMkLst>
            <pc:docMk/>
            <pc:sldMk cId="1632941585" sldId="2147480986"/>
            <ac:spMk id="5" creationId="{435840F6-2A2D-AE23-AFDF-84EADADC67C1}"/>
          </ac:spMkLst>
        </pc:spChg>
        <pc:spChg chg="del">
          <ac:chgData name="Gouldsbury, Brian" userId="38f05b2e-fac1-4f2f-9dd8-c5800f9e0066" providerId="ADAL" clId="{ABFD28E4-D12C-46D3-8241-101A03BAA84C}" dt="2023-05-19T11:24:36.064" v="6024" actId="478"/>
          <ac:spMkLst>
            <pc:docMk/>
            <pc:sldMk cId="1632941585" sldId="2147480986"/>
            <ac:spMk id="5" creationId="{478EBAAF-7C89-24C2-120A-3086C7C1B673}"/>
          </ac:spMkLst>
        </pc:spChg>
        <pc:spChg chg="add mod ord">
          <ac:chgData name="Gouldsbury, Brian" userId="38f05b2e-fac1-4f2f-9dd8-c5800f9e0066" providerId="ADAL" clId="{ABFD28E4-D12C-46D3-8241-101A03BAA84C}" dt="2023-05-22T08:59:55.152" v="12366"/>
          <ac:spMkLst>
            <pc:docMk/>
            <pc:sldMk cId="1632941585" sldId="2147480986"/>
            <ac:spMk id="6" creationId="{CB4BD29D-5A3F-4272-2AD8-B62C7DE24BFD}"/>
          </ac:spMkLst>
        </pc:spChg>
        <pc:spChg chg="add mod ord">
          <ac:chgData name="Gouldsbury, Brian" userId="38f05b2e-fac1-4f2f-9dd8-c5800f9e0066" providerId="ADAL" clId="{ABFD28E4-D12C-46D3-8241-101A03BAA84C}" dt="2023-05-22T08:59:55.158" v="12392"/>
          <ac:spMkLst>
            <pc:docMk/>
            <pc:sldMk cId="1632941585" sldId="2147480986"/>
            <ac:spMk id="8" creationId="{0EEAA9CE-A83A-B08F-4EA3-105FEF22CDA4}"/>
          </ac:spMkLst>
        </pc:spChg>
        <pc:spChg chg="add del mod modVis">
          <ac:chgData name="Gouldsbury, Brian" userId="38f05b2e-fac1-4f2f-9dd8-c5800f9e0066" providerId="ADAL" clId="{ABFD28E4-D12C-46D3-8241-101A03BAA84C}" dt="2023-05-22T08:59:55.160" v="12396"/>
          <ac:spMkLst>
            <pc:docMk/>
            <pc:sldMk cId="1632941585" sldId="2147480986"/>
            <ac:spMk id="9" creationId="{369EA159-04DA-3D58-80A8-6C26A4EADEEF}"/>
          </ac:spMkLst>
        </pc:spChg>
        <pc:spChg chg="del">
          <ac:chgData name="Gouldsbury, Brian" userId="38f05b2e-fac1-4f2f-9dd8-c5800f9e0066" providerId="ADAL" clId="{ABFD28E4-D12C-46D3-8241-101A03BAA84C}" dt="2023-05-19T11:24:36.064" v="6024" actId="478"/>
          <ac:spMkLst>
            <pc:docMk/>
            <pc:sldMk cId="1632941585" sldId="2147480986"/>
            <ac:spMk id="10" creationId="{5DE18FD2-3AFA-195E-40B4-5BC551555F9A}"/>
          </ac:spMkLst>
        </pc:spChg>
        <pc:spChg chg="add del mod modVis">
          <ac:chgData name="Gouldsbury, Brian" userId="38f05b2e-fac1-4f2f-9dd8-c5800f9e0066" providerId="ADAL" clId="{ABFD28E4-D12C-46D3-8241-101A03BAA84C}" dt="2023-05-22T09:38:59.537" v="13399"/>
          <ac:spMkLst>
            <pc:docMk/>
            <pc:sldMk cId="1632941585" sldId="2147480986"/>
            <ac:spMk id="11" creationId="{3D7902E4-633F-8E9E-6638-96E203D4035F}"/>
          </ac:spMkLst>
        </pc:spChg>
        <pc:spChg chg="del">
          <ac:chgData name="Gouldsbury, Brian" userId="38f05b2e-fac1-4f2f-9dd8-c5800f9e0066" providerId="ADAL" clId="{ABFD28E4-D12C-46D3-8241-101A03BAA84C}" dt="2023-05-19T11:24:36.064" v="6024" actId="478"/>
          <ac:spMkLst>
            <pc:docMk/>
            <pc:sldMk cId="1632941585" sldId="2147480986"/>
            <ac:spMk id="11" creationId="{BD40E38B-A7FA-3E98-E697-6A0653162645}"/>
          </ac:spMkLst>
        </pc:spChg>
        <pc:spChg chg="add del mod modVis">
          <ac:chgData name="Gouldsbury, Brian" userId="38f05b2e-fac1-4f2f-9dd8-c5800f9e0066" providerId="ADAL" clId="{ABFD28E4-D12C-46D3-8241-101A03BAA84C}" dt="2023-05-22T09:39:02.685" v="13461"/>
          <ac:spMkLst>
            <pc:docMk/>
            <pc:sldMk cId="1632941585" sldId="2147480986"/>
            <ac:spMk id="12" creationId="{43697C45-E27C-0D84-F9A6-5796BB1058F3}"/>
          </ac:spMkLst>
        </pc:spChg>
        <pc:spChg chg="del">
          <ac:chgData name="Gouldsbury, Brian" userId="38f05b2e-fac1-4f2f-9dd8-c5800f9e0066" providerId="ADAL" clId="{ABFD28E4-D12C-46D3-8241-101A03BAA84C}" dt="2023-05-19T11:24:36.064" v="6024" actId="478"/>
          <ac:spMkLst>
            <pc:docMk/>
            <pc:sldMk cId="1632941585" sldId="2147480986"/>
            <ac:spMk id="12" creationId="{D0B855CF-05C5-4BC3-8D11-0B6B65774367}"/>
          </ac:spMkLst>
        </pc:spChg>
        <pc:spChg chg="add del mod modVis">
          <ac:chgData name="Gouldsbury, Brian" userId="38f05b2e-fac1-4f2f-9dd8-c5800f9e0066" providerId="ADAL" clId="{ABFD28E4-D12C-46D3-8241-101A03BAA84C}" dt="2023-05-22T09:39:03.235" v="13507"/>
          <ac:spMkLst>
            <pc:docMk/>
            <pc:sldMk cId="1632941585" sldId="2147480986"/>
            <ac:spMk id="13" creationId="{564E6CEC-F549-395C-AD4B-6ED28A6D1D97}"/>
          </ac:spMkLst>
        </pc:spChg>
        <pc:spChg chg="del">
          <ac:chgData name="Gouldsbury, Brian" userId="38f05b2e-fac1-4f2f-9dd8-c5800f9e0066" providerId="ADAL" clId="{ABFD28E4-D12C-46D3-8241-101A03BAA84C}" dt="2023-05-19T11:24:36.064" v="6024" actId="478"/>
          <ac:spMkLst>
            <pc:docMk/>
            <pc:sldMk cId="1632941585" sldId="2147480986"/>
            <ac:spMk id="14" creationId="{255B88D6-7AAA-2ECF-0754-796363886269}"/>
          </ac:spMkLst>
        </pc:spChg>
        <pc:spChg chg="add del mod modVis">
          <ac:chgData name="Gouldsbury, Brian" userId="38f05b2e-fac1-4f2f-9dd8-c5800f9e0066" providerId="ADAL" clId="{ABFD28E4-D12C-46D3-8241-101A03BAA84C}" dt="2023-05-22T09:39:04.855" v="13552"/>
          <ac:spMkLst>
            <pc:docMk/>
            <pc:sldMk cId="1632941585" sldId="2147480986"/>
            <ac:spMk id="14" creationId="{39058276-D13A-D08D-B04A-765827C1D0F1}"/>
          </ac:spMkLst>
        </pc:spChg>
        <pc:spChg chg="del">
          <ac:chgData name="Gouldsbury, Brian" userId="38f05b2e-fac1-4f2f-9dd8-c5800f9e0066" providerId="ADAL" clId="{ABFD28E4-D12C-46D3-8241-101A03BAA84C}" dt="2023-05-19T11:24:36.064" v="6024" actId="478"/>
          <ac:spMkLst>
            <pc:docMk/>
            <pc:sldMk cId="1632941585" sldId="2147480986"/>
            <ac:spMk id="15" creationId="{4A319111-48F1-0D7B-605A-3D689FA72EC5}"/>
          </ac:spMkLst>
        </pc:spChg>
        <pc:spChg chg="add del mod modVis">
          <ac:chgData name="Gouldsbury, Brian" userId="38f05b2e-fac1-4f2f-9dd8-c5800f9e0066" providerId="ADAL" clId="{ABFD28E4-D12C-46D3-8241-101A03BAA84C}" dt="2023-05-22T09:39:09.361" v="13605"/>
          <ac:spMkLst>
            <pc:docMk/>
            <pc:sldMk cId="1632941585" sldId="2147480986"/>
            <ac:spMk id="15" creationId="{C413240F-AC3E-7DCD-E055-478E61338490}"/>
          </ac:spMkLst>
        </pc:spChg>
        <pc:spChg chg="add del mod modVis">
          <ac:chgData name="Gouldsbury, Brian" userId="38f05b2e-fac1-4f2f-9dd8-c5800f9e0066" providerId="ADAL" clId="{ABFD28E4-D12C-46D3-8241-101A03BAA84C}" dt="2023-05-22T09:39:14.933" v="13678"/>
          <ac:spMkLst>
            <pc:docMk/>
            <pc:sldMk cId="1632941585" sldId="2147480986"/>
            <ac:spMk id="16" creationId="{DC57E6E7-0DCC-748E-CDFD-D6878CC944AF}"/>
          </ac:spMkLst>
        </pc:spChg>
        <pc:spChg chg="del">
          <ac:chgData name="Gouldsbury, Brian" userId="38f05b2e-fac1-4f2f-9dd8-c5800f9e0066" providerId="ADAL" clId="{ABFD28E4-D12C-46D3-8241-101A03BAA84C}" dt="2023-05-19T11:24:36.064" v="6024" actId="478"/>
          <ac:spMkLst>
            <pc:docMk/>
            <pc:sldMk cId="1632941585" sldId="2147480986"/>
            <ac:spMk id="17" creationId="{57979B63-A042-F6A7-5AD5-4106971ED54F}"/>
          </ac:spMkLst>
        </pc:spChg>
        <pc:spChg chg="add del mod modVis">
          <ac:chgData name="Gouldsbury, Brian" userId="38f05b2e-fac1-4f2f-9dd8-c5800f9e0066" providerId="ADAL" clId="{ABFD28E4-D12C-46D3-8241-101A03BAA84C}" dt="2023-05-22T09:39:19.026" v="13723"/>
          <ac:spMkLst>
            <pc:docMk/>
            <pc:sldMk cId="1632941585" sldId="2147480986"/>
            <ac:spMk id="17" creationId="{6A5A2477-9C89-A597-4915-624F8CB5EB17}"/>
          </ac:spMkLst>
        </pc:spChg>
        <pc:spChg chg="del">
          <ac:chgData name="Gouldsbury, Brian" userId="38f05b2e-fac1-4f2f-9dd8-c5800f9e0066" providerId="ADAL" clId="{ABFD28E4-D12C-46D3-8241-101A03BAA84C}" dt="2023-05-19T11:24:36.064" v="6024" actId="478"/>
          <ac:spMkLst>
            <pc:docMk/>
            <pc:sldMk cId="1632941585" sldId="2147480986"/>
            <ac:spMk id="18" creationId="{2559A78D-F0B2-7F59-0CEF-1120892616BB}"/>
          </ac:spMkLst>
        </pc:spChg>
        <pc:spChg chg="add del mod modVis">
          <ac:chgData name="Gouldsbury, Brian" userId="38f05b2e-fac1-4f2f-9dd8-c5800f9e0066" providerId="ADAL" clId="{ABFD28E4-D12C-46D3-8241-101A03BAA84C}" dt="2023-05-22T09:39:22.238" v="13768"/>
          <ac:spMkLst>
            <pc:docMk/>
            <pc:sldMk cId="1632941585" sldId="2147480986"/>
            <ac:spMk id="18" creationId="{DFEE627E-FC9D-4B6D-A2E1-149D18DE97FD}"/>
          </ac:spMkLst>
        </pc:spChg>
        <pc:spChg chg="add del mod modVis">
          <ac:chgData name="Gouldsbury, Brian" userId="38f05b2e-fac1-4f2f-9dd8-c5800f9e0066" providerId="ADAL" clId="{ABFD28E4-D12C-46D3-8241-101A03BAA84C}" dt="2023-05-22T09:39:27.296" v="13813"/>
          <ac:spMkLst>
            <pc:docMk/>
            <pc:sldMk cId="1632941585" sldId="2147480986"/>
            <ac:spMk id="19" creationId="{35DD3253-7B54-DDA9-8369-A2B795531479}"/>
          </ac:spMkLst>
        </pc:spChg>
        <pc:spChg chg="del">
          <ac:chgData name="Gouldsbury, Brian" userId="38f05b2e-fac1-4f2f-9dd8-c5800f9e0066" providerId="ADAL" clId="{ABFD28E4-D12C-46D3-8241-101A03BAA84C}" dt="2023-05-19T11:24:36.064" v="6024" actId="478"/>
          <ac:spMkLst>
            <pc:docMk/>
            <pc:sldMk cId="1632941585" sldId="2147480986"/>
            <ac:spMk id="23" creationId="{E2345932-1A6C-E8CC-FA55-2A03DCCF7053}"/>
          </ac:spMkLst>
        </pc:spChg>
        <pc:spChg chg="del">
          <ac:chgData name="Gouldsbury, Brian" userId="38f05b2e-fac1-4f2f-9dd8-c5800f9e0066" providerId="ADAL" clId="{ABFD28E4-D12C-46D3-8241-101A03BAA84C}" dt="2023-05-19T11:24:36.064" v="6024" actId="478"/>
          <ac:spMkLst>
            <pc:docMk/>
            <pc:sldMk cId="1632941585" sldId="2147480986"/>
            <ac:spMk id="24" creationId="{66B41460-ED54-C127-3CD5-9F7B0D74E1FE}"/>
          </ac:spMkLst>
        </pc:spChg>
        <pc:spChg chg="add mod ord">
          <ac:chgData name="Gouldsbury, Brian" userId="38f05b2e-fac1-4f2f-9dd8-c5800f9e0066" providerId="ADAL" clId="{ABFD28E4-D12C-46D3-8241-101A03BAA84C}" dt="2023-05-22T08:44:25.239" v="11565" actId="1035"/>
          <ac:spMkLst>
            <pc:docMk/>
            <pc:sldMk cId="1632941585" sldId="2147480986"/>
            <ac:spMk id="26" creationId="{433BCB90-B037-093D-B8EF-EE19A49EE677}"/>
          </ac:spMkLst>
        </pc:spChg>
        <pc:spChg chg="add mod ord">
          <ac:chgData name="Gouldsbury, Brian" userId="38f05b2e-fac1-4f2f-9dd8-c5800f9e0066" providerId="ADAL" clId="{ABFD28E4-D12C-46D3-8241-101A03BAA84C}" dt="2023-05-22T08:44:25.239" v="11565" actId="1035"/>
          <ac:spMkLst>
            <pc:docMk/>
            <pc:sldMk cId="1632941585" sldId="2147480986"/>
            <ac:spMk id="28" creationId="{E9E870EB-B46E-A6C6-DFBC-65E16670B897}"/>
          </ac:spMkLst>
        </pc:spChg>
        <pc:spChg chg="del">
          <ac:chgData name="Gouldsbury, Brian" userId="38f05b2e-fac1-4f2f-9dd8-c5800f9e0066" providerId="ADAL" clId="{ABFD28E4-D12C-46D3-8241-101A03BAA84C}" dt="2023-05-19T11:24:36.064" v="6024" actId="478"/>
          <ac:spMkLst>
            <pc:docMk/>
            <pc:sldMk cId="1632941585" sldId="2147480986"/>
            <ac:spMk id="29" creationId="{02E75FCE-53E7-944F-D75F-D1ED4EFBD693}"/>
          </ac:spMkLst>
        </pc:spChg>
        <pc:spChg chg="add mod ord">
          <ac:chgData name="Gouldsbury, Brian" userId="38f05b2e-fac1-4f2f-9dd8-c5800f9e0066" providerId="ADAL" clId="{ABFD28E4-D12C-46D3-8241-101A03BAA84C}" dt="2023-05-22T16:41:54.292" v="14153" actId="1038"/>
          <ac:spMkLst>
            <pc:docMk/>
            <pc:sldMk cId="1632941585" sldId="2147480986"/>
            <ac:spMk id="32" creationId="{C5D8DD02-DA8B-B0F0-2C52-DA682359DC71}"/>
          </ac:spMkLst>
        </pc:spChg>
        <pc:spChg chg="add mod ord">
          <ac:chgData name="Gouldsbury, Brian" userId="38f05b2e-fac1-4f2f-9dd8-c5800f9e0066" providerId="ADAL" clId="{ABFD28E4-D12C-46D3-8241-101A03BAA84C}" dt="2023-05-22T16:41:54.292" v="14153" actId="1038"/>
          <ac:spMkLst>
            <pc:docMk/>
            <pc:sldMk cId="1632941585" sldId="2147480986"/>
            <ac:spMk id="33" creationId="{AE7C086F-E0C4-9D4B-1FA6-CAB7CCD16A08}"/>
          </ac:spMkLst>
        </pc:spChg>
        <pc:spChg chg="add del mod modVis">
          <ac:chgData name="Gouldsbury, Brian" userId="38f05b2e-fac1-4f2f-9dd8-c5800f9e0066" providerId="ADAL" clId="{ABFD28E4-D12C-46D3-8241-101A03BAA84C}" dt="2023-05-19T11:46:55.383" v="6901"/>
          <ac:spMkLst>
            <pc:docMk/>
            <pc:sldMk cId="1632941585" sldId="2147480986"/>
            <ac:spMk id="34" creationId="{93C35FE3-5D1F-30C7-6683-DFE1A5B09BDE}"/>
          </ac:spMkLst>
        </pc:spChg>
        <pc:spChg chg="add mod ord topLvl">
          <ac:chgData name="Gouldsbury, Brian" userId="38f05b2e-fac1-4f2f-9dd8-c5800f9e0066" providerId="ADAL" clId="{ABFD28E4-D12C-46D3-8241-101A03BAA84C}" dt="2023-05-22T08:59:55.155" v="12378"/>
          <ac:spMkLst>
            <pc:docMk/>
            <pc:sldMk cId="1632941585" sldId="2147480986"/>
            <ac:spMk id="35" creationId="{EFABE2CE-C38E-3D9E-81D7-1A8AB92C6AC2}"/>
          </ac:spMkLst>
        </pc:spChg>
        <pc:spChg chg="add mod topLvl">
          <ac:chgData name="Gouldsbury, Brian" userId="38f05b2e-fac1-4f2f-9dd8-c5800f9e0066" providerId="ADAL" clId="{ABFD28E4-D12C-46D3-8241-101A03BAA84C}" dt="2023-05-19T13:08:33.262" v="10755" actId="1036"/>
          <ac:spMkLst>
            <pc:docMk/>
            <pc:sldMk cId="1632941585" sldId="2147480986"/>
            <ac:spMk id="36" creationId="{1E3E4511-91FE-AC33-4B16-727E5B6643AE}"/>
          </ac:spMkLst>
        </pc:spChg>
        <pc:spChg chg="del">
          <ac:chgData name="Gouldsbury, Brian" userId="38f05b2e-fac1-4f2f-9dd8-c5800f9e0066" providerId="ADAL" clId="{ABFD28E4-D12C-46D3-8241-101A03BAA84C}" dt="2023-05-19T11:24:36.064" v="6024" actId="478"/>
          <ac:spMkLst>
            <pc:docMk/>
            <pc:sldMk cId="1632941585" sldId="2147480986"/>
            <ac:spMk id="41" creationId="{C541E2F4-909E-2396-DB8A-D9CE32EA6CEC}"/>
          </ac:spMkLst>
        </pc:spChg>
        <pc:spChg chg="add mod topLvl">
          <ac:chgData name="Gouldsbury, Brian" userId="38f05b2e-fac1-4f2f-9dd8-c5800f9e0066" providerId="ADAL" clId="{ABFD28E4-D12C-46D3-8241-101A03BAA84C}" dt="2023-05-19T13:08:33.262" v="10755" actId="1036"/>
          <ac:spMkLst>
            <pc:docMk/>
            <pc:sldMk cId="1632941585" sldId="2147480986"/>
            <ac:spMk id="43" creationId="{DCE89A60-3FF8-439A-C19D-377B9730F4E6}"/>
          </ac:spMkLst>
        </pc:spChg>
        <pc:spChg chg="add mod topLvl">
          <ac:chgData name="Gouldsbury, Brian" userId="38f05b2e-fac1-4f2f-9dd8-c5800f9e0066" providerId="ADAL" clId="{ABFD28E4-D12C-46D3-8241-101A03BAA84C}" dt="2023-05-19T13:08:33.262" v="10755" actId="1036"/>
          <ac:spMkLst>
            <pc:docMk/>
            <pc:sldMk cId="1632941585" sldId="2147480986"/>
            <ac:spMk id="71" creationId="{6D5EF4AD-FD17-C550-A5AB-1E22095A9766}"/>
          </ac:spMkLst>
        </pc:spChg>
        <pc:spChg chg="add mod ord topLvl">
          <ac:chgData name="Gouldsbury, Brian" userId="38f05b2e-fac1-4f2f-9dd8-c5800f9e0066" providerId="ADAL" clId="{ABFD28E4-D12C-46D3-8241-101A03BAA84C}" dt="2023-05-22T08:59:55.155" v="12381"/>
          <ac:spMkLst>
            <pc:docMk/>
            <pc:sldMk cId="1632941585" sldId="2147480986"/>
            <ac:spMk id="72" creationId="{0148702A-04C8-F9EF-66E4-96017883D27F}"/>
          </ac:spMkLst>
        </pc:spChg>
        <pc:spChg chg="add del mod ord topLvl">
          <ac:chgData name="Gouldsbury, Brian" userId="38f05b2e-fac1-4f2f-9dd8-c5800f9e0066" providerId="ADAL" clId="{ABFD28E4-D12C-46D3-8241-101A03BAA84C}" dt="2023-05-22T08:56:04.211" v="12082" actId="478"/>
          <ac:spMkLst>
            <pc:docMk/>
            <pc:sldMk cId="1632941585" sldId="2147480986"/>
            <ac:spMk id="78" creationId="{AB176E6A-7BE4-1B17-5E83-9C904FC9C5D8}"/>
          </ac:spMkLst>
        </pc:spChg>
        <pc:spChg chg="add del mod modVis">
          <ac:chgData name="Gouldsbury, Brian" userId="38f05b2e-fac1-4f2f-9dd8-c5800f9e0066" providerId="ADAL" clId="{ABFD28E4-D12C-46D3-8241-101A03BAA84C}" dt="2023-05-19T11:55:37.811" v="7392"/>
          <ac:spMkLst>
            <pc:docMk/>
            <pc:sldMk cId="1632941585" sldId="2147480986"/>
            <ac:spMk id="79" creationId="{DD14A29C-5AE9-0E50-903C-C21EF84EB68D}"/>
          </ac:spMkLst>
        </pc:spChg>
        <pc:spChg chg="add del mod modVis">
          <ac:chgData name="Gouldsbury, Brian" userId="38f05b2e-fac1-4f2f-9dd8-c5800f9e0066" providerId="ADAL" clId="{ABFD28E4-D12C-46D3-8241-101A03BAA84C}" dt="2023-05-19T11:55:38.817" v="7437"/>
          <ac:spMkLst>
            <pc:docMk/>
            <pc:sldMk cId="1632941585" sldId="2147480986"/>
            <ac:spMk id="80" creationId="{1E320650-14D8-09C9-BCE6-B989E24FD7DE}"/>
          </ac:spMkLst>
        </pc:spChg>
        <pc:spChg chg="add del mod modVis">
          <ac:chgData name="Gouldsbury, Brian" userId="38f05b2e-fac1-4f2f-9dd8-c5800f9e0066" providerId="ADAL" clId="{ABFD28E4-D12C-46D3-8241-101A03BAA84C}" dt="2023-05-19T11:55:43.767" v="7508"/>
          <ac:spMkLst>
            <pc:docMk/>
            <pc:sldMk cId="1632941585" sldId="2147480986"/>
            <ac:spMk id="81" creationId="{22323562-7B62-E8CB-F7C2-D8132A7616EE}"/>
          </ac:spMkLst>
        </pc:spChg>
        <pc:spChg chg="add del mod modVis">
          <ac:chgData name="Gouldsbury, Brian" userId="38f05b2e-fac1-4f2f-9dd8-c5800f9e0066" providerId="ADAL" clId="{ABFD28E4-D12C-46D3-8241-101A03BAA84C}" dt="2023-05-19T11:56:10.808" v="7553"/>
          <ac:spMkLst>
            <pc:docMk/>
            <pc:sldMk cId="1632941585" sldId="2147480986"/>
            <ac:spMk id="82" creationId="{F8EABF53-3335-7671-AAF7-69B7FEEB40A9}"/>
          </ac:spMkLst>
        </pc:spChg>
        <pc:spChg chg="add del mod modVis">
          <ac:chgData name="Gouldsbury, Brian" userId="38f05b2e-fac1-4f2f-9dd8-c5800f9e0066" providerId="ADAL" clId="{ABFD28E4-D12C-46D3-8241-101A03BAA84C}" dt="2023-05-19T11:56:14.014" v="7611"/>
          <ac:spMkLst>
            <pc:docMk/>
            <pc:sldMk cId="1632941585" sldId="2147480986"/>
            <ac:spMk id="83" creationId="{82196231-EA78-67DD-931F-A07DE4F4B229}"/>
          </ac:spMkLst>
        </pc:spChg>
        <pc:spChg chg="add del mod modVis">
          <ac:chgData name="Gouldsbury, Brian" userId="38f05b2e-fac1-4f2f-9dd8-c5800f9e0066" providerId="ADAL" clId="{ABFD28E4-D12C-46D3-8241-101A03BAA84C}" dt="2023-05-19T11:56:17.550" v="7684"/>
          <ac:spMkLst>
            <pc:docMk/>
            <pc:sldMk cId="1632941585" sldId="2147480986"/>
            <ac:spMk id="84" creationId="{BE7AE63B-8360-F838-6AA7-0ADA6C9818F5}"/>
          </ac:spMkLst>
        </pc:spChg>
        <pc:spChg chg="add del mod">
          <ac:chgData name="Gouldsbury, Brian" userId="38f05b2e-fac1-4f2f-9dd8-c5800f9e0066" providerId="ADAL" clId="{ABFD28E4-D12C-46D3-8241-101A03BAA84C}" dt="2023-05-19T11:57:13.236" v="7741" actId="478"/>
          <ac:spMkLst>
            <pc:docMk/>
            <pc:sldMk cId="1632941585" sldId="2147480986"/>
            <ac:spMk id="85" creationId="{1F9D9EA8-B410-CAFD-766F-9E57A6454BA8}"/>
          </ac:spMkLst>
        </pc:spChg>
        <pc:spChg chg="add mod ord">
          <ac:chgData name="Gouldsbury, Brian" userId="38f05b2e-fac1-4f2f-9dd8-c5800f9e0066" providerId="ADAL" clId="{ABFD28E4-D12C-46D3-8241-101A03BAA84C}" dt="2023-05-22T08:59:55.157" v="12383"/>
          <ac:spMkLst>
            <pc:docMk/>
            <pc:sldMk cId="1632941585" sldId="2147480986"/>
            <ac:spMk id="86" creationId="{334CD500-0906-0368-E25A-0974E2E0806A}"/>
          </ac:spMkLst>
        </pc:spChg>
        <pc:spChg chg="add mod ord topLvl">
          <ac:chgData name="Gouldsbury, Brian" userId="38f05b2e-fac1-4f2f-9dd8-c5800f9e0066" providerId="ADAL" clId="{ABFD28E4-D12C-46D3-8241-101A03BAA84C}" dt="2023-05-22T09:38:48.084" v="13323" actId="20577"/>
          <ac:spMkLst>
            <pc:docMk/>
            <pc:sldMk cId="1632941585" sldId="2147480986"/>
            <ac:spMk id="87" creationId="{C122C785-83DF-440F-CF11-481A059DD924}"/>
          </ac:spMkLst>
        </pc:spChg>
        <pc:spChg chg="add mod ord">
          <ac:chgData name="Gouldsbury, Brian" userId="38f05b2e-fac1-4f2f-9dd8-c5800f9e0066" providerId="ADAL" clId="{ABFD28E4-D12C-46D3-8241-101A03BAA84C}" dt="2023-05-22T09:00:18.598" v="12400" actId="14100"/>
          <ac:spMkLst>
            <pc:docMk/>
            <pc:sldMk cId="1632941585" sldId="2147480986"/>
            <ac:spMk id="89" creationId="{7FF49C1B-EFAF-523D-3FD2-D6BEEF43D456}"/>
          </ac:spMkLst>
        </pc:spChg>
        <pc:spChg chg="add mod ord">
          <ac:chgData name="Gouldsbury, Brian" userId="38f05b2e-fac1-4f2f-9dd8-c5800f9e0066" providerId="ADAL" clId="{ABFD28E4-D12C-46D3-8241-101A03BAA84C}" dt="2023-05-22T09:00:25.563" v="12401" actId="14100"/>
          <ac:spMkLst>
            <pc:docMk/>
            <pc:sldMk cId="1632941585" sldId="2147480986"/>
            <ac:spMk id="90" creationId="{C2BEE1E7-5203-5333-1B1B-41DF45C8445A}"/>
          </ac:spMkLst>
        </pc:spChg>
        <pc:spChg chg="add mod ord">
          <ac:chgData name="Gouldsbury, Brian" userId="38f05b2e-fac1-4f2f-9dd8-c5800f9e0066" providerId="ADAL" clId="{ABFD28E4-D12C-46D3-8241-101A03BAA84C}" dt="2023-05-22T08:59:55.157" v="12387"/>
          <ac:spMkLst>
            <pc:docMk/>
            <pc:sldMk cId="1632941585" sldId="2147480986"/>
            <ac:spMk id="91" creationId="{0E1D1DD1-BB10-209F-15A9-A8DC3CC00424}"/>
          </ac:spMkLst>
        </pc:spChg>
        <pc:spChg chg="add del mod modVis">
          <ac:chgData name="Gouldsbury, Brian" userId="38f05b2e-fac1-4f2f-9dd8-c5800f9e0066" providerId="ADAL" clId="{ABFD28E4-D12C-46D3-8241-101A03BAA84C}" dt="2023-05-19T12:37:05.727" v="8568"/>
          <ac:spMkLst>
            <pc:docMk/>
            <pc:sldMk cId="1632941585" sldId="2147480986"/>
            <ac:spMk id="92" creationId="{095C7FF5-01A0-5C01-C6CF-31AB357F75B0}"/>
          </ac:spMkLst>
        </pc:spChg>
        <pc:spChg chg="add del mod modVis">
          <ac:chgData name="Gouldsbury, Brian" userId="38f05b2e-fac1-4f2f-9dd8-c5800f9e0066" providerId="ADAL" clId="{ABFD28E4-D12C-46D3-8241-101A03BAA84C}" dt="2023-05-19T12:37:13.534" v="8613"/>
          <ac:spMkLst>
            <pc:docMk/>
            <pc:sldMk cId="1632941585" sldId="2147480986"/>
            <ac:spMk id="93" creationId="{EC6ABF1C-948B-D85B-D771-A81C34C1B169}"/>
          </ac:spMkLst>
        </pc:spChg>
        <pc:spChg chg="add del mod modVis">
          <ac:chgData name="Gouldsbury, Brian" userId="38f05b2e-fac1-4f2f-9dd8-c5800f9e0066" providerId="ADAL" clId="{ABFD28E4-D12C-46D3-8241-101A03BAA84C}" dt="2023-05-19T12:43:27.238" v="8734"/>
          <ac:spMkLst>
            <pc:docMk/>
            <pc:sldMk cId="1632941585" sldId="2147480986"/>
            <ac:spMk id="94" creationId="{09F8B70C-9D5B-8556-674F-5E7AA0ED2EAB}"/>
          </ac:spMkLst>
        </pc:spChg>
        <pc:spChg chg="add del mod modVis">
          <ac:chgData name="Gouldsbury, Brian" userId="38f05b2e-fac1-4f2f-9dd8-c5800f9e0066" providerId="ADAL" clId="{ABFD28E4-D12C-46D3-8241-101A03BAA84C}" dt="2023-05-19T12:43:28.173" v="8781"/>
          <ac:spMkLst>
            <pc:docMk/>
            <pc:sldMk cId="1632941585" sldId="2147480986"/>
            <ac:spMk id="95" creationId="{2CD04A1E-BB6C-D7FB-BC84-57121DE34328}"/>
          </ac:spMkLst>
        </pc:spChg>
        <pc:spChg chg="add del mod modVis">
          <ac:chgData name="Gouldsbury, Brian" userId="38f05b2e-fac1-4f2f-9dd8-c5800f9e0066" providerId="ADAL" clId="{ABFD28E4-D12C-46D3-8241-101A03BAA84C}" dt="2023-05-19T12:43:29.692" v="8828"/>
          <ac:spMkLst>
            <pc:docMk/>
            <pc:sldMk cId="1632941585" sldId="2147480986"/>
            <ac:spMk id="96" creationId="{182C59E6-8756-02E6-DE92-4DD6FA6F3190}"/>
          </ac:spMkLst>
        </pc:spChg>
        <pc:spChg chg="add del mod modVis">
          <ac:chgData name="Gouldsbury, Brian" userId="38f05b2e-fac1-4f2f-9dd8-c5800f9e0066" providerId="ADAL" clId="{ABFD28E4-D12C-46D3-8241-101A03BAA84C}" dt="2023-05-19T12:43:31.311" v="8875"/>
          <ac:spMkLst>
            <pc:docMk/>
            <pc:sldMk cId="1632941585" sldId="2147480986"/>
            <ac:spMk id="97" creationId="{C983858F-2870-DD14-EC58-6175618D8558}"/>
          </ac:spMkLst>
        </pc:spChg>
        <pc:spChg chg="add del mod modVis">
          <ac:chgData name="Gouldsbury, Brian" userId="38f05b2e-fac1-4f2f-9dd8-c5800f9e0066" providerId="ADAL" clId="{ABFD28E4-D12C-46D3-8241-101A03BAA84C}" dt="2023-05-19T12:43:33.279" v="8920"/>
          <ac:spMkLst>
            <pc:docMk/>
            <pc:sldMk cId="1632941585" sldId="2147480986"/>
            <ac:spMk id="98" creationId="{E983634B-29B1-BB91-93C0-049F75FCF15F}"/>
          </ac:spMkLst>
        </pc:spChg>
        <pc:spChg chg="add del mod modVis">
          <ac:chgData name="Gouldsbury, Brian" userId="38f05b2e-fac1-4f2f-9dd8-c5800f9e0066" providerId="ADAL" clId="{ABFD28E4-D12C-46D3-8241-101A03BAA84C}" dt="2023-05-19T12:43:36.496" v="8965"/>
          <ac:spMkLst>
            <pc:docMk/>
            <pc:sldMk cId="1632941585" sldId="2147480986"/>
            <ac:spMk id="99" creationId="{AEB841D1-0998-6C7C-E789-2D656623A0BF}"/>
          </ac:spMkLst>
        </pc:spChg>
        <pc:spChg chg="add del mod modVis">
          <ac:chgData name="Gouldsbury, Brian" userId="38f05b2e-fac1-4f2f-9dd8-c5800f9e0066" providerId="ADAL" clId="{ABFD28E4-D12C-46D3-8241-101A03BAA84C}" dt="2023-05-19T12:43:38.967" v="9020"/>
          <ac:spMkLst>
            <pc:docMk/>
            <pc:sldMk cId="1632941585" sldId="2147480986"/>
            <ac:spMk id="100" creationId="{E9E09FD3-9EB8-7E2E-A892-4FFE557D2136}"/>
          </ac:spMkLst>
        </pc:spChg>
        <pc:spChg chg="add del mod modVis">
          <ac:chgData name="Gouldsbury, Brian" userId="38f05b2e-fac1-4f2f-9dd8-c5800f9e0066" providerId="ADAL" clId="{ABFD28E4-D12C-46D3-8241-101A03BAA84C}" dt="2023-05-19T12:43:39.472" v="9066"/>
          <ac:spMkLst>
            <pc:docMk/>
            <pc:sldMk cId="1632941585" sldId="2147480986"/>
            <ac:spMk id="101" creationId="{7D4E1232-775F-4C18-432D-F663B07667E3}"/>
          </ac:spMkLst>
        </pc:spChg>
        <pc:spChg chg="add del mod modVis">
          <ac:chgData name="Gouldsbury, Brian" userId="38f05b2e-fac1-4f2f-9dd8-c5800f9e0066" providerId="ADAL" clId="{ABFD28E4-D12C-46D3-8241-101A03BAA84C}" dt="2023-05-19T12:43:42.554" v="9134"/>
          <ac:spMkLst>
            <pc:docMk/>
            <pc:sldMk cId="1632941585" sldId="2147480986"/>
            <ac:spMk id="102" creationId="{867674A0-02B5-505B-56B6-C94242575D1D}"/>
          </ac:spMkLst>
        </pc:spChg>
        <pc:spChg chg="add del mod modVis">
          <ac:chgData name="Gouldsbury, Brian" userId="38f05b2e-fac1-4f2f-9dd8-c5800f9e0066" providerId="ADAL" clId="{ABFD28E4-D12C-46D3-8241-101A03BAA84C}" dt="2023-05-19T12:43:43.921" v="9179"/>
          <ac:spMkLst>
            <pc:docMk/>
            <pc:sldMk cId="1632941585" sldId="2147480986"/>
            <ac:spMk id="103" creationId="{F6040EB5-9DED-E6C7-3D7B-7FF49B80B827}"/>
          </ac:spMkLst>
        </pc:spChg>
        <pc:spChg chg="add del mod modVis">
          <ac:chgData name="Gouldsbury, Brian" userId="38f05b2e-fac1-4f2f-9dd8-c5800f9e0066" providerId="ADAL" clId="{ABFD28E4-D12C-46D3-8241-101A03BAA84C}" dt="2023-05-19T12:43:44.705" v="9226"/>
          <ac:spMkLst>
            <pc:docMk/>
            <pc:sldMk cId="1632941585" sldId="2147480986"/>
            <ac:spMk id="104" creationId="{D45E0B3F-9963-003D-C27A-61A27303CBB0}"/>
          </ac:spMkLst>
        </pc:spChg>
        <pc:spChg chg="add del mod modVis">
          <ac:chgData name="Gouldsbury, Brian" userId="38f05b2e-fac1-4f2f-9dd8-c5800f9e0066" providerId="ADAL" clId="{ABFD28E4-D12C-46D3-8241-101A03BAA84C}" dt="2023-05-19T12:43:46.259" v="9276"/>
          <ac:spMkLst>
            <pc:docMk/>
            <pc:sldMk cId="1632941585" sldId="2147480986"/>
            <ac:spMk id="105" creationId="{F023CDFC-DE65-C586-9B45-A903280DDCA6}"/>
          </ac:spMkLst>
        </pc:spChg>
        <pc:spChg chg="add del mod modVis">
          <ac:chgData name="Gouldsbury, Brian" userId="38f05b2e-fac1-4f2f-9dd8-c5800f9e0066" providerId="ADAL" clId="{ABFD28E4-D12C-46D3-8241-101A03BAA84C}" dt="2023-05-19T12:43:46.921" v="9321"/>
          <ac:spMkLst>
            <pc:docMk/>
            <pc:sldMk cId="1632941585" sldId="2147480986"/>
            <ac:spMk id="106" creationId="{8AC39010-D820-40DE-F888-CB1F03218599}"/>
          </ac:spMkLst>
        </pc:spChg>
        <pc:spChg chg="add del mod modVis">
          <ac:chgData name="Gouldsbury, Brian" userId="38f05b2e-fac1-4f2f-9dd8-c5800f9e0066" providerId="ADAL" clId="{ABFD28E4-D12C-46D3-8241-101A03BAA84C}" dt="2023-05-19T12:43:47.759" v="9367"/>
          <ac:spMkLst>
            <pc:docMk/>
            <pc:sldMk cId="1632941585" sldId="2147480986"/>
            <ac:spMk id="107" creationId="{CA93ECA3-BCA9-188D-097F-58E33E4E526A}"/>
          </ac:spMkLst>
        </pc:spChg>
        <pc:spChg chg="add del mod modVis">
          <ac:chgData name="Gouldsbury, Brian" userId="38f05b2e-fac1-4f2f-9dd8-c5800f9e0066" providerId="ADAL" clId="{ABFD28E4-D12C-46D3-8241-101A03BAA84C}" dt="2023-05-19T12:43:51.696" v="9412"/>
          <ac:spMkLst>
            <pc:docMk/>
            <pc:sldMk cId="1632941585" sldId="2147480986"/>
            <ac:spMk id="108" creationId="{DE7B8440-2A12-BEBE-2B16-140F1E02CA96}"/>
          </ac:spMkLst>
        </pc:spChg>
        <pc:spChg chg="add del mod">
          <ac:chgData name="Gouldsbury, Brian" userId="38f05b2e-fac1-4f2f-9dd8-c5800f9e0066" providerId="ADAL" clId="{ABFD28E4-D12C-46D3-8241-101A03BAA84C}" dt="2023-05-19T12:47:17.062" v="9424" actId="478"/>
          <ac:spMkLst>
            <pc:docMk/>
            <pc:sldMk cId="1632941585" sldId="2147480986"/>
            <ac:spMk id="109" creationId="{F23C2462-039B-A2A6-C64E-9D6B4F926CE1}"/>
          </ac:spMkLst>
        </pc:spChg>
        <pc:spChg chg="add del">
          <ac:chgData name="Gouldsbury, Brian" userId="38f05b2e-fac1-4f2f-9dd8-c5800f9e0066" providerId="ADAL" clId="{ABFD28E4-D12C-46D3-8241-101A03BAA84C}" dt="2023-05-19T12:48:28.396" v="9488"/>
          <ac:spMkLst>
            <pc:docMk/>
            <pc:sldMk cId="1632941585" sldId="2147480986"/>
            <ac:spMk id="111" creationId="{03181019-41BB-6FB0-39B4-197DEDDB73A9}"/>
          </ac:spMkLst>
        </pc:spChg>
        <pc:spChg chg="add del mod">
          <ac:chgData name="Gouldsbury, Brian" userId="38f05b2e-fac1-4f2f-9dd8-c5800f9e0066" providerId="ADAL" clId="{ABFD28E4-D12C-46D3-8241-101A03BAA84C}" dt="2023-05-19T12:49:40.294" v="9557" actId="478"/>
          <ac:spMkLst>
            <pc:docMk/>
            <pc:sldMk cId="1632941585" sldId="2147480986"/>
            <ac:spMk id="112" creationId="{2A12A7B5-E6F9-3576-3CBD-41BB3E4371F9}"/>
          </ac:spMkLst>
        </pc:spChg>
        <pc:spChg chg="add mod ord">
          <ac:chgData name="Gouldsbury, Brian" userId="38f05b2e-fac1-4f2f-9dd8-c5800f9e0066" providerId="ADAL" clId="{ABFD28E4-D12C-46D3-8241-101A03BAA84C}" dt="2023-05-22T08:59:55.158" v="12389"/>
          <ac:spMkLst>
            <pc:docMk/>
            <pc:sldMk cId="1632941585" sldId="2147480986"/>
            <ac:spMk id="113" creationId="{4039CA32-F5DB-FB91-4694-30ECCB721C17}"/>
          </ac:spMkLst>
        </pc:spChg>
        <pc:spChg chg="add del mod modVis">
          <ac:chgData name="Gouldsbury, Brian" userId="38f05b2e-fac1-4f2f-9dd8-c5800f9e0066" providerId="ADAL" clId="{ABFD28E4-D12C-46D3-8241-101A03BAA84C}" dt="2023-05-19T13:08:54.844" v="10806"/>
          <ac:spMkLst>
            <pc:docMk/>
            <pc:sldMk cId="1632941585" sldId="2147480986"/>
            <ac:spMk id="114" creationId="{AAD27FB0-E5E6-B1F8-8FC2-BC653B2CF11A}"/>
          </ac:spMkLst>
        </pc:spChg>
        <pc:spChg chg="add del mod modVis">
          <ac:chgData name="Gouldsbury, Brian" userId="38f05b2e-fac1-4f2f-9dd8-c5800f9e0066" providerId="ADAL" clId="{ABFD28E4-D12C-46D3-8241-101A03BAA84C}" dt="2023-05-19T13:08:55.707" v="10852"/>
          <ac:spMkLst>
            <pc:docMk/>
            <pc:sldMk cId="1632941585" sldId="2147480986"/>
            <ac:spMk id="115" creationId="{32B91281-BB18-4A8E-ECA9-AB1AB7730433}"/>
          </ac:spMkLst>
        </pc:spChg>
        <pc:spChg chg="add del mod modVis">
          <ac:chgData name="Gouldsbury, Brian" userId="38f05b2e-fac1-4f2f-9dd8-c5800f9e0066" providerId="ADAL" clId="{ABFD28E4-D12C-46D3-8241-101A03BAA84C}" dt="2023-05-19T13:17:01.980" v="11248"/>
          <ac:spMkLst>
            <pc:docMk/>
            <pc:sldMk cId="1632941585" sldId="2147480986"/>
            <ac:spMk id="116" creationId="{03581AFF-4401-B0A1-8094-D33DCBABC31C}"/>
          </ac:spMkLst>
        </pc:spChg>
        <pc:grpChg chg="del mod ord">
          <ac:chgData name="Gouldsbury, Brian" userId="38f05b2e-fac1-4f2f-9dd8-c5800f9e0066" providerId="ADAL" clId="{ABFD28E4-D12C-46D3-8241-101A03BAA84C}" dt="2023-05-19T12:51:28.726" v="9648" actId="478"/>
          <ac:grpSpMkLst>
            <pc:docMk/>
            <pc:sldMk cId="1632941585" sldId="2147480986"/>
            <ac:grpSpMk id="58" creationId="{13145C66-0A60-2F6B-FF5F-B884D462722B}"/>
          </ac:grpSpMkLst>
        </pc:grpChg>
        <pc:grpChg chg="add del mod">
          <ac:chgData name="Gouldsbury, Brian" userId="38f05b2e-fac1-4f2f-9dd8-c5800f9e0066" providerId="ADAL" clId="{ABFD28E4-D12C-46D3-8241-101A03BAA84C}" dt="2023-05-19T11:52:30.001" v="7188" actId="165"/>
          <ac:grpSpMkLst>
            <pc:docMk/>
            <pc:sldMk cId="1632941585" sldId="2147480986"/>
            <ac:grpSpMk id="73" creationId="{4DD7ADBE-9E19-E9FC-4B1F-D79186D5598E}"/>
          </ac:grpSpMkLst>
        </pc:grpChg>
        <pc:grpChg chg="add mod topLvl">
          <ac:chgData name="Gouldsbury, Brian" userId="38f05b2e-fac1-4f2f-9dd8-c5800f9e0066" providerId="ADAL" clId="{ABFD28E4-D12C-46D3-8241-101A03BAA84C}" dt="2023-05-22T08:59:55.155" v="12379"/>
          <ac:grpSpMkLst>
            <pc:docMk/>
            <pc:sldMk cId="1632941585" sldId="2147480986"/>
            <ac:grpSpMk id="74" creationId="{67AC39D7-FF12-91CF-45B5-AE1FD7CE04CD}"/>
          </ac:grpSpMkLst>
        </pc:grpChg>
        <pc:grpChg chg="add mod">
          <ac:chgData name="Gouldsbury, Brian" userId="38f05b2e-fac1-4f2f-9dd8-c5800f9e0066" providerId="ADAL" clId="{ABFD28E4-D12C-46D3-8241-101A03BAA84C}" dt="2023-05-22T16:41:54.292" v="14153" actId="1038"/>
          <ac:grpSpMkLst>
            <pc:docMk/>
            <pc:sldMk cId="1632941585" sldId="2147480986"/>
            <ac:grpSpMk id="75" creationId="{2A0A6F3A-FA13-40B6-B789-B612294D4A2E}"/>
          </ac:grpSpMkLst>
        </pc:grpChg>
        <pc:grpChg chg="add mod">
          <ac:chgData name="Gouldsbury, Brian" userId="38f05b2e-fac1-4f2f-9dd8-c5800f9e0066" providerId="ADAL" clId="{ABFD28E4-D12C-46D3-8241-101A03BAA84C}" dt="2023-05-22T08:59:55.154" v="12375"/>
          <ac:grpSpMkLst>
            <pc:docMk/>
            <pc:sldMk cId="1632941585" sldId="2147480986"/>
            <ac:grpSpMk id="76" creationId="{2C3C3D8B-C3A7-E2E1-F9FA-536F1C2051F6}"/>
          </ac:grpSpMkLst>
        </pc:grpChg>
        <pc:grpChg chg="add del mod">
          <ac:chgData name="Gouldsbury, Brian" userId="38f05b2e-fac1-4f2f-9dd8-c5800f9e0066" providerId="ADAL" clId="{ABFD28E4-D12C-46D3-8241-101A03BAA84C}" dt="2023-05-19T12:49:23.265" v="9554" actId="165"/>
          <ac:grpSpMkLst>
            <pc:docMk/>
            <pc:sldMk cId="1632941585" sldId="2147480986"/>
            <ac:grpSpMk id="77" creationId="{C20C05F1-64BC-853C-6C9F-1B04425634E6}"/>
          </ac:grpSpMkLst>
        </pc:grpChg>
        <pc:grpChg chg="add del mod ord">
          <ac:chgData name="Gouldsbury, Brian" userId="38f05b2e-fac1-4f2f-9dd8-c5800f9e0066" providerId="ADAL" clId="{ABFD28E4-D12C-46D3-8241-101A03BAA84C}" dt="2023-05-19T12:16:47.003" v="8140" actId="165"/>
          <ac:grpSpMkLst>
            <pc:docMk/>
            <pc:sldMk cId="1632941585" sldId="2147480986"/>
            <ac:grpSpMk id="88" creationId="{193E12CA-2016-FB02-FABA-6DC0B69EC41E}"/>
          </ac:grpSpMkLst>
        </pc:grpChg>
        <pc:graphicFrameChg chg="mod">
          <ac:chgData name="Gouldsbury, Brian" userId="38f05b2e-fac1-4f2f-9dd8-c5800f9e0066" providerId="ADAL" clId="{ABFD28E4-D12C-46D3-8241-101A03BAA84C}" dt="2023-05-22T09:39:27.819" v="13820"/>
          <ac:graphicFrameMkLst>
            <pc:docMk/>
            <pc:sldMk cId="1632941585" sldId="2147480986"/>
            <ac:graphicFrameMk id="27" creationId="{2EC39C54-9427-BC00-7699-806ECB64BA11}"/>
          </ac:graphicFrameMkLst>
        </pc:graphicFrameChg>
        <pc:picChg chg="del">
          <ac:chgData name="Gouldsbury, Brian" userId="38f05b2e-fac1-4f2f-9dd8-c5800f9e0066" providerId="ADAL" clId="{ABFD28E4-D12C-46D3-8241-101A03BAA84C}" dt="2023-05-19T11:24:36.064" v="6024" actId="478"/>
          <ac:picMkLst>
            <pc:docMk/>
            <pc:sldMk cId="1632941585" sldId="2147480986"/>
            <ac:picMk id="4" creationId="{632A516B-0897-4AA0-F544-3502DC1DE75A}"/>
          </ac:picMkLst>
        </pc:picChg>
        <pc:picChg chg="add mod">
          <ac:chgData name="Gouldsbury, Brian" userId="38f05b2e-fac1-4f2f-9dd8-c5800f9e0066" providerId="ADAL" clId="{ABFD28E4-D12C-46D3-8241-101A03BAA84C}" dt="2023-05-22T08:59:55.158" v="12390"/>
          <ac:picMkLst>
            <pc:docMk/>
            <pc:sldMk cId="1632941585" sldId="2147480986"/>
            <ac:picMk id="7" creationId="{809734FF-2F9F-0926-DDFD-0F2A9679E0D1}"/>
          </ac:picMkLst>
        </pc:picChg>
        <pc:picChg chg="add mod">
          <ac:chgData name="Gouldsbury, Brian" userId="38f05b2e-fac1-4f2f-9dd8-c5800f9e0066" providerId="ADAL" clId="{ABFD28E4-D12C-46D3-8241-101A03BAA84C}" dt="2023-05-22T09:38:50.418" v="13334" actId="1035"/>
          <ac:picMkLst>
            <pc:docMk/>
            <pc:sldMk cId="1632941585" sldId="2147480986"/>
            <ac:picMk id="10" creationId="{FFEAFFCE-0F28-3A50-1ECF-F698C05E5BD2}"/>
          </ac:picMkLst>
        </pc:picChg>
        <pc:picChg chg="del">
          <ac:chgData name="Gouldsbury, Brian" userId="38f05b2e-fac1-4f2f-9dd8-c5800f9e0066" providerId="ADAL" clId="{ABFD28E4-D12C-46D3-8241-101A03BAA84C}" dt="2023-05-19T11:24:36.064" v="6024" actId="478"/>
          <ac:picMkLst>
            <pc:docMk/>
            <pc:sldMk cId="1632941585" sldId="2147480986"/>
            <ac:picMk id="13" creationId="{8709B4AB-A522-73AA-4D13-166903ADCBEC}"/>
          </ac:picMkLst>
        </pc:picChg>
        <pc:picChg chg="del">
          <ac:chgData name="Gouldsbury, Brian" userId="38f05b2e-fac1-4f2f-9dd8-c5800f9e0066" providerId="ADAL" clId="{ABFD28E4-D12C-46D3-8241-101A03BAA84C}" dt="2023-05-19T11:24:36.064" v="6024" actId="478"/>
          <ac:picMkLst>
            <pc:docMk/>
            <pc:sldMk cId="1632941585" sldId="2147480986"/>
            <ac:picMk id="19" creationId="{DD932B42-2B54-ED2E-0771-D3DDA40C17C9}"/>
          </ac:picMkLst>
        </pc:picChg>
        <pc:picChg chg="del">
          <ac:chgData name="Gouldsbury, Brian" userId="38f05b2e-fac1-4f2f-9dd8-c5800f9e0066" providerId="ADAL" clId="{ABFD28E4-D12C-46D3-8241-101A03BAA84C}" dt="2023-05-19T11:24:36.064" v="6024" actId="478"/>
          <ac:picMkLst>
            <pc:docMk/>
            <pc:sldMk cId="1632941585" sldId="2147480986"/>
            <ac:picMk id="25" creationId="{B84F3AD3-C4EE-D448-E596-67741F9520B1}"/>
          </ac:picMkLst>
        </pc:picChg>
        <pc:picChg chg="add mod ord">
          <ac:chgData name="Gouldsbury, Brian" userId="38f05b2e-fac1-4f2f-9dd8-c5800f9e0066" providerId="ADAL" clId="{ABFD28E4-D12C-46D3-8241-101A03BAA84C}" dt="2023-05-22T16:41:54.292" v="14153" actId="1038"/>
          <ac:picMkLst>
            <pc:docMk/>
            <pc:sldMk cId="1632941585" sldId="2147480986"/>
            <ac:picMk id="31" creationId="{013BB6BB-6607-7F6B-F2C9-9568AAA2F694}"/>
          </ac:picMkLst>
        </pc:picChg>
        <pc:picChg chg="del">
          <ac:chgData name="Gouldsbury, Brian" userId="38f05b2e-fac1-4f2f-9dd8-c5800f9e0066" providerId="ADAL" clId="{ABFD28E4-D12C-46D3-8241-101A03BAA84C}" dt="2023-05-19T11:24:36.064" v="6024" actId="478"/>
          <ac:picMkLst>
            <pc:docMk/>
            <pc:sldMk cId="1632941585" sldId="2147480986"/>
            <ac:picMk id="37" creationId="{BFF61E76-09A0-8C8E-DC17-5586E20F3B2C}"/>
          </ac:picMkLst>
        </pc:picChg>
        <pc:picChg chg="del">
          <ac:chgData name="Gouldsbury, Brian" userId="38f05b2e-fac1-4f2f-9dd8-c5800f9e0066" providerId="ADAL" clId="{ABFD28E4-D12C-46D3-8241-101A03BAA84C}" dt="2023-05-19T11:24:36.064" v="6024" actId="478"/>
          <ac:picMkLst>
            <pc:docMk/>
            <pc:sldMk cId="1632941585" sldId="2147480986"/>
            <ac:picMk id="38" creationId="{76AF495B-F7A2-5900-9646-37DB2CE88C61}"/>
          </ac:picMkLst>
        </pc:picChg>
        <pc:picChg chg="del">
          <ac:chgData name="Gouldsbury, Brian" userId="38f05b2e-fac1-4f2f-9dd8-c5800f9e0066" providerId="ADAL" clId="{ABFD28E4-D12C-46D3-8241-101A03BAA84C}" dt="2023-05-19T11:24:36.064" v="6024" actId="478"/>
          <ac:picMkLst>
            <pc:docMk/>
            <pc:sldMk cId="1632941585" sldId="2147480986"/>
            <ac:picMk id="39" creationId="{34C5FC74-28EA-C20F-5CF5-10D112A63AF0}"/>
          </ac:picMkLst>
        </pc:picChg>
        <pc:picChg chg="del">
          <ac:chgData name="Gouldsbury, Brian" userId="38f05b2e-fac1-4f2f-9dd8-c5800f9e0066" providerId="ADAL" clId="{ABFD28E4-D12C-46D3-8241-101A03BAA84C}" dt="2023-05-19T11:24:36.064" v="6024" actId="478"/>
          <ac:picMkLst>
            <pc:docMk/>
            <pc:sldMk cId="1632941585" sldId="2147480986"/>
            <ac:picMk id="40" creationId="{C45F72C0-DD7A-3BA5-5361-293F590E26FB}"/>
          </ac:picMkLst>
        </pc:picChg>
        <pc:picChg chg="del">
          <ac:chgData name="Gouldsbury, Brian" userId="38f05b2e-fac1-4f2f-9dd8-c5800f9e0066" providerId="ADAL" clId="{ABFD28E4-D12C-46D3-8241-101A03BAA84C}" dt="2023-05-19T11:24:36.064" v="6024" actId="478"/>
          <ac:picMkLst>
            <pc:docMk/>
            <pc:sldMk cId="1632941585" sldId="2147480986"/>
            <ac:picMk id="42" creationId="{2E4DCFCE-BF03-999C-3E4D-86439301DC1D}"/>
          </ac:picMkLst>
        </pc:picChg>
        <pc:picChg chg="del">
          <ac:chgData name="Gouldsbury, Brian" userId="38f05b2e-fac1-4f2f-9dd8-c5800f9e0066" providerId="ADAL" clId="{ABFD28E4-D12C-46D3-8241-101A03BAA84C}" dt="2023-05-19T11:24:36.064" v="6024" actId="478"/>
          <ac:picMkLst>
            <pc:docMk/>
            <pc:sldMk cId="1632941585" sldId="2147480986"/>
            <ac:picMk id="44" creationId="{C0AF18B5-4818-8869-5F12-E62D7AD01600}"/>
          </ac:picMkLst>
        </pc:picChg>
        <pc:picChg chg="del">
          <ac:chgData name="Gouldsbury, Brian" userId="38f05b2e-fac1-4f2f-9dd8-c5800f9e0066" providerId="ADAL" clId="{ABFD28E4-D12C-46D3-8241-101A03BAA84C}" dt="2023-05-19T11:24:36.064" v="6024" actId="478"/>
          <ac:picMkLst>
            <pc:docMk/>
            <pc:sldMk cId="1632941585" sldId="2147480986"/>
            <ac:picMk id="45" creationId="{C1EAC09E-F9EA-D595-6034-A449324288D1}"/>
          </ac:picMkLst>
        </pc:picChg>
        <pc:picChg chg="del">
          <ac:chgData name="Gouldsbury, Brian" userId="38f05b2e-fac1-4f2f-9dd8-c5800f9e0066" providerId="ADAL" clId="{ABFD28E4-D12C-46D3-8241-101A03BAA84C}" dt="2023-05-19T11:24:36.064" v="6024" actId="478"/>
          <ac:picMkLst>
            <pc:docMk/>
            <pc:sldMk cId="1632941585" sldId="2147480986"/>
            <ac:picMk id="46" creationId="{124EE08C-79C6-090F-223C-D2ABF8C4C22C}"/>
          </ac:picMkLst>
        </pc:picChg>
        <pc:picChg chg="del">
          <ac:chgData name="Gouldsbury, Brian" userId="38f05b2e-fac1-4f2f-9dd8-c5800f9e0066" providerId="ADAL" clId="{ABFD28E4-D12C-46D3-8241-101A03BAA84C}" dt="2023-05-19T11:24:36.064" v="6024" actId="478"/>
          <ac:picMkLst>
            <pc:docMk/>
            <pc:sldMk cId="1632941585" sldId="2147480986"/>
            <ac:picMk id="47" creationId="{0F1EBEA4-B555-8782-6E38-6F6CFDF015C2}"/>
          </ac:picMkLst>
        </pc:picChg>
        <pc:picChg chg="del">
          <ac:chgData name="Gouldsbury, Brian" userId="38f05b2e-fac1-4f2f-9dd8-c5800f9e0066" providerId="ADAL" clId="{ABFD28E4-D12C-46D3-8241-101A03BAA84C}" dt="2023-05-19T11:24:36.064" v="6024" actId="478"/>
          <ac:picMkLst>
            <pc:docMk/>
            <pc:sldMk cId="1632941585" sldId="2147480986"/>
            <ac:picMk id="48" creationId="{6DB6BFB0-74E8-7744-EFEE-BF2688681F78}"/>
          </ac:picMkLst>
        </pc:picChg>
        <pc:picChg chg="del">
          <ac:chgData name="Gouldsbury, Brian" userId="38f05b2e-fac1-4f2f-9dd8-c5800f9e0066" providerId="ADAL" clId="{ABFD28E4-D12C-46D3-8241-101A03BAA84C}" dt="2023-05-19T11:24:36.064" v="6024" actId="478"/>
          <ac:picMkLst>
            <pc:docMk/>
            <pc:sldMk cId="1632941585" sldId="2147480986"/>
            <ac:picMk id="49" creationId="{F645F94F-A4D1-8502-A5B6-53FC95A6B6BA}"/>
          </ac:picMkLst>
        </pc:picChg>
        <pc:picChg chg="del">
          <ac:chgData name="Gouldsbury, Brian" userId="38f05b2e-fac1-4f2f-9dd8-c5800f9e0066" providerId="ADAL" clId="{ABFD28E4-D12C-46D3-8241-101A03BAA84C}" dt="2023-05-19T11:24:36.064" v="6024" actId="478"/>
          <ac:picMkLst>
            <pc:docMk/>
            <pc:sldMk cId="1632941585" sldId="2147480986"/>
            <ac:picMk id="50" creationId="{DBECBF5F-3BE9-B8EB-B632-B642F36EE6F4}"/>
          </ac:picMkLst>
        </pc:picChg>
        <pc:picChg chg="del">
          <ac:chgData name="Gouldsbury, Brian" userId="38f05b2e-fac1-4f2f-9dd8-c5800f9e0066" providerId="ADAL" clId="{ABFD28E4-D12C-46D3-8241-101A03BAA84C}" dt="2023-05-19T11:24:36.064" v="6024" actId="478"/>
          <ac:picMkLst>
            <pc:docMk/>
            <pc:sldMk cId="1632941585" sldId="2147480986"/>
            <ac:picMk id="51" creationId="{F6AB9767-49A4-6F87-1BD4-85184364544C}"/>
          </ac:picMkLst>
        </pc:picChg>
        <pc:picChg chg="del">
          <ac:chgData name="Gouldsbury, Brian" userId="38f05b2e-fac1-4f2f-9dd8-c5800f9e0066" providerId="ADAL" clId="{ABFD28E4-D12C-46D3-8241-101A03BAA84C}" dt="2023-05-19T11:24:36.064" v="6024" actId="478"/>
          <ac:picMkLst>
            <pc:docMk/>
            <pc:sldMk cId="1632941585" sldId="2147480986"/>
            <ac:picMk id="52" creationId="{12D5B6E9-F64B-AB8C-42D7-5D40741D54C5}"/>
          </ac:picMkLst>
        </pc:picChg>
        <pc:picChg chg="del">
          <ac:chgData name="Gouldsbury, Brian" userId="38f05b2e-fac1-4f2f-9dd8-c5800f9e0066" providerId="ADAL" clId="{ABFD28E4-D12C-46D3-8241-101A03BAA84C}" dt="2023-05-19T11:24:36.064" v="6024" actId="478"/>
          <ac:picMkLst>
            <pc:docMk/>
            <pc:sldMk cId="1632941585" sldId="2147480986"/>
            <ac:picMk id="53" creationId="{6747F2CB-E0D9-EBC0-ABD7-3BA3CA4DE372}"/>
          </ac:picMkLst>
        </pc:picChg>
        <pc:picChg chg="del">
          <ac:chgData name="Gouldsbury, Brian" userId="38f05b2e-fac1-4f2f-9dd8-c5800f9e0066" providerId="ADAL" clId="{ABFD28E4-D12C-46D3-8241-101A03BAA84C}" dt="2023-05-19T11:24:36.064" v="6024" actId="478"/>
          <ac:picMkLst>
            <pc:docMk/>
            <pc:sldMk cId="1632941585" sldId="2147480986"/>
            <ac:picMk id="54" creationId="{1D6EFA73-B072-AC41-D5D4-0F324E4703DC}"/>
          </ac:picMkLst>
        </pc:picChg>
        <pc:picChg chg="del">
          <ac:chgData name="Gouldsbury, Brian" userId="38f05b2e-fac1-4f2f-9dd8-c5800f9e0066" providerId="ADAL" clId="{ABFD28E4-D12C-46D3-8241-101A03BAA84C}" dt="2023-05-19T11:24:36.064" v="6024" actId="478"/>
          <ac:picMkLst>
            <pc:docMk/>
            <pc:sldMk cId="1632941585" sldId="2147480986"/>
            <ac:picMk id="55" creationId="{242ACDB1-4E31-FA4F-5F47-3A7F0BC9A3FB}"/>
          </ac:picMkLst>
        </pc:picChg>
        <pc:picChg chg="del">
          <ac:chgData name="Gouldsbury, Brian" userId="38f05b2e-fac1-4f2f-9dd8-c5800f9e0066" providerId="ADAL" clId="{ABFD28E4-D12C-46D3-8241-101A03BAA84C}" dt="2023-05-19T11:24:36.064" v="6024" actId="478"/>
          <ac:picMkLst>
            <pc:docMk/>
            <pc:sldMk cId="1632941585" sldId="2147480986"/>
            <ac:picMk id="56" creationId="{EABB5FE8-E941-C2A1-F477-184C99B151C7}"/>
          </ac:picMkLst>
        </pc:picChg>
        <pc:picChg chg="del">
          <ac:chgData name="Gouldsbury, Brian" userId="38f05b2e-fac1-4f2f-9dd8-c5800f9e0066" providerId="ADAL" clId="{ABFD28E4-D12C-46D3-8241-101A03BAA84C}" dt="2023-05-19T11:24:36.064" v="6024" actId="478"/>
          <ac:picMkLst>
            <pc:docMk/>
            <pc:sldMk cId="1632941585" sldId="2147480986"/>
            <ac:picMk id="57" creationId="{CB80C0CE-A9EC-0156-743F-356867ED64CB}"/>
          </ac:picMkLst>
        </pc:picChg>
        <pc:picChg chg="del">
          <ac:chgData name="Gouldsbury, Brian" userId="38f05b2e-fac1-4f2f-9dd8-c5800f9e0066" providerId="ADAL" clId="{ABFD28E4-D12C-46D3-8241-101A03BAA84C}" dt="2023-05-19T11:24:36.064" v="6024" actId="478"/>
          <ac:picMkLst>
            <pc:docMk/>
            <pc:sldMk cId="1632941585" sldId="2147480986"/>
            <ac:picMk id="69" creationId="{E52D7CF5-11BA-5D5D-446E-3E2EC3EC345D}"/>
          </ac:picMkLst>
        </pc:picChg>
        <pc:picChg chg="del">
          <ac:chgData name="Gouldsbury, Brian" userId="38f05b2e-fac1-4f2f-9dd8-c5800f9e0066" providerId="ADAL" clId="{ABFD28E4-D12C-46D3-8241-101A03BAA84C}" dt="2023-05-19T11:24:36.064" v="6024" actId="478"/>
          <ac:picMkLst>
            <pc:docMk/>
            <pc:sldMk cId="1632941585" sldId="2147480986"/>
            <ac:picMk id="70" creationId="{D74EF8DF-8F4A-56F8-ABC4-5AD9FB1DB1BB}"/>
          </ac:picMkLst>
        </pc:picChg>
        <pc:picChg chg="add del mod">
          <ac:chgData name="Gouldsbury, Brian" userId="38f05b2e-fac1-4f2f-9dd8-c5800f9e0066" providerId="ADAL" clId="{ABFD28E4-D12C-46D3-8241-101A03BAA84C}" dt="2023-05-19T11:39:08.823" v="6639" actId="478"/>
          <ac:picMkLst>
            <pc:docMk/>
            <pc:sldMk cId="1632941585" sldId="2147480986"/>
            <ac:picMk id="1026" creationId="{4394249B-F21E-AD57-C306-346AF616D9F3}"/>
          </ac:picMkLst>
        </pc:picChg>
        <pc:picChg chg="add mod">
          <ac:chgData name="Gouldsbury, Brian" userId="38f05b2e-fac1-4f2f-9dd8-c5800f9e0066" providerId="ADAL" clId="{ABFD28E4-D12C-46D3-8241-101A03BAA84C}" dt="2023-05-22T08:44:25.239" v="11565" actId="1035"/>
          <ac:picMkLst>
            <pc:docMk/>
            <pc:sldMk cId="1632941585" sldId="2147480986"/>
            <ac:picMk id="1028" creationId="{4CB08703-18C2-2C67-CE04-2F59FE1BCBDD}"/>
          </ac:picMkLst>
        </pc:picChg>
        <pc:picChg chg="add mod">
          <ac:chgData name="Gouldsbury, Brian" userId="38f05b2e-fac1-4f2f-9dd8-c5800f9e0066" providerId="ADAL" clId="{ABFD28E4-D12C-46D3-8241-101A03BAA84C}" dt="2023-05-22T16:41:54.292" v="14153" actId="1038"/>
          <ac:picMkLst>
            <pc:docMk/>
            <pc:sldMk cId="1632941585" sldId="2147480986"/>
            <ac:picMk id="1030" creationId="{F86C077D-F8CD-90C1-E03F-D2A172C48673}"/>
          </ac:picMkLst>
        </pc:picChg>
        <pc:picChg chg="add mod topLvl">
          <ac:chgData name="Gouldsbury, Brian" userId="38f05b2e-fac1-4f2f-9dd8-c5800f9e0066" providerId="ADAL" clId="{ABFD28E4-D12C-46D3-8241-101A03BAA84C}" dt="2023-05-19T13:08:33.262" v="10755" actId="1036"/>
          <ac:picMkLst>
            <pc:docMk/>
            <pc:sldMk cId="1632941585" sldId="2147480986"/>
            <ac:picMk id="1032" creationId="{44FED583-99B7-C281-4084-FD7CA0FF133D}"/>
          </ac:picMkLst>
        </pc:picChg>
        <pc:cxnChg chg="del">
          <ac:chgData name="Gouldsbury, Brian" userId="38f05b2e-fac1-4f2f-9dd8-c5800f9e0066" providerId="ADAL" clId="{ABFD28E4-D12C-46D3-8241-101A03BAA84C}" dt="2023-05-19T11:24:36.064" v="6024" actId="478"/>
          <ac:cxnSpMkLst>
            <pc:docMk/>
            <pc:sldMk cId="1632941585" sldId="2147480986"/>
            <ac:cxnSpMk id="6" creationId="{655F11DD-A534-7629-7D80-5EAC5D4D3C63}"/>
          </ac:cxnSpMkLst>
        </pc:cxnChg>
        <pc:cxnChg chg="del">
          <ac:chgData name="Gouldsbury, Brian" userId="38f05b2e-fac1-4f2f-9dd8-c5800f9e0066" providerId="ADAL" clId="{ABFD28E4-D12C-46D3-8241-101A03BAA84C}" dt="2023-05-19T11:24:36.064" v="6024" actId="478"/>
          <ac:cxnSpMkLst>
            <pc:docMk/>
            <pc:sldMk cId="1632941585" sldId="2147480986"/>
            <ac:cxnSpMk id="7" creationId="{D588CCDB-6120-20CC-97DB-5F5EBAF30F49}"/>
          </ac:cxnSpMkLst>
        </pc:cxnChg>
        <pc:cxnChg chg="del">
          <ac:chgData name="Gouldsbury, Brian" userId="38f05b2e-fac1-4f2f-9dd8-c5800f9e0066" providerId="ADAL" clId="{ABFD28E4-D12C-46D3-8241-101A03BAA84C}" dt="2023-05-19T11:24:36.064" v="6024" actId="478"/>
          <ac:cxnSpMkLst>
            <pc:docMk/>
            <pc:sldMk cId="1632941585" sldId="2147480986"/>
            <ac:cxnSpMk id="8" creationId="{3C58FC8A-0C17-9A9C-7E58-D984FA3F2324}"/>
          </ac:cxnSpMkLst>
        </pc:cxnChg>
        <pc:cxnChg chg="del">
          <ac:chgData name="Gouldsbury, Brian" userId="38f05b2e-fac1-4f2f-9dd8-c5800f9e0066" providerId="ADAL" clId="{ABFD28E4-D12C-46D3-8241-101A03BAA84C}" dt="2023-05-19T11:24:36.064" v="6024" actId="478"/>
          <ac:cxnSpMkLst>
            <pc:docMk/>
            <pc:sldMk cId="1632941585" sldId="2147480986"/>
            <ac:cxnSpMk id="9" creationId="{96F85F43-2F8A-DD01-68D6-F3AD288EA05E}"/>
          </ac:cxnSpMkLst>
        </pc:cxnChg>
        <pc:cxnChg chg="del">
          <ac:chgData name="Gouldsbury, Brian" userId="38f05b2e-fac1-4f2f-9dd8-c5800f9e0066" providerId="ADAL" clId="{ABFD28E4-D12C-46D3-8241-101A03BAA84C}" dt="2023-05-19T11:24:36.064" v="6024" actId="478"/>
          <ac:cxnSpMkLst>
            <pc:docMk/>
            <pc:sldMk cId="1632941585" sldId="2147480986"/>
            <ac:cxnSpMk id="16" creationId="{13D260C3-8278-3F23-7B79-4AD846DAC58C}"/>
          </ac:cxnSpMkLst>
        </pc:cxnChg>
        <pc:cxnChg chg="del">
          <ac:chgData name="Gouldsbury, Brian" userId="38f05b2e-fac1-4f2f-9dd8-c5800f9e0066" providerId="ADAL" clId="{ABFD28E4-D12C-46D3-8241-101A03BAA84C}" dt="2023-05-19T11:24:36.064" v="6024" actId="478"/>
          <ac:cxnSpMkLst>
            <pc:docMk/>
            <pc:sldMk cId="1632941585" sldId="2147480986"/>
            <ac:cxnSpMk id="20" creationId="{5979BC06-0425-A25F-B1B7-A30533364E2C}"/>
          </ac:cxnSpMkLst>
        </pc:cxnChg>
        <pc:cxnChg chg="del">
          <ac:chgData name="Gouldsbury, Brian" userId="38f05b2e-fac1-4f2f-9dd8-c5800f9e0066" providerId="ADAL" clId="{ABFD28E4-D12C-46D3-8241-101A03BAA84C}" dt="2023-05-19T11:24:36.064" v="6024" actId="478"/>
          <ac:cxnSpMkLst>
            <pc:docMk/>
            <pc:sldMk cId="1632941585" sldId="2147480986"/>
            <ac:cxnSpMk id="21" creationId="{4E91A83A-2745-37C0-4FB0-920C0D80E048}"/>
          </ac:cxnSpMkLst>
        </pc:cxnChg>
        <pc:cxnChg chg="del">
          <ac:chgData name="Gouldsbury, Brian" userId="38f05b2e-fac1-4f2f-9dd8-c5800f9e0066" providerId="ADAL" clId="{ABFD28E4-D12C-46D3-8241-101A03BAA84C}" dt="2023-05-19T11:24:36.064" v="6024" actId="478"/>
          <ac:cxnSpMkLst>
            <pc:docMk/>
            <pc:sldMk cId="1632941585" sldId="2147480986"/>
            <ac:cxnSpMk id="22" creationId="{44B6CBED-303B-0CCB-260A-9A640D235DE2}"/>
          </ac:cxnSpMkLst>
        </pc:cxnChg>
      </pc:sldChg>
      <pc:sldChg chg="add del">
        <pc:chgData name="Gouldsbury, Brian" userId="38f05b2e-fac1-4f2f-9dd8-c5800f9e0066" providerId="ADAL" clId="{ABFD28E4-D12C-46D3-8241-101A03BAA84C}" dt="2023-05-19T09:55:02.553" v="5424" actId="47"/>
        <pc:sldMkLst>
          <pc:docMk/>
          <pc:sldMk cId="2165580266" sldId="2147480986"/>
        </pc:sldMkLst>
      </pc:sldChg>
      <pc:sldChg chg="add del">
        <pc:chgData name="Gouldsbury, Brian" userId="38f05b2e-fac1-4f2f-9dd8-c5800f9e0066" providerId="ADAL" clId="{ABFD28E4-D12C-46D3-8241-101A03BAA84C}" dt="2023-05-19T09:50:08.860" v="5233"/>
        <pc:sldMkLst>
          <pc:docMk/>
          <pc:sldMk cId="763562069" sldId="2147480987"/>
        </pc:sldMkLst>
      </pc:sldChg>
      <pc:sldChg chg="add del">
        <pc:chgData name="Gouldsbury, Brian" userId="38f05b2e-fac1-4f2f-9dd8-c5800f9e0066" providerId="ADAL" clId="{ABFD28E4-D12C-46D3-8241-101A03BAA84C}" dt="2023-05-19T11:37:56.285" v="6517" actId="2890"/>
        <pc:sldMkLst>
          <pc:docMk/>
          <pc:sldMk cId="3532501435" sldId="2147480987"/>
        </pc:sldMkLst>
      </pc:sldChg>
      <pc:sldChg chg="addSp delSp modSp add mod ord modTransition">
        <pc:chgData name="Gouldsbury, Brian" userId="38f05b2e-fac1-4f2f-9dd8-c5800f9e0066" providerId="ADAL" clId="{ABFD28E4-D12C-46D3-8241-101A03BAA84C}" dt="2023-05-22T16:40:48.258" v="14130" actId="12788"/>
        <pc:sldMkLst>
          <pc:docMk/>
          <pc:sldMk cId="3997391863" sldId="2147480987"/>
        </pc:sldMkLst>
        <pc:spChg chg="del mod ord">
          <ac:chgData name="Gouldsbury, Brian" userId="38f05b2e-fac1-4f2f-9dd8-c5800f9e0066" providerId="ADAL" clId="{ABFD28E4-D12C-46D3-8241-101A03BAA84C}" dt="2023-05-22T08:52:47.112" v="12047" actId="478"/>
          <ac:spMkLst>
            <pc:docMk/>
            <pc:sldMk cId="3997391863" sldId="2147480987"/>
            <ac:spMk id="2" creationId="{6DE5E596-BDDD-D374-A717-32BFC395CAD9}"/>
          </ac:spMkLst>
        </pc:spChg>
        <pc:spChg chg="del">
          <ac:chgData name="Gouldsbury, Brian" userId="38f05b2e-fac1-4f2f-9dd8-c5800f9e0066" providerId="ADAL" clId="{ABFD28E4-D12C-46D3-8241-101A03BAA84C}" dt="2023-05-19T12:40:22.854" v="8640" actId="478"/>
          <ac:spMkLst>
            <pc:docMk/>
            <pc:sldMk cId="3997391863" sldId="2147480987"/>
            <ac:spMk id="3" creationId="{5A5FC402-141E-21AF-0E01-EF3A9773A4BE}"/>
          </ac:spMkLst>
        </pc:spChg>
        <pc:spChg chg="add del mod modVis">
          <ac:chgData name="Gouldsbury, Brian" userId="38f05b2e-fac1-4f2f-9dd8-c5800f9e0066" providerId="ADAL" clId="{ABFD28E4-D12C-46D3-8241-101A03BAA84C}" dt="2023-05-22T08:52:13.868" v="11742"/>
          <ac:spMkLst>
            <pc:docMk/>
            <pc:sldMk cId="3997391863" sldId="2147480987"/>
            <ac:spMk id="3" creationId="{D2494C55-7E40-D7C1-7026-7F250B17CE51}"/>
          </ac:spMkLst>
        </pc:spChg>
        <pc:spChg chg="add del">
          <ac:chgData name="Gouldsbury, Brian" userId="38f05b2e-fac1-4f2f-9dd8-c5800f9e0066" providerId="ADAL" clId="{ABFD28E4-D12C-46D3-8241-101A03BAA84C}" dt="2023-05-19T12:40:47.484" v="8642"/>
          <ac:spMkLst>
            <pc:docMk/>
            <pc:sldMk cId="3997391863" sldId="2147480987"/>
            <ac:spMk id="4" creationId="{0DFFDB1F-036F-A3ED-420D-2371526C6D47}"/>
          </ac:spMkLst>
        </pc:spChg>
        <pc:spChg chg="add del mod modVis">
          <ac:chgData name="Gouldsbury, Brian" userId="38f05b2e-fac1-4f2f-9dd8-c5800f9e0066" providerId="ADAL" clId="{ABFD28E4-D12C-46D3-8241-101A03BAA84C}" dt="2023-05-22T08:52:14.958" v="11787"/>
          <ac:spMkLst>
            <pc:docMk/>
            <pc:sldMk cId="3997391863" sldId="2147480987"/>
            <ac:spMk id="4" creationId="{5F671F15-0CA7-17CC-6BF1-E4D08AE4A694}"/>
          </ac:spMkLst>
        </pc:spChg>
        <pc:spChg chg="add del">
          <ac:chgData name="Gouldsbury, Brian" userId="38f05b2e-fac1-4f2f-9dd8-c5800f9e0066" providerId="ADAL" clId="{ABFD28E4-D12C-46D3-8241-101A03BAA84C}" dt="2023-05-19T12:40:57.142" v="8644"/>
          <ac:spMkLst>
            <pc:docMk/>
            <pc:sldMk cId="3997391863" sldId="2147480987"/>
            <ac:spMk id="5" creationId="{4E4B7A67-FC57-3C95-F64E-A46FEFF297C9}"/>
          </ac:spMkLst>
        </pc:spChg>
        <pc:spChg chg="add del mod modVis">
          <ac:chgData name="Gouldsbury, Brian" userId="38f05b2e-fac1-4f2f-9dd8-c5800f9e0066" providerId="ADAL" clId="{ABFD28E4-D12C-46D3-8241-101A03BAA84C}" dt="2023-05-22T08:52:16.149" v="11835"/>
          <ac:spMkLst>
            <pc:docMk/>
            <pc:sldMk cId="3997391863" sldId="2147480987"/>
            <ac:spMk id="5" creationId="{AC270A61-7435-C4EF-E3F7-A56C21B7E561}"/>
          </ac:spMkLst>
        </pc:spChg>
        <pc:spChg chg="add mod ord">
          <ac:chgData name="Gouldsbury, Brian" userId="38f05b2e-fac1-4f2f-9dd8-c5800f9e0066" providerId="ADAL" clId="{ABFD28E4-D12C-46D3-8241-101A03BAA84C}" dt="2023-05-22T09:03:47.766" v="12405" actId="12788"/>
          <ac:spMkLst>
            <pc:docMk/>
            <pc:sldMk cId="3997391863" sldId="2147480987"/>
            <ac:spMk id="6" creationId="{118109BF-D5D4-6CC5-96F4-271C008462EF}"/>
          </ac:spMkLst>
        </pc:spChg>
        <pc:spChg chg="add mod ord">
          <ac:chgData name="Gouldsbury, Brian" userId="38f05b2e-fac1-4f2f-9dd8-c5800f9e0066" providerId="ADAL" clId="{ABFD28E4-D12C-46D3-8241-101A03BAA84C}" dt="2023-05-22T09:03:47.766" v="12405" actId="12788"/>
          <ac:spMkLst>
            <pc:docMk/>
            <pc:sldMk cId="3997391863" sldId="2147480987"/>
            <ac:spMk id="7" creationId="{C718BF3A-7288-F95B-A507-ACF981784DE0}"/>
          </ac:spMkLst>
        </pc:spChg>
        <pc:spChg chg="add del mod modVis">
          <ac:chgData name="Gouldsbury, Brian" userId="38f05b2e-fac1-4f2f-9dd8-c5800f9e0066" providerId="ADAL" clId="{ABFD28E4-D12C-46D3-8241-101A03BAA84C}" dt="2023-05-19T12:52:23.636" v="9747"/>
          <ac:spMkLst>
            <pc:docMk/>
            <pc:sldMk cId="3997391863" sldId="2147480987"/>
            <ac:spMk id="8" creationId="{8961C65B-9FB3-1533-BC45-4723A8A33DED}"/>
          </ac:spMkLst>
        </pc:spChg>
        <pc:spChg chg="add del mod modVis">
          <ac:chgData name="Gouldsbury, Brian" userId="38f05b2e-fac1-4f2f-9dd8-c5800f9e0066" providerId="ADAL" clId="{ABFD28E4-D12C-46D3-8241-101A03BAA84C}" dt="2023-05-22T08:52:16.776" v="11880"/>
          <ac:spMkLst>
            <pc:docMk/>
            <pc:sldMk cId="3997391863" sldId="2147480987"/>
            <ac:spMk id="8" creationId="{ECF1EB5E-7BEE-7E16-A816-F89CB23C9D5A}"/>
          </ac:spMkLst>
        </pc:spChg>
        <pc:spChg chg="add mod">
          <ac:chgData name="Gouldsbury, Brian" userId="38f05b2e-fac1-4f2f-9dd8-c5800f9e0066" providerId="ADAL" clId="{ABFD28E4-D12C-46D3-8241-101A03BAA84C}" dt="2023-05-22T09:03:47.766" v="12405" actId="12788"/>
          <ac:spMkLst>
            <pc:docMk/>
            <pc:sldMk cId="3997391863" sldId="2147480987"/>
            <ac:spMk id="9" creationId="{5976E17C-740A-5AE7-2A16-6EF5378C74AC}"/>
          </ac:spMkLst>
        </pc:spChg>
        <pc:spChg chg="add mod">
          <ac:chgData name="Gouldsbury, Brian" userId="38f05b2e-fac1-4f2f-9dd8-c5800f9e0066" providerId="ADAL" clId="{ABFD28E4-D12C-46D3-8241-101A03BAA84C}" dt="2023-05-22T09:03:47.766" v="12405" actId="12788"/>
          <ac:spMkLst>
            <pc:docMk/>
            <pc:sldMk cId="3997391863" sldId="2147480987"/>
            <ac:spMk id="10" creationId="{1DBE2CA4-7526-C2CA-9321-7CAF932263B0}"/>
          </ac:spMkLst>
        </pc:spChg>
        <pc:spChg chg="add mod">
          <ac:chgData name="Gouldsbury, Brian" userId="38f05b2e-fac1-4f2f-9dd8-c5800f9e0066" providerId="ADAL" clId="{ABFD28E4-D12C-46D3-8241-101A03BAA84C}" dt="2023-05-22T09:03:47.766" v="12405" actId="12788"/>
          <ac:spMkLst>
            <pc:docMk/>
            <pc:sldMk cId="3997391863" sldId="2147480987"/>
            <ac:spMk id="11" creationId="{7CB4B11E-1EFA-1FD5-4372-C9F9DA3FACAE}"/>
          </ac:spMkLst>
        </pc:spChg>
        <pc:spChg chg="add mod">
          <ac:chgData name="Gouldsbury, Brian" userId="38f05b2e-fac1-4f2f-9dd8-c5800f9e0066" providerId="ADAL" clId="{ABFD28E4-D12C-46D3-8241-101A03BAA84C}" dt="2023-05-22T09:03:47.766" v="12405" actId="12788"/>
          <ac:spMkLst>
            <pc:docMk/>
            <pc:sldMk cId="3997391863" sldId="2147480987"/>
            <ac:spMk id="12" creationId="{E032A5F4-FBC5-F52A-C151-08B351DB4523}"/>
          </ac:spMkLst>
        </pc:spChg>
        <pc:spChg chg="add del mod modVis">
          <ac:chgData name="Gouldsbury, Brian" userId="38f05b2e-fac1-4f2f-9dd8-c5800f9e0066" providerId="ADAL" clId="{ABFD28E4-D12C-46D3-8241-101A03BAA84C}" dt="2023-05-19T13:09:53.957" v="11021" actId="962"/>
          <ac:spMkLst>
            <pc:docMk/>
            <pc:sldMk cId="3997391863" sldId="2147480987"/>
            <ac:spMk id="13" creationId="{9C0D1F73-2163-90ED-8094-538265C28A80}"/>
          </ac:spMkLst>
        </pc:spChg>
        <pc:spChg chg="add del mod modVis">
          <ac:chgData name="Gouldsbury, Brian" userId="38f05b2e-fac1-4f2f-9dd8-c5800f9e0066" providerId="ADAL" clId="{ABFD28E4-D12C-46D3-8241-101A03BAA84C}" dt="2023-05-22T08:52:17.795" v="11926"/>
          <ac:spMkLst>
            <pc:docMk/>
            <pc:sldMk cId="3997391863" sldId="2147480987"/>
            <ac:spMk id="13" creationId="{CFBD5031-0893-2B73-87B5-B81055D39093}"/>
          </ac:spMkLst>
        </pc:spChg>
        <pc:spChg chg="add del mod modVis">
          <ac:chgData name="Gouldsbury, Brian" userId="38f05b2e-fac1-4f2f-9dd8-c5800f9e0066" providerId="ADAL" clId="{ABFD28E4-D12C-46D3-8241-101A03BAA84C}" dt="2023-05-22T08:52:33.064" v="12024" actId="962"/>
          <ac:spMkLst>
            <pc:docMk/>
            <pc:sldMk cId="3997391863" sldId="2147480987"/>
            <ac:spMk id="15" creationId="{3FAC28C0-CAF0-B6FC-F3F7-D5B29066E3A4}"/>
          </ac:spMkLst>
        </pc:spChg>
        <pc:spChg chg="add del mod modVis">
          <ac:chgData name="Gouldsbury, Brian" userId="38f05b2e-fac1-4f2f-9dd8-c5800f9e0066" providerId="ADAL" clId="{ABFD28E4-D12C-46D3-8241-101A03BAA84C}" dt="2023-05-19T13:17:06.655" v="11293"/>
          <ac:spMkLst>
            <pc:docMk/>
            <pc:sldMk cId="3997391863" sldId="2147480987"/>
            <ac:spMk id="15" creationId="{63236662-F37C-902A-8D6D-F406622AB4ED}"/>
          </ac:spMkLst>
        </pc:spChg>
        <pc:spChg chg="add mod">
          <ac:chgData name="Gouldsbury, Brian" userId="38f05b2e-fac1-4f2f-9dd8-c5800f9e0066" providerId="ADAL" clId="{ABFD28E4-D12C-46D3-8241-101A03BAA84C}" dt="2023-05-22T16:40:48.258" v="14130" actId="12788"/>
          <ac:spMkLst>
            <pc:docMk/>
            <pc:sldMk cId="3997391863" sldId="2147480987"/>
            <ac:spMk id="16" creationId="{DBE07DDA-2D27-F5A7-6E4C-401471D006E0}"/>
          </ac:spMkLst>
        </pc:spChg>
        <pc:spChg chg="add del mod">
          <ac:chgData name="Gouldsbury, Brian" userId="38f05b2e-fac1-4f2f-9dd8-c5800f9e0066" providerId="ADAL" clId="{ABFD28E4-D12C-46D3-8241-101A03BAA84C}" dt="2023-05-22T08:52:48.669" v="12052" actId="478"/>
          <ac:spMkLst>
            <pc:docMk/>
            <pc:sldMk cId="3997391863" sldId="2147480987"/>
            <ac:spMk id="18" creationId="{FF4FFAC8-8DA9-9AC4-54F8-AB1CEAB19439}"/>
          </ac:spMkLst>
        </pc:spChg>
        <pc:spChg chg="del">
          <ac:chgData name="Gouldsbury, Brian" userId="38f05b2e-fac1-4f2f-9dd8-c5800f9e0066" providerId="ADAL" clId="{ABFD28E4-D12C-46D3-8241-101A03BAA84C}" dt="2023-05-19T12:40:22.854" v="8640" actId="478"/>
          <ac:spMkLst>
            <pc:docMk/>
            <pc:sldMk cId="3997391863" sldId="2147480987"/>
            <ac:spMk id="78" creationId="{AB176E6A-7BE4-1B17-5E83-9C904FC9C5D8}"/>
          </ac:spMkLst>
        </pc:spChg>
        <pc:spChg chg="del">
          <ac:chgData name="Gouldsbury, Brian" userId="38f05b2e-fac1-4f2f-9dd8-c5800f9e0066" providerId="ADAL" clId="{ABFD28E4-D12C-46D3-8241-101A03BAA84C}" dt="2023-05-19T12:40:22.854" v="8640" actId="478"/>
          <ac:spMkLst>
            <pc:docMk/>
            <pc:sldMk cId="3997391863" sldId="2147480987"/>
            <ac:spMk id="86" creationId="{334CD500-0906-0368-E25A-0974E2E0806A}"/>
          </ac:spMkLst>
        </pc:spChg>
        <pc:spChg chg="del">
          <ac:chgData name="Gouldsbury, Brian" userId="38f05b2e-fac1-4f2f-9dd8-c5800f9e0066" providerId="ADAL" clId="{ABFD28E4-D12C-46D3-8241-101A03BAA84C}" dt="2023-05-19T12:40:22.854" v="8640" actId="478"/>
          <ac:spMkLst>
            <pc:docMk/>
            <pc:sldMk cId="3997391863" sldId="2147480987"/>
            <ac:spMk id="87" creationId="{C122C785-83DF-440F-CF11-481A059DD924}"/>
          </ac:spMkLst>
        </pc:spChg>
        <pc:spChg chg="del">
          <ac:chgData name="Gouldsbury, Brian" userId="38f05b2e-fac1-4f2f-9dd8-c5800f9e0066" providerId="ADAL" clId="{ABFD28E4-D12C-46D3-8241-101A03BAA84C}" dt="2023-05-19T12:40:22.854" v="8640" actId="478"/>
          <ac:spMkLst>
            <pc:docMk/>
            <pc:sldMk cId="3997391863" sldId="2147480987"/>
            <ac:spMk id="89" creationId="{7FF49C1B-EFAF-523D-3FD2-D6BEEF43D456}"/>
          </ac:spMkLst>
        </pc:spChg>
        <pc:spChg chg="del">
          <ac:chgData name="Gouldsbury, Brian" userId="38f05b2e-fac1-4f2f-9dd8-c5800f9e0066" providerId="ADAL" clId="{ABFD28E4-D12C-46D3-8241-101A03BAA84C}" dt="2023-05-19T12:40:22.854" v="8640" actId="478"/>
          <ac:spMkLst>
            <pc:docMk/>
            <pc:sldMk cId="3997391863" sldId="2147480987"/>
            <ac:spMk id="90" creationId="{C2BEE1E7-5203-5333-1B1B-41DF45C8445A}"/>
          </ac:spMkLst>
        </pc:spChg>
        <pc:spChg chg="del">
          <ac:chgData name="Gouldsbury, Brian" userId="38f05b2e-fac1-4f2f-9dd8-c5800f9e0066" providerId="ADAL" clId="{ABFD28E4-D12C-46D3-8241-101A03BAA84C}" dt="2023-05-19T12:40:22.854" v="8640" actId="478"/>
          <ac:spMkLst>
            <pc:docMk/>
            <pc:sldMk cId="3997391863" sldId="2147480987"/>
            <ac:spMk id="91" creationId="{0E1D1DD1-BB10-209F-15A9-A8DC3CC00424}"/>
          </ac:spMkLst>
        </pc:spChg>
        <pc:grpChg chg="add mod">
          <ac:chgData name="Gouldsbury, Brian" userId="38f05b2e-fac1-4f2f-9dd8-c5800f9e0066" providerId="ADAL" clId="{ABFD28E4-D12C-46D3-8241-101A03BAA84C}" dt="2023-05-22T09:03:47.766" v="12405" actId="12788"/>
          <ac:grpSpMkLst>
            <pc:docMk/>
            <pc:sldMk cId="3997391863" sldId="2147480987"/>
            <ac:grpSpMk id="19" creationId="{6837F1D0-72B5-89F9-1EED-B0FCD2DCB4BE}"/>
          </ac:grpSpMkLst>
        </pc:grpChg>
        <pc:grpChg chg="del">
          <ac:chgData name="Gouldsbury, Brian" userId="38f05b2e-fac1-4f2f-9dd8-c5800f9e0066" providerId="ADAL" clId="{ABFD28E4-D12C-46D3-8241-101A03BAA84C}" dt="2023-05-19T12:51:26.137" v="9647" actId="478"/>
          <ac:grpSpMkLst>
            <pc:docMk/>
            <pc:sldMk cId="3997391863" sldId="2147480987"/>
            <ac:grpSpMk id="58" creationId="{13145C66-0A60-2F6B-FF5F-B884D462722B}"/>
          </ac:grpSpMkLst>
        </pc:grpChg>
        <pc:grpChg chg="del">
          <ac:chgData name="Gouldsbury, Brian" userId="38f05b2e-fac1-4f2f-9dd8-c5800f9e0066" providerId="ADAL" clId="{ABFD28E4-D12C-46D3-8241-101A03BAA84C}" dt="2023-05-19T12:40:22.854" v="8640" actId="478"/>
          <ac:grpSpMkLst>
            <pc:docMk/>
            <pc:sldMk cId="3997391863" sldId="2147480987"/>
            <ac:grpSpMk id="75" creationId="{2A0A6F3A-FA13-40B6-B789-B612294D4A2E}"/>
          </ac:grpSpMkLst>
        </pc:grpChg>
        <pc:grpChg chg="del">
          <ac:chgData name="Gouldsbury, Brian" userId="38f05b2e-fac1-4f2f-9dd8-c5800f9e0066" providerId="ADAL" clId="{ABFD28E4-D12C-46D3-8241-101A03BAA84C}" dt="2023-05-19T12:40:22.854" v="8640" actId="478"/>
          <ac:grpSpMkLst>
            <pc:docMk/>
            <pc:sldMk cId="3997391863" sldId="2147480987"/>
            <ac:grpSpMk id="76" creationId="{2C3C3D8B-C3A7-E2E1-F9FA-536F1C2051F6}"/>
          </ac:grpSpMkLst>
        </pc:grpChg>
        <pc:grpChg chg="del">
          <ac:chgData name="Gouldsbury, Brian" userId="38f05b2e-fac1-4f2f-9dd8-c5800f9e0066" providerId="ADAL" clId="{ABFD28E4-D12C-46D3-8241-101A03BAA84C}" dt="2023-05-19T12:40:22.854" v="8640" actId="478"/>
          <ac:grpSpMkLst>
            <pc:docMk/>
            <pc:sldMk cId="3997391863" sldId="2147480987"/>
            <ac:grpSpMk id="77" creationId="{C20C05F1-64BC-853C-6C9F-1B04425634E6}"/>
          </ac:grpSpMkLst>
        </pc:grpChg>
        <pc:graphicFrameChg chg="mod">
          <ac:chgData name="Gouldsbury, Brian" userId="38f05b2e-fac1-4f2f-9dd8-c5800f9e0066" providerId="ADAL" clId="{ABFD28E4-D12C-46D3-8241-101A03BAA84C}" dt="2023-05-22T08:52:49.236" v="12056"/>
          <ac:graphicFrameMkLst>
            <pc:docMk/>
            <pc:sldMk cId="3997391863" sldId="2147480987"/>
            <ac:graphicFrameMk id="27" creationId="{2EC39C54-9427-BC00-7699-806ECB64BA11}"/>
          </ac:graphicFrameMkLst>
        </pc:graphicFrameChg>
        <pc:picChg chg="add mod modCrop">
          <ac:chgData name="Gouldsbury, Brian" userId="38f05b2e-fac1-4f2f-9dd8-c5800f9e0066" providerId="ADAL" clId="{ABFD28E4-D12C-46D3-8241-101A03BAA84C}" dt="2023-05-22T09:03:47.766" v="12405" actId="12788"/>
          <ac:picMkLst>
            <pc:docMk/>
            <pc:sldMk cId="3997391863" sldId="2147480987"/>
            <ac:picMk id="14" creationId="{8DAB3C43-B3A4-C87C-D855-0DA67D946BB8}"/>
          </ac:picMkLst>
        </pc:picChg>
        <pc:picChg chg="add mod">
          <ac:chgData name="Gouldsbury, Brian" userId="38f05b2e-fac1-4f2f-9dd8-c5800f9e0066" providerId="ADAL" clId="{ABFD28E4-D12C-46D3-8241-101A03BAA84C}" dt="2023-05-22T09:03:47.766" v="12405" actId="12788"/>
          <ac:picMkLst>
            <pc:docMk/>
            <pc:sldMk cId="3997391863" sldId="2147480987"/>
            <ac:picMk id="2054" creationId="{91321A87-AF50-DA52-83EA-A2D89883EDBE}"/>
          </ac:picMkLst>
        </pc:picChg>
      </pc:sldChg>
      <pc:sldChg chg="addSp delSp modSp add mod modTransition">
        <pc:chgData name="Gouldsbury, Brian" userId="38f05b2e-fac1-4f2f-9dd8-c5800f9e0066" providerId="ADAL" clId="{ABFD28E4-D12C-46D3-8241-101A03BAA84C}" dt="2023-05-23T12:31:03.044" v="14248" actId="1035"/>
        <pc:sldMkLst>
          <pc:docMk/>
          <pc:sldMk cId="1572260378" sldId="2147480988"/>
        </pc:sldMkLst>
        <pc:spChg chg="add del mod ord">
          <ac:chgData name="Gouldsbury, Brian" userId="38f05b2e-fac1-4f2f-9dd8-c5800f9e0066" providerId="ADAL" clId="{ABFD28E4-D12C-46D3-8241-101A03BAA84C}" dt="2023-05-22T09:40:32.963" v="13951" actId="478"/>
          <ac:spMkLst>
            <pc:docMk/>
            <pc:sldMk cId="1572260378" sldId="2147480988"/>
            <ac:spMk id="2" creationId="{6DE5E596-BDDD-D374-A717-32BFC395CAD9}"/>
          </ac:spMkLst>
        </pc:spChg>
        <pc:spChg chg="del">
          <ac:chgData name="Gouldsbury, Brian" userId="38f05b2e-fac1-4f2f-9dd8-c5800f9e0066" providerId="ADAL" clId="{ABFD28E4-D12C-46D3-8241-101A03BAA84C}" dt="2023-05-22T09:09:46.877" v="12408" actId="478"/>
          <ac:spMkLst>
            <pc:docMk/>
            <pc:sldMk cId="1572260378" sldId="2147480988"/>
            <ac:spMk id="3" creationId="{5A5FC402-141E-21AF-0E01-EF3A9773A4BE}"/>
          </ac:spMkLst>
        </pc:spChg>
        <pc:spChg chg="del">
          <ac:chgData name="Gouldsbury, Brian" userId="38f05b2e-fac1-4f2f-9dd8-c5800f9e0066" providerId="ADAL" clId="{ABFD28E4-D12C-46D3-8241-101A03BAA84C}" dt="2023-05-22T09:09:46.877" v="12408" actId="478"/>
          <ac:spMkLst>
            <pc:docMk/>
            <pc:sldMk cId="1572260378" sldId="2147480988"/>
            <ac:spMk id="6" creationId="{CB4BD29D-5A3F-4272-2AD8-B62C7DE24BFD}"/>
          </ac:spMkLst>
        </pc:spChg>
        <pc:spChg chg="del">
          <ac:chgData name="Gouldsbury, Brian" userId="38f05b2e-fac1-4f2f-9dd8-c5800f9e0066" providerId="ADAL" clId="{ABFD28E4-D12C-46D3-8241-101A03BAA84C}" dt="2023-05-22T09:09:46.877" v="12408" actId="478"/>
          <ac:spMkLst>
            <pc:docMk/>
            <pc:sldMk cId="1572260378" sldId="2147480988"/>
            <ac:spMk id="8" creationId="{0EEAA9CE-A83A-B08F-4EA3-105FEF22CDA4}"/>
          </ac:spMkLst>
        </pc:spChg>
        <pc:spChg chg="add mod ord">
          <ac:chgData name="Gouldsbury, Brian" userId="38f05b2e-fac1-4f2f-9dd8-c5800f9e0066" providerId="ADAL" clId="{ABFD28E4-D12C-46D3-8241-101A03BAA84C}" dt="2023-05-22T09:19:33.489" v="12739"/>
          <ac:spMkLst>
            <pc:docMk/>
            <pc:sldMk cId="1572260378" sldId="2147480988"/>
            <ac:spMk id="9" creationId="{2784D243-FD99-89CE-9998-AAD65E832B81}"/>
          </ac:spMkLst>
        </pc:spChg>
        <pc:spChg chg="add mod ord">
          <ac:chgData name="Gouldsbury, Brian" userId="38f05b2e-fac1-4f2f-9dd8-c5800f9e0066" providerId="ADAL" clId="{ABFD28E4-D12C-46D3-8241-101A03BAA84C}" dt="2023-05-22T09:40:44.472" v="13985" actId="1035"/>
          <ac:spMkLst>
            <pc:docMk/>
            <pc:sldMk cId="1572260378" sldId="2147480988"/>
            <ac:spMk id="15" creationId="{49CA6E67-704D-8F2E-E95C-C20F1E5F6796}"/>
          </ac:spMkLst>
        </pc:spChg>
        <pc:spChg chg="add mod ord">
          <ac:chgData name="Gouldsbury, Brian" userId="38f05b2e-fac1-4f2f-9dd8-c5800f9e0066" providerId="ADAL" clId="{ABFD28E4-D12C-46D3-8241-101A03BAA84C}" dt="2023-05-22T09:40:57.224" v="14034" actId="1035"/>
          <ac:spMkLst>
            <pc:docMk/>
            <pc:sldMk cId="1572260378" sldId="2147480988"/>
            <ac:spMk id="22" creationId="{6370F110-EBC2-CEB3-41D5-596280FFDA05}"/>
          </ac:spMkLst>
        </pc:spChg>
        <pc:spChg chg="add mod ord">
          <ac:chgData name="Gouldsbury, Brian" userId="38f05b2e-fac1-4f2f-9dd8-c5800f9e0066" providerId="ADAL" clId="{ABFD28E4-D12C-46D3-8241-101A03BAA84C}" dt="2023-05-22T09:40:57.224" v="14034" actId="1035"/>
          <ac:spMkLst>
            <pc:docMk/>
            <pc:sldMk cId="1572260378" sldId="2147480988"/>
            <ac:spMk id="23" creationId="{455C3EDA-1784-5F8B-7D82-CB995FA15BEC}"/>
          </ac:spMkLst>
        </pc:spChg>
        <pc:spChg chg="add mod ord">
          <ac:chgData name="Gouldsbury, Brian" userId="38f05b2e-fac1-4f2f-9dd8-c5800f9e0066" providerId="ADAL" clId="{ABFD28E4-D12C-46D3-8241-101A03BAA84C}" dt="2023-05-22T09:40:44.472" v="13985" actId="1035"/>
          <ac:spMkLst>
            <pc:docMk/>
            <pc:sldMk cId="1572260378" sldId="2147480988"/>
            <ac:spMk id="29" creationId="{504D7651-459E-7F5E-4BDB-F8367EA87CCC}"/>
          </ac:spMkLst>
        </pc:spChg>
        <pc:spChg chg="add del mod ord">
          <ac:chgData name="Gouldsbury, Brian" userId="38f05b2e-fac1-4f2f-9dd8-c5800f9e0066" providerId="ADAL" clId="{ABFD28E4-D12C-46D3-8241-101A03BAA84C}" dt="2023-05-22T09:29:17.169" v="13261" actId="478"/>
          <ac:spMkLst>
            <pc:docMk/>
            <pc:sldMk cId="1572260378" sldId="2147480988"/>
            <ac:spMk id="30" creationId="{2F188082-DED2-E5DE-D9E6-21D3B9C0414A}"/>
          </ac:spMkLst>
        </pc:spChg>
        <pc:spChg chg="add del mod ord">
          <ac:chgData name="Gouldsbury, Brian" userId="38f05b2e-fac1-4f2f-9dd8-c5800f9e0066" providerId="ADAL" clId="{ABFD28E4-D12C-46D3-8241-101A03BAA84C}" dt="2023-05-22T09:29:18.589" v="13262" actId="478"/>
          <ac:spMkLst>
            <pc:docMk/>
            <pc:sldMk cId="1572260378" sldId="2147480988"/>
            <ac:spMk id="34" creationId="{B58E4EE3-00A4-A71C-4A7E-0947E0CE0993}"/>
          </ac:spMkLst>
        </pc:spChg>
        <pc:spChg chg="del">
          <ac:chgData name="Gouldsbury, Brian" userId="38f05b2e-fac1-4f2f-9dd8-c5800f9e0066" providerId="ADAL" clId="{ABFD28E4-D12C-46D3-8241-101A03BAA84C}" dt="2023-05-22T09:09:46.877" v="12408" actId="478"/>
          <ac:spMkLst>
            <pc:docMk/>
            <pc:sldMk cId="1572260378" sldId="2147480988"/>
            <ac:spMk id="35" creationId="{EFABE2CE-C38E-3D9E-81D7-1A8AB92C6AC2}"/>
          </ac:spMkLst>
        </pc:spChg>
        <pc:spChg chg="add del mod ord">
          <ac:chgData name="Gouldsbury, Brian" userId="38f05b2e-fac1-4f2f-9dd8-c5800f9e0066" providerId="ADAL" clId="{ABFD28E4-D12C-46D3-8241-101A03BAA84C}" dt="2023-05-22T09:29:19.421" v="13263" actId="478"/>
          <ac:spMkLst>
            <pc:docMk/>
            <pc:sldMk cId="1572260378" sldId="2147480988"/>
            <ac:spMk id="37" creationId="{3DC79BC4-A61C-2B0A-3E4E-43A9DAE91E46}"/>
          </ac:spMkLst>
        </pc:spChg>
        <pc:spChg chg="add del mod ord">
          <ac:chgData name="Gouldsbury, Brian" userId="38f05b2e-fac1-4f2f-9dd8-c5800f9e0066" providerId="ADAL" clId="{ABFD28E4-D12C-46D3-8241-101A03BAA84C}" dt="2023-05-22T09:29:20.928" v="13264" actId="478"/>
          <ac:spMkLst>
            <pc:docMk/>
            <pc:sldMk cId="1572260378" sldId="2147480988"/>
            <ac:spMk id="38" creationId="{83904851-5FE0-68D2-4425-D156694AC39A}"/>
          </ac:spMkLst>
        </pc:spChg>
        <pc:spChg chg="add del mod">
          <ac:chgData name="Gouldsbury, Brian" userId="38f05b2e-fac1-4f2f-9dd8-c5800f9e0066" providerId="ADAL" clId="{ABFD28E4-D12C-46D3-8241-101A03BAA84C}" dt="2023-05-22T09:17:24.115" v="12605" actId="478"/>
          <ac:spMkLst>
            <pc:docMk/>
            <pc:sldMk cId="1572260378" sldId="2147480988"/>
            <ac:spMk id="39" creationId="{D1EC585E-392E-4FF9-5200-9E06205A7C58}"/>
          </ac:spMkLst>
        </pc:spChg>
        <pc:spChg chg="add del mod ord">
          <ac:chgData name="Gouldsbury, Brian" userId="38f05b2e-fac1-4f2f-9dd8-c5800f9e0066" providerId="ADAL" clId="{ABFD28E4-D12C-46D3-8241-101A03BAA84C}" dt="2023-05-22T09:29:21.865" v="13265" actId="478"/>
          <ac:spMkLst>
            <pc:docMk/>
            <pc:sldMk cId="1572260378" sldId="2147480988"/>
            <ac:spMk id="40" creationId="{27E8484C-4FB0-A5F8-3076-206AEA3258D5}"/>
          </ac:spMkLst>
        </pc:spChg>
        <pc:spChg chg="add del mod">
          <ac:chgData name="Gouldsbury, Brian" userId="38f05b2e-fac1-4f2f-9dd8-c5800f9e0066" providerId="ADAL" clId="{ABFD28E4-D12C-46D3-8241-101A03BAA84C}" dt="2023-05-22T09:19:21.584" v="12694" actId="478"/>
          <ac:spMkLst>
            <pc:docMk/>
            <pc:sldMk cId="1572260378" sldId="2147480988"/>
            <ac:spMk id="41" creationId="{36ECC136-2401-540D-BB0A-75BCB1DB1A2B}"/>
          </ac:spMkLst>
        </pc:spChg>
        <pc:spChg chg="add mod ord">
          <ac:chgData name="Gouldsbury, Brian" userId="38f05b2e-fac1-4f2f-9dd8-c5800f9e0066" providerId="ADAL" clId="{ABFD28E4-D12C-46D3-8241-101A03BAA84C}" dt="2023-05-22T09:40:44.472" v="13985" actId="1035"/>
          <ac:spMkLst>
            <pc:docMk/>
            <pc:sldMk cId="1572260378" sldId="2147480988"/>
            <ac:spMk id="42" creationId="{3991CAB5-0622-07BC-7460-D67EA453A789}"/>
          </ac:spMkLst>
        </pc:spChg>
        <pc:spChg chg="add mod ord">
          <ac:chgData name="Gouldsbury, Brian" userId="38f05b2e-fac1-4f2f-9dd8-c5800f9e0066" providerId="ADAL" clId="{ABFD28E4-D12C-46D3-8241-101A03BAA84C}" dt="2023-05-22T09:40:44.472" v="13985" actId="1035"/>
          <ac:spMkLst>
            <pc:docMk/>
            <pc:sldMk cId="1572260378" sldId="2147480988"/>
            <ac:spMk id="44" creationId="{9067A477-767D-8644-C9EE-7BD36BDF1E44}"/>
          </ac:spMkLst>
        </pc:spChg>
        <pc:spChg chg="add del mod modVis">
          <ac:chgData name="Gouldsbury, Brian" userId="38f05b2e-fac1-4f2f-9dd8-c5800f9e0066" providerId="ADAL" clId="{ABFD28E4-D12C-46D3-8241-101A03BAA84C}" dt="2023-05-22T09:19:33.498" v="12777"/>
          <ac:spMkLst>
            <pc:docMk/>
            <pc:sldMk cId="1572260378" sldId="2147480988"/>
            <ac:spMk id="45" creationId="{C501752F-32E8-9023-D41F-EB6B1346203F}"/>
          </ac:spMkLst>
        </pc:spChg>
        <pc:spChg chg="add mod">
          <ac:chgData name="Gouldsbury, Brian" userId="38f05b2e-fac1-4f2f-9dd8-c5800f9e0066" providerId="ADAL" clId="{ABFD28E4-D12C-46D3-8241-101A03BAA84C}" dt="2023-05-23T12:30:38.520" v="14216" actId="14100"/>
          <ac:spMkLst>
            <pc:docMk/>
            <pc:sldMk cId="1572260378" sldId="2147480988"/>
            <ac:spMk id="46" creationId="{A0C1AFE0-4FA4-29BC-6360-0E8044252906}"/>
          </ac:spMkLst>
        </pc:spChg>
        <pc:spChg chg="add mod">
          <ac:chgData name="Gouldsbury, Brian" userId="38f05b2e-fac1-4f2f-9dd8-c5800f9e0066" providerId="ADAL" clId="{ABFD28E4-D12C-46D3-8241-101A03BAA84C}" dt="2023-05-23T12:30:42.620" v="14234" actId="1038"/>
          <ac:spMkLst>
            <pc:docMk/>
            <pc:sldMk cId="1572260378" sldId="2147480988"/>
            <ac:spMk id="47" creationId="{A0EBB575-DF4B-583D-39D7-B5EC80450ADE}"/>
          </ac:spMkLst>
        </pc:spChg>
        <pc:spChg chg="add mod">
          <ac:chgData name="Gouldsbury, Brian" userId="38f05b2e-fac1-4f2f-9dd8-c5800f9e0066" providerId="ADAL" clId="{ABFD28E4-D12C-46D3-8241-101A03BAA84C}" dt="2023-05-22T09:20:53.214" v="12813" actId="14100"/>
          <ac:spMkLst>
            <pc:docMk/>
            <pc:sldMk cId="1572260378" sldId="2147480988"/>
            <ac:spMk id="48" creationId="{F4A12FC9-2FE0-9E9F-3E9A-5B890E725EDE}"/>
          </ac:spMkLst>
        </pc:spChg>
        <pc:spChg chg="add mod">
          <ac:chgData name="Gouldsbury, Brian" userId="38f05b2e-fac1-4f2f-9dd8-c5800f9e0066" providerId="ADAL" clId="{ABFD28E4-D12C-46D3-8241-101A03BAA84C}" dt="2023-05-22T09:25:05.133" v="12905" actId="1076"/>
          <ac:spMkLst>
            <pc:docMk/>
            <pc:sldMk cId="1572260378" sldId="2147480988"/>
            <ac:spMk id="49" creationId="{ADE5A9EC-EEAF-D0EB-6B34-C72C44693765}"/>
          </ac:spMkLst>
        </pc:spChg>
        <pc:spChg chg="add mod">
          <ac:chgData name="Gouldsbury, Brian" userId="38f05b2e-fac1-4f2f-9dd8-c5800f9e0066" providerId="ADAL" clId="{ABFD28E4-D12C-46D3-8241-101A03BAA84C}" dt="2023-05-22T09:40:57.224" v="14034" actId="1035"/>
          <ac:spMkLst>
            <pc:docMk/>
            <pc:sldMk cId="1572260378" sldId="2147480988"/>
            <ac:spMk id="50" creationId="{19091597-08EF-257A-3481-F34E1DE3D796}"/>
          </ac:spMkLst>
        </pc:spChg>
        <pc:spChg chg="add mod">
          <ac:chgData name="Gouldsbury, Brian" userId="38f05b2e-fac1-4f2f-9dd8-c5800f9e0066" providerId="ADAL" clId="{ABFD28E4-D12C-46D3-8241-101A03BAA84C}" dt="2023-05-22T09:40:57.224" v="14034" actId="1035"/>
          <ac:spMkLst>
            <pc:docMk/>
            <pc:sldMk cId="1572260378" sldId="2147480988"/>
            <ac:spMk id="51" creationId="{74A0F897-B734-CC56-72ED-E4D68F2D5635}"/>
          </ac:spMkLst>
        </pc:spChg>
        <pc:spChg chg="add del mod">
          <ac:chgData name="Gouldsbury, Brian" userId="38f05b2e-fac1-4f2f-9dd8-c5800f9e0066" providerId="ADAL" clId="{ABFD28E4-D12C-46D3-8241-101A03BAA84C}" dt="2023-05-22T09:24:50.503" v="12899"/>
          <ac:spMkLst>
            <pc:docMk/>
            <pc:sldMk cId="1572260378" sldId="2147480988"/>
            <ac:spMk id="52" creationId="{7488DB58-5516-83B5-D852-6357337DC003}"/>
          </ac:spMkLst>
        </pc:spChg>
        <pc:spChg chg="add del mod">
          <ac:chgData name="Gouldsbury, Brian" userId="38f05b2e-fac1-4f2f-9dd8-c5800f9e0066" providerId="ADAL" clId="{ABFD28E4-D12C-46D3-8241-101A03BAA84C}" dt="2023-05-22T09:24:50.503" v="12899"/>
          <ac:spMkLst>
            <pc:docMk/>
            <pc:sldMk cId="1572260378" sldId="2147480988"/>
            <ac:spMk id="53" creationId="{97C6A9E5-566D-281D-E10D-4F8277016109}"/>
          </ac:spMkLst>
        </pc:spChg>
        <pc:spChg chg="add del mod">
          <ac:chgData name="Gouldsbury, Brian" userId="38f05b2e-fac1-4f2f-9dd8-c5800f9e0066" providerId="ADAL" clId="{ABFD28E4-D12C-46D3-8241-101A03BAA84C}" dt="2023-05-22T09:25:00.507" v="12901"/>
          <ac:spMkLst>
            <pc:docMk/>
            <pc:sldMk cId="1572260378" sldId="2147480988"/>
            <ac:spMk id="54" creationId="{68A06704-FEB7-BA89-EFE1-73BA70BE828C}"/>
          </ac:spMkLst>
        </pc:spChg>
        <pc:spChg chg="add mod">
          <ac:chgData name="Gouldsbury, Brian" userId="38f05b2e-fac1-4f2f-9dd8-c5800f9e0066" providerId="ADAL" clId="{ABFD28E4-D12C-46D3-8241-101A03BAA84C}" dt="2023-05-22T09:40:44.472" v="13985" actId="1035"/>
          <ac:spMkLst>
            <pc:docMk/>
            <pc:sldMk cId="1572260378" sldId="2147480988"/>
            <ac:spMk id="55" creationId="{6D1080F8-AF4D-D137-7DB2-F9CDF3F22587}"/>
          </ac:spMkLst>
        </pc:spChg>
        <pc:spChg chg="add mod">
          <ac:chgData name="Gouldsbury, Brian" userId="38f05b2e-fac1-4f2f-9dd8-c5800f9e0066" providerId="ADAL" clId="{ABFD28E4-D12C-46D3-8241-101A03BAA84C}" dt="2023-05-22T09:40:44.472" v="13985" actId="1035"/>
          <ac:spMkLst>
            <pc:docMk/>
            <pc:sldMk cId="1572260378" sldId="2147480988"/>
            <ac:spMk id="56" creationId="{C405D416-DEE9-41D0-3C4B-A60A09366184}"/>
          </ac:spMkLst>
        </pc:spChg>
        <pc:spChg chg="add del mod">
          <ac:chgData name="Gouldsbury, Brian" userId="38f05b2e-fac1-4f2f-9dd8-c5800f9e0066" providerId="ADAL" clId="{ABFD28E4-D12C-46D3-8241-101A03BAA84C}" dt="2023-05-22T09:26:28.850" v="12969"/>
          <ac:spMkLst>
            <pc:docMk/>
            <pc:sldMk cId="1572260378" sldId="2147480988"/>
            <ac:spMk id="57" creationId="{448D7108-C828-0877-EB8B-963C76BB9198}"/>
          </ac:spMkLst>
        </pc:spChg>
        <pc:spChg chg="add del mod">
          <ac:chgData name="Gouldsbury, Brian" userId="38f05b2e-fac1-4f2f-9dd8-c5800f9e0066" providerId="ADAL" clId="{ABFD28E4-D12C-46D3-8241-101A03BAA84C}" dt="2023-05-22T09:26:28.850" v="12969"/>
          <ac:spMkLst>
            <pc:docMk/>
            <pc:sldMk cId="1572260378" sldId="2147480988"/>
            <ac:spMk id="58" creationId="{E29A1D7C-0A57-B2D1-3695-79885948632E}"/>
          </ac:spMkLst>
        </pc:spChg>
        <pc:spChg chg="add mod">
          <ac:chgData name="Gouldsbury, Brian" userId="38f05b2e-fac1-4f2f-9dd8-c5800f9e0066" providerId="ADAL" clId="{ABFD28E4-D12C-46D3-8241-101A03BAA84C}" dt="2023-05-23T12:31:03.044" v="14248" actId="1035"/>
          <ac:spMkLst>
            <pc:docMk/>
            <pc:sldMk cId="1572260378" sldId="2147480988"/>
            <ac:spMk id="59" creationId="{0BCBB8DF-079B-DD08-EB90-49D77F0FAF73}"/>
          </ac:spMkLst>
        </pc:spChg>
        <pc:spChg chg="add mod">
          <ac:chgData name="Gouldsbury, Brian" userId="38f05b2e-fac1-4f2f-9dd8-c5800f9e0066" providerId="ADAL" clId="{ABFD28E4-D12C-46D3-8241-101A03BAA84C}" dt="2023-05-23T12:31:03.044" v="14248" actId="1035"/>
          <ac:spMkLst>
            <pc:docMk/>
            <pc:sldMk cId="1572260378" sldId="2147480988"/>
            <ac:spMk id="60" creationId="{8AA98BE3-4EF6-00A7-5E55-54CE957CA462}"/>
          </ac:spMkLst>
        </pc:spChg>
        <pc:spChg chg="add mod">
          <ac:chgData name="Gouldsbury, Brian" userId="38f05b2e-fac1-4f2f-9dd8-c5800f9e0066" providerId="ADAL" clId="{ABFD28E4-D12C-46D3-8241-101A03BAA84C}" dt="2023-05-23T12:31:03.044" v="14248" actId="1035"/>
          <ac:spMkLst>
            <pc:docMk/>
            <pc:sldMk cId="1572260378" sldId="2147480988"/>
            <ac:spMk id="61" creationId="{652E3D29-D2C4-DE31-5AE8-67276287040B}"/>
          </ac:spMkLst>
        </pc:spChg>
        <pc:spChg chg="add mod">
          <ac:chgData name="Gouldsbury, Brian" userId="38f05b2e-fac1-4f2f-9dd8-c5800f9e0066" providerId="ADAL" clId="{ABFD28E4-D12C-46D3-8241-101A03BAA84C}" dt="2023-05-23T12:31:03.044" v="14248" actId="1035"/>
          <ac:spMkLst>
            <pc:docMk/>
            <pc:sldMk cId="1572260378" sldId="2147480988"/>
            <ac:spMk id="62" creationId="{FD396079-9481-1CD7-674D-8DFAD1968EC3}"/>
          </ac:spMkLst>
        </pc:spChg>
        <pc:spChg chg="add mod">
          <ac:chgData name="Gouldsbury, Brian" userId="38f05b2e-fac1-4f2f-9dd8-c5800f9e0066" providerId="ADAL" clId="{ABFD28E4-D12C-46D3-8241-101A03BAA84C}" dt="2023-05-22T09:40:44.472" v="13985" actId="1035"/>
          <ac:spMkLst>
            <pc:docMk/>
            <pc:sldMk cId="1572260378" sldId="2147480988"/>
            <ac:spMk id="63" creationId="{E4A3433C-F448-E4F5-3286-9256B46B37F6}"/>
          </ac:spMkLst>
        </pc:spChg>
        <pc:spChg chg="add del mod">
          <ac:chgData name="Gouldsbury, Brian" userId="38f05b2e-fac1-4f2f-9dd8-c5800f9e0066" providerId="ADAL" clId="{ABFD28E4-D12C-46D3-8241-101A03BAA84C}" dt="2023-05-22T09:28:41.368" v="13206" actId="478"/>
          <ac:spMkLst>
            <pc:docMk/>
            <pc:sldMk cId="1572260378" sldId="2147480988"/>
            <ac:spMk id="64" creationId="{8203B40F-4C9C-507A-E928-149072C35724}"/>
          </ac:spMkLst>
        </pc:spChg>
        <pc:spChg chg="add mod">
          <ac:chgData name="Gouldsbury, Brian" userId="38f05b2e-fac1-4f2f-9dd8-c5800f9e0066" providerId="ADAL" clId="{ABFD28E4-D12C-46D3-8241-101A03BAA84C}" dt="2023-05-22T09:40:44.472" v="13985" actId="1035"/>
          <ac:spMkLst>
            <pc:docMk/>
            <pc:sldMk cId="1572260378" sldId="2147480988"/>
            <ac:spMk id="65" creationId="{1157DE6E-75D3-E9BE-37B0-6210ADC2B4E4}"/>
          </ac:spMkLst>
        </pc:spChg>
        <pc:spChg chg="add mod">
          <ac:chgData name="Gouldsbury, Brian" userId="38f05b2e-fac1-4f2f-9dd8-c5800f9e0066" providerId="ADAL" clId="{ABFD28E4-D12C-46D3-8241-101A03BAA84C}" dt="2023-05-22T09:40:44.472" v="13985" actId="1035"/>
          <ac:spMkLst>
            <pc:docMk/>
            <pc:sldMk cId="1572260378" sldId="2147480988"/>
            <ac:spMk id="66" creationId="{1B9CBF09-8F88-0F90-5F08-CEBB966EB43E}"/>
          </ac:spMkLst>
        </pc:spChg>
        <pc:spChg chg="add mod">
          <ac:chgData name="Gouldsbury, Brian" userId="38f05b2e-fac1-4f2f-9dd8-c5800f9e0066" providerId="ADAL" clId="{ABFD28E4-D12C-46D3-8241-101A03BAA84C}" dt="2023-05-22T09:40:44.472" v="13985" actId="1035"/>
          <ac:spMkLst>
            <pc:docMk/>
            <pc:sldMk cId="1572260378" sldId="2147480988"/>
            <ac:spMk id="67" creationId="{891E290F-5EB8-34ED-AE15-6621AF9B69C7}"/>
          </ac:spMkLst>
        </pc:spChg>
        <pc:spChg chg="add mod">
          <ac:chgData name="Gouldsbury, Brian" userId="38f05b2e-fac1-4f2f-9dd8-c5800f9e0066" providerId="ADAL" clId="{ABFD28E4-D12C-46D3-8241-101A03BAA84C}" dt="2023-05-22T09:38:15.988" v="13315" actId="164"/>
          <ac:spMkLst>
            <pc:docMk/>
            <pc:sldMk cId="1572260378" sldId="2147480988"/>
            <ac:spMk id="70" creationId="{979F008D-1A8C-2C87-B122-4ECBF498BA8B}"/>
          </ac:spMkLst>
        </pc:spChg>
        <pc:spChg chg="del">
          <ac:chgData name="Gouldsbury, Brian" userId="38f05b2e-fac1-4f2f-9dd8-c5800f9e0066" providerId="ADAL" clId="{ABFD28E4-D12C-46D3-8241-101A03BAA84C}" dt="2023-05-22T09:09:46.877" v="12408" actId="478"/>
          <ac:spMkLst>
            <pc:docMk/>
            <pc:sldMk cId="1572260378" sldId="2147480988"/>
            <ac:spMk id="72" creationId="{0148702A-04C8-F9EF-66E4-96017883D27F}"/>
          </ac:spMkLst>
        </pc:spChg>
        <pc:spChg chg="add del mod">
          <ac:chgData name="Gouldsbury, Brian" userId="38f05b2e-fac1-4f2f-9dd8-c5800f9e0066" providerId="ADAL" clId="{ABFD28E4-D12C-46D3-8241-101A03BAA84C}" dt="2023-05-22T09:40:35.080" v="13958" actId="478"/>
          <ac:spMkLst>
            <pc:docMk/>
            <pc:sldMk cId="1572260378" sldId="2147480988"/>
            <ac:spMk id="79" creationId="{66068D60-6C78-9346-476A-8E1227D3E2F9}"/>
          </ac:spMkLst>
        </pc:spChg>
        <pc:spChg chg="del">
          <ac:chgData name="Gouldsbury, Brian" userId="38f05b2e-fac1-4f2f-9dd8-c5800f9e0066" providerId="ADAL" clId="{ABFD28E4-D12C-46D3-8241-101A03BAA84C}" dt="2023-05-22T09:09:46.877" v="12408" actId="478"/>
          <ac:spMkLst>
            <pc:docMk/>
            <pc:sldMk cId="1572260378" sldId="2147480988"/>
            <ac:spMk id="86" creationId="{334CD500-0906-0368-E25A-0974E2E0806A}"/>
          </ac:spMkLst>
        </pc:spChg>
        <pc:spChg chg="del">
          <ac:chgData name="Gouldsbury, Brian" userId="38f05b2e-fac1-4f2f-9dd8-c5800f9e0066" providerId="ADAL" clId="{ABFD28E4-D12C-46D3-8241-101A03BAA84C}" dt="2023-05-22T09:09:46.877" v="12408" actId="478"/>
          <ac:spMkLst>
            <pc:docMk/>
            <pc:sldMk cId="1572260378" sldId="2147480988"/>
            <ac:spMk id="87" creationId="{C122C785-83DF-440F-CF11-481A059DD924}"/>
          </ac:spMkLst>
        </pc:spChg>
        <pc:spChg chg="del">
          <ac:chgData name="Gouldsbury, Brian" userId="38f05b2e-fac1-4f2f-9dd8-c5800f9e0066" providerId="ADAL" clId="{ABFD28E4-D12C-46D3-8241-101A03BAA84C}" dt="2023-05-22T09:09:46.877" v="12408" actId="478"/>
          <ac:spMkLst>
            <pc:docMk/>
            <pc:sldMk cId="1572260378" sldId="2147480988"/>
            <ac:spMk id="89" creationId="{7FF49C1B-EFAF-523D-3FD2-D6BEEF43D456}"/>
          </ac:spMkLst>
        </pc:spChg>
        <pc:spChg chg="del">
          <ac:chgData name="Gouldsbury, Brian" userId="38f05b2e-fac1-4f2f-9dd8-c5800f9e0066" providerId="ADAL" clId="{ABFD28E4-D12C-46D3-8241-101A03BAA84C}" dt="2023-05-22T09:09:46.877" v="12408" actId="478"/>
          <ac:spMkLst>
            <pc:docMk/>
            <pc:sldMk cId="1572260378" sldId="2147480988"/>
            <ac:spMk id="90" creationId="{C2BEE1E7-5203-5333-1B1B-41DF45C8445A}"/>
          </ac:spMkLst>
        </pc:spChg>
        <pc:spChg chg="del">
          <ac:chgData name="Gouldsbury, Brian" userId="38f05b2e-fac1-4f2f-9dd8-c5800f9e0066" providerId="ADAL" clId="{ABFD28E4-D12C-46D3-8241-101A03BAA84C}" dt="2023-05-22T09:09:46.877" v="12408" actId="478"/>
          <ac:spMkLst>
            <pc:docMk/>
            <pc:sldMk cId="1572260378" sldId="2147480988"/>
            <ac:spMk id="91" creationId="{0E1D1DD1-BB10-209F-15A9-A8DC3CC00424}"/>
          </ac:spMkLst>
        </pc:spChg>
        <pc:spChg chg="del">
          <ac:chgData name="Gouldsbury, Brian" userId="38f05b2e-fac1-4f2f-9dd8-c5800f9e0066" providerId="ADAL" clId="{ABFD28E4-D12C-46D3-8241-101A03BAA84C}" dt="2023-05-22T09:09:46.877" v="12408" actId="478"/>
          <ac:spMkLst>
            <pc:docMk/>
            <pc:sldMk cId="1572260378" sldId="2147480988"/>
            <ac:spMk id="113" creationId="{4039CA32-F5DB-FB91-4694-30ECCB721C17}"/>
          </ac:spMkLst>
        </pc:spChg>
        <pc:grpChg chg="add del mod">
          <ac:chgData name="Gouldsbury, Brian" userId="38f05b2e-fac1-4f2f-9dd8-c5800f9e0066" providerId="ADAL" clId="{ABFD28E4-D12C-46D3-8241-101A03BAA84C}" dt="2023-05-22T09:12:31.381" v="12441" actId="478"/>
          <ac:grpSpMkLst>
            <pc:docMk/>
            <pc:sldMk cId="1572260378" sldId="2147480988"/>
            <ac:grpSpMk id="12" creationId="{9A2C8E0A-6AB6-D981-5A99-F89D90B6C4ED}"/>
          </ac:grpSpMkLst>
        </pc:grpChg>
        <pc:grpChg chg="del">
          <ac:chgData name="Gouldsbury, Brian" userId="38f05b2e-fac1-4f2f-9dd8-c5800f9e0066" providerId="ADAL" clId="{ABFD28E4-D12C-46D3-8241-101A03BAA84C}" dt="2023-05-22T09:09:46.877" v="12408" actId="478"/>
          <ac:grpSpMkLst>
            <pc:docMk/>
            <pc:sldMk cId="1572260378" sldId="2147480988"/>
            <ac:grpSpMk id="74" creationId="{67AC39D7-FF12-91CF-45B5-AE1FD7CE04CD}"/>
          </ac:grpSpMkLst>
        </pc:grpChg>
        <pc:grpChg chg="del">
          <ac:chgData name="Gouldsbury, Brian" userId="38f05b2e-fac1-4f2f-9dd8-c5800f9e0066" providerId="ADAL" clId="{ABFD28E4-D12C-46D3-8241-101A03BAA84C}" dt="2023-05-22T09:09:46.877" v="12408" actId="478"/>
          <ac:grpSpMkLst>
            <pc:docMk/>
            <pc:sldMk cId="1572260378" sldId="2147480988"/>
            <ac:grpSpMk id="75" creationId="{2A0A6F3A-FA13-40B6-B789-B612294D4A2E}"/>
          </ac:grpSpMkLst>
        </pc:grpChg>
        <pc:grpChg chg="del">
          <ac:chgData name="Gouldsbury, Brian" userId="38f05b2e-fac1-4f2f-9dd8-c5800f9e0066" providerId="ADAL" clId="{ABFD28E4-D12C-46D3-8241-101A03BAA84C}" dt="2023-05-22T09:09:46.877" v="12408" actId="478"/>
          <ac:grpSpMkLst>
            <pc:docMk/>
            <pc:sldMk cId="1572260378" sldId="2147480988"/>
            <ac:grpSpMk id="76" creationId="{2C3C3D8B-C3A7-E2E1-F9FA-536F1C2051F6}"/>
          </ac:grpSpMkLst>
        </pc:grpChg>
        <pc:grpChg chg="add mod">
          <ac:chgData name="Gouldsbury, Brian" userId="38f05b2e-fac1-4f2f-9dd8-c5800f9e0066" providerId="ADAL" clId="{ABFD28E4-D12C-46D3-8241-101A03BAA84C}" dt="2023-05-22T09:40:48.173" v="14008" actId="1035"/>
          <ac:grpSpMkLst>
            <pc:docMk/>
            <pc:sldMk cId="1572260378" sldId="2147480988"/>
            <ac:grpSpMk id="77" creationId="{8FDA2225-B5FA-D9BB-1534-418EB6FB55AA}"/>
          </ac:grpSpMkLst>
        </pc:grpChg>
        <pc:graphicFrameChg chg="mod">
          <ac:chgData name="Gouldsbury, Brian" userId="38f05b2e-fac1-4f2f-9dd8-c5800f9e0066" providerId="ADAL" clId="{ABFD28E4-D12C-46D3-8241-101A03BAA84C}" dt="2023-05-22T09:40:35.589" v="13962"/>
          <ac:graphicFrameMkLst>
            <pc:docMk/>
            <pc:sldMk cId="1572260378" sldId="2147480988"/>
            <ac:graphicFrameMk id="27" creationId="{2EC39C54-9427-BC00-7699-806ECB64BA11}"/>
          </ac:graphicFrameMkLst>
        </pc:graphicFrameChg>
        <pc:picChg chg="add mod modCrop">
          <ac:chgData name="Gouldsbury, Brian" userId="38f05b2e-fac1-4f2f-9dd8-c5800f9e0066" providerId="ADAL" clId="{ABFD28E4-D12C-46D3-8241-101A03BAA84C}" dt="2023-05-22T09:11:45.303" v="12430" actId="732"/>
          <ac:picMkLst>
            <pc:docMk/>
            <pc:sldMk cId="1572260378" sldId="2147480988"/>
            <ac:picMk id="5" creationId="{A3998A03-12D4-68CC-8A22-E084B899B839}"/>
          </ac:picMkLst>
        </pc:picChg>
        <pc:picChg chg="del">
          <ac:chgData name="Gouldsbury, Brian" userId="38f05b2e-fac1-4f2f-9dd8-c5800f9e0066" providerId="ADAL" clId="{ABFD28E4-D12C-46D3-8241-101A03BAA84C}" dt="2023-05-22T09:09:46.877" v="12408" actId="478"/>
          <ac:picMkLst>
            <pc:docMk/>
            <pc:sldMk cId="1572260378" sldId="2147480988"/>
            <ac:picMk id="7" creationId="{809734FF-2F9F-0926-DDFD-0F2A9679E0D1}"/>
          </ac:picMkLst>
        </pc:picChg>
        <pc:picChg chg="add mod">
          <ac:chgData name="Gouldsbury, Brian" userId="38f05b2e-fac1-4f2f-9dd8-c5800f9e0066" providerId="ADAL" clId="{ABFD28E4-D12C-46D3-8241-101A03BAA84C}" dt="2023-05-22T09:11:02.968" v="12428" actId="164"/>
          <ac:picMkLst>
            <pc:docMk/>
            <pc:sldMk cId="1572260378" sldId="2147480988"/>
            <ac:picMk id="11" creationId="{81D7883C-DEAC-FD42-1CDA-7DAF5F3B7C4C}"/>
          </ac:picMkLst>
        </pc:picChg>
        <pc:picChg chg="add mod ord">
          <ac:chgData name="Gouldsbury, Brian" userId="38f05b2e-fac1-4f2f-9dd8-c5800f9e0066" providerId="ADAL" clId="{ABFD28E4-D12C-46D3-8241-101A03BAA84C}" dt="2023-05-22T09:40:44.472" v="13985" actId="1035"/>
          <ac:picMkLst>
            <pc:docMk/>
            <pc:sldMk cId="1572260378" sldId="2147480988"/>
            <ac:picMk id="14" creationId="{9B82969F-C584-81EA-97DC-0A5CE4DF8921}"/>
          </ac:picMkLst>
        </pc:picChg>
        <pc:picChg chg="add mod ord modCrop">
          <ac:chgData name="Gouldsbury, Brian" userId="38f05b2e-fac1-4f2f-9dd8-c5800f9e0066" providerId="ADAL" clId="{ABFD28E4-D12C-46D3-8241-101A03BAA84C}" dt="2023-05-22T09:41:01.356" v="14036" actId="1038"/>
          <ac:picMkLst>
            <pc:docMk/>
            <pc:sldMk cId="1572260378" sldId="2147480988"/>
            <ac:picMk id="17" creationId="{284E02D2-54EC-4CB9-E5D5-5CCE7F8705AA}"/>
          </ac:picMkLst>
        </pc:picChg>
        <pc:picChg chg="add mod ord modCrop">
          <ac:chgData name="Gouldsbury, Brian" userId="38f05b2e-fac1-4f2f-9dd8-c5800f9e0066" providerId="ADAL" clId="{ABFD28E4-D12C-46D3-8241-101A03BAA84C}" dt="2023-05-22T09:40:44.472" v="13985" actId="1035"/>
          <ac:picMkLst>
            <pc:docMk/>
            <pc:sldMk cId="1572260378" sldId="2147480988"/>
            <ac:picMk id="18" creationId="{BC845C9C-661C-17B4-BAC3-B7797A6DE9CF}"/>
          </ac:picMkLst>
        </pc:picChg>
        <pc:picChg chg="add mod ord modCrop">
          <ac:chgData name="Gouldsbury, Brian" userId="38f05b2e-fac1-4f2f-9dd8-c5800f9e0066" providerId="ADAL" clId="{ABFD28E4-D12C-46D3-8241-101A03BAA84C}" dt="2023-05-23T12:31:03.044" v="14248" actId="1035"/>
          <ac:picMkLst>
            <pc:docMk/>
            <pc:sldMk cId="1572260378" sldId="2147480988"/>
            <ac:picMk id="19" creationId="{8259C6E6-B25D-F285-828F-4E41F821C0D6}"/>
          </ac:picMkLst>
        </pc:picChg>
        <pc:picChg chg="add mod ord">
          <ac:chgData name="Gouldsbury, Brian" userId="38f05b2e-fac1-4f2f-9dd8-c5800f9e0066" providerId="ADAL" clId="{ABFD28E4-D12C-46D3-8241-101A03BAA84C}" dt="2023-05-22T09:40:57.224" v="14034" actId="1035"/>
          <ac:picMkLst>
            <pc:docMk/>
            <pc:sldMk cId="1572260378" sldId="2147480988"/>
            <ac:picMk id="21" creationId="{BD472A06-BE95-B995-059E-613E34002A8B}"/>
          </ac:picMkLst>
        </pc:picChg>
        <pc:picChg chg="add mod ord">
          <ac:chgData name="Gouldsbury, Brian" userId="38f05b2e-fac1-4f2f-9dd8-c5800f9e0066" providerId="ADAL" clId="{ABFD28E4-D12C-46D3-8241-101A03BAA84C}" dt="2023-05-22T09:40:44.472" v="13985" actId="1035"/>
          <ac:picMkLst>
            <pc:docMk/>
            <pc:sldMk cId="1572260378" sldId="2147480988"/>
            <ac:picMk id="25" creationId="{876024FD-5EF5-ED23-CBA7-9531FA13B7DB}"/>
          </ac:picMkLst>
        </pc:picChg>
        <pc:picChg chg="add mod">
          <ac:chgData name="Gouldsbury, Brian" userId="38f05b2e-fac1-4f2f-9dd8-c5800f9e0066" providerId="ADAL" clId="{ABFD28E4-D12C-46D3-8241-101A03BAA84C}" dt="2023-05-22T09:40:49.959" v="14022" actId="1035"/>
          <ac:picMkLst>
            <pc:docMk/>
            <pc:sldMk cId="1572260378" sldId="2147480988"/>
            <ac:picMk id="69" creationId="{C46112AC-1314-D4E2-FBAA-37C06B4A501B}"/>
          </ac:picMkLst>
        </pc:picChg>
        <pc:picChg chg="add mod">
          <ac:chgData name="Gouldsbury, Brian" userId="38f05b2e-fac1-4f2f-9dd8-c5800f9e0066" providerId="ADAL" clId="{ABFD28E4-D12C-46D3-8241-101A03BAA84C}" dt="2023-05-22T09:38:17.538" v="13316" actId="1038"/>
          <ac:picMkLst>
            <pc:docMk/>
            <pc:sldMk cId="1572260378" sldId="2147480988"/>
            <ac:picMk id="73" creationId="{39ED8723-0C40-7A5F-1D61-C5E6A11DC255}"/>
          </ac:picMkLst>
        </pc:picChg>
      </pc:sldChg>
      <pc:sldMasterChg chg="modSldLayout">
        <pc:chgData name="Gouldsbury, Brian" userId="38f05b2e-fac1-4f2f-9dd8-c5800f9e0066" providerId="ADAL" clId="{ABFD28E4-D12C-46D3-8241-101A03BAA84C}" dt="2023-05-22T16:38:37.600" v="14039"/>
        <pc:sldMasterMkLst>
          <pc:docMk/>
          <pc:sldMasterMk cId="3679448933" sldId="2147483661"/>
        </pc:sldMasterMkLst>
        <pc:sldLayoutChg chg="modTransition">
          <pc:chgData name="Gouldsbury, Brian" userId="38f05b2e-fac1-4f2f-9dd8-c5800f9e0066" providerId="ADAL" clId="{ABFD28E4-D12C-46D3-8241-101A03BAA84C}" dt="2023-05-22T16:38:37.600" v="14039"/>
          <pc:sldLayoutMkLst>
            <pc:docMk/>
            <pc:sldMasterMk cId="3679448933" sldId="2147483661"/>
            <pc:sldLayoutMk cId="378991474" sldId="2147483662"/>
          </pc:sldLayoutMkLst>
        </pc:sldLayoutChg>
        <pc:sldLayoutChg chg="modTransition">
          <pc:chgData name="Gouldsbury, Brian" userId="38f05b2e-fac1-4f2f-9dd8-c5800f9e0066" providerId="ADAL" clId="{ABFD28E4-D12C-46D3-8241-101A03BAA84C}" dt="2023-05-22T16:38:37.600" v="14039"/>
          <pc:sldLayoutMkLst>
            <pc:docMk/>
            <pc:sldMasterMk cId="3679448933" sldId="2147483661"/>
            <pc:sldLayoutMk cId="385186697" sldId="2147483663"/>
          </pc:sldLayoutMkLst>
        </pc:sldLayoutChg>
        <pc:sldLayoutChg chg="modTransition">
          <pc:chgData name="Gouldsbury, Brian" userId="38f05b2e-fac1-4f2f-9dd8-c5800f9e0066" providerId="ADAL" clId="{ABFD28E4-D12C-46D3-8241-101A03BAA84C}" dt="2023-05-22T16:38:37.600" v="14039"/>
          <pc:sldLayoutMkLst>
            <pc:docMk/>
            <pc:sldMasterMk cId="3679448933" sldId="2147483661"/>
            <pc:sldLayoutMk cId="2101363351" sldId="2147483664"/>
          </pc:sldLayoutMkLst>
        </pc:sldLayoutChg>
        <pc:sldLayoutChg chg="modTransition">
          <pc:chgData name="Gouldsbury, Brian" userId="38f05b2e-fac1-4f2f-9dd8-c5800f9e0066" providerId="ADAL" clId="{ABFD28E4-D12C-46D3-8241-101A03BAA84C}" dt="2023-05-22T16:38:37.600" v="14039"/>
          <pc:sldLayoutMkLst>
            <pc:docMk/>
            <pc:sldMasterMk cId="3679448933" sldId="2147483661"/>
            <pc:sldLayoutMk cId="597137978" sldId="2147483665"/>
          </pc:sldLayoutMkLst>
        </pc:sldLayoutChg>
        <pc:sldLayoutChg chg="modTransition">
          <pc:chgData name="Gouldsbury, Brian" userId="38f05b2e-fac1-4f2f-9dd8-c5800f9e0066" providerId="ADAL" clId="{ABFD28E4-D12C-46D3-8241-101A03BAA84C}" dt="2023-05-22T16:38:37.600" v="14039"/>
          <pc:sldLayoutMkLst>
            <pc:docMk/>
            <pc:sldMasterMk cId="3679448933" sldId="2147483661"/>
            <pc:sldLayoutMk cId="4032074565" sldId="2147483666"/>
          </pc:sldLayoutMkLst>
        </pc:sldLayoutChg>
      </pc:sldMasterChg>
      <pc:sldMasterChg chg="modSldLayout">
        <pc:chgData name="Gouldsbury, Brian" userId="38f05b2e-fac1-4f2f-9dd8-c5800f9e0066" providerId="ADAL" clId="{ABFD28E4-D12C-46D3-8241-101A03BAA84C}" dt="2023-05-22T16:38:37.600" v="14039"/>
        <pc:sldMasterMkLst>
          <pc:docMk/>
          <pc:sldMasterMk cId="3627866483" sldId="2147483668"/>
        </pc:sldMasterMkLst>
        <pc:sldLayoutChg chg="modTransition">
          <pc:chgData name="Gouldsbury, Brian" userId="38f05b2e-fac1-4f2f-9dd8-c5800f9e0066" providerId="ADAL" clId="{ABFD28E4-D12C-46D3-8241-101A03BAA84C}" dt="2023-05-22T16:38:37.600" v="14039"/>
          <pc:sldLayoutMkLst>
            <pc:docMk/>
            <pc:sldMasterMk cId="3627866483" sldId="2147483668"/>
            <pc:sldLayoutMk cId="1150968904" sldId="2147483669"/>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575399392" sldId="2147483670"/>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004533077" sldId="2147483671"/>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177087771" sldId="2147483672"/>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397985200" sldId="2147483673"/>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294669219" sldId="2147483674"/>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082025298" sldId="2147483675"/>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04873687" sldId="2147483676"/>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040607523" sldId="2147483677"/>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091948582" sldId="2147483678"/>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696232442" sldId="2147483679"/>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641233297" sldId="2147483680"/>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15442633" sldId="2147483681"/>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574146022" sldId="2147483682"/>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853009303" sldId="2147483683"/>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526835756" sldId="2147483684"/>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291103397" sldId="2147483685"/>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383076184" sldId="2147483686"/>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193274047" sldId="2147483687"/>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878634425" sldId="2147483688"/>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877933232" sldId="2147483689"/>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49001317" sldId="2147483690"/>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124548120" sldId="2147483691"/>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448554714" sldId="2147483692"/>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587123902" sldId="2147483693"/>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536422324" sldId="2147483694"/>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116182737" sldId="2147483695"/>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050159256" sldId="2147483696"/>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61513638" sldId="2147483697"/>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749387539" sldId="2147483698"/>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653274295" sldId="2147483699"/>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532925499" sldId="2147483700"/>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944959812" sldId="2147483701"/>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093403652" sldId="2147483702"/>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178235027" sldId="2147483703"/>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741125039" sldId="2147483704"/>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614724464" sldId="2147483705"/>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241056319" sldId="2147483706"/>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578338723" sldId="2147483707"/>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1646815575" sldId="2147483708"/>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699327630" sldId="2147483709"/>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897469022" sldId="2147483710"/>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256601141" sldId="2147483711"/>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48518665" sldId="2147483712"/>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338081286" sldId="2147483713"/>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523004475" sldId="2147483714"/>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96131811" sldId="2147483715"/>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653690168" sldId="2147483716"/>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2394537144" sldId="2147483717"/>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083400865" sldId="2147483718"/>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07791134" sldId="2147483719"/>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577424887" sldId="2147483720"/>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4088489217" sldId="2147483721"/>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351000405" sldId="2147483722"/>
          </pc:sldLayoutMkLst>
        </pc:sldLayoutChg>
        <pc:sldLayoutChg chg="modTransition">
          <pc:chgData name="Gouldsbury, Brian" userId="38f05b2e-fac1-4f2f-9dd8-c5800f9e0066" providerId="ADAL" clId="{ABFD28E4-D12C-46D3-8241-101A03BAA84C}" dt="2023-05-22T16:38:37.600" v="14039"/>
          <pc:sldLayoutMkLst>
            <pc:docMk/>
            <pc:sldMasterMk cId="3627866483" sldId="2147483668"/>
            <pc:sldLayoutMk cId="3539390080" sldId="2147483724"/>
          </pc:sldLayoutMkLst>
        </pc:sldLayoutChg>
      </pc:sldMasterChg>
      <pc:sldMasterChg chg="addSp delSp modSp mod modSldLayout">
        <pc:chgData name="Gouldsbury, Brian" userId="38f05b2e-fac1-4f2f-9dd8-c5800f9e0066" providerId="ADAL" clId="{ABFD28E4-D12C-46D3-8241-101A03BAA84C}" dt="2023-05-22T16:38:37.600" v="14039"/>
        <pc:sldMasterMkLst>
          <pc:docMk/>
          <pc:sldMasterMk cId="1102896972" sldId="2147483725"/>
        </pc:sldMasterMkLst>
        <pc:spChg chg="mod">
          <ac:chgData name="Gouldsbury, Brian" userId="38f05b2e-fac1-4f2f-9dd8-c5800f9e0066" providerId="ADAL" clId="{ABFD28E4-D12C-46D3-8241-101A03BAA84C}" dt="2023-05-19T09:39:40.044" v="3176" actId="948"/>
          <ac:spMkLst>
            <pc:docMk/>
            <pc:sldMasterMk cId="1102896972" sldId="2147483725"/>
            <ac:spMk id="2" creationId="{9FFD36EB-AF2A-4899-83FB-0AB17F603DC1}"/>
          </ac:spMkLst>
        </pc:spChg>
        <pc:spChg chg="add del mod modVis">
          <ac:chgData name="Gouldsbury, Brian" userId="38f05b2e-fac1-4f2f-9dd8-c5800f9e0066" providerId="ADAL" clId="{ABFD28E4-D12C-46D3-8241-101A03BAA84C}" dt="2023-05-19T09:39:40.105" v="3235"/>
          <ac:spMkLst>
            <pc:docMk/>
            <pc:sldMasterMk cId="1102896972" sldId="2147483725"/>
            <ac:spMk id="9" creationId="{FB7934F7-D2D1-D591-BF0A-C512400967D1}"/>
          </ac:spMkLst>
        </pc:spChg>
        <pc:graphicFrameChg chg="mod">
          <ac:chgData name="Gouldsbury, Brian" userId="38f05b2e-fac1-4f2f-9dd8-c5800f9e0066" providerId="ADAL" clId="{ABFD28E4-D12C-46D3-8241-101A03BAA84C}" dt="2023-05-19T09:39:40.109" v="3237"/>
          <ac:graphicFrameMkLst>
            <pc:docMk/>
            <pc:sldMasterMk cId="1102896972" sldId="2147483725"/>
            <ac:graphicFrameMk id="5" creationId="{8CEC1529-7781-EBA5-0191-75F731A7FD25}"/>
          </ac:graphicFrameMkLst>
        </pc:graphicFrameChg>
        <pc:sldLayoutChg chg="modTransition">
          <pc:chgData name="Gouldsbury, Brian" userId="38f05b2e-fac1-4f2f-9dd8-c5800f9e0066" providerId="ADAL" clId="{ABFD28E4-D12C-46D3-8241-101A03BAA84C}" dt="2023-05-22T16:38:37.600" v="14039"/>
          <pc:sldLayoutMkLst>
            <pc:docMk/>
            <pc:sldMasterMk cId="1102896972" sldId="2147483725"/>
            <pc:sldLayoutMk cId="3966465300" sldId="2147483726"/>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1988352440" sldId="2147483727"/>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2919605156" sldId="2147483728"/>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544176203" sldId="2147483729"/>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832031661" sldId="2147483730"/>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354708439" sldId="2147483731"/>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2477209418" sldId="2147483732"/>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3811714934" sldId="2147483733"/>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2354694609" sldId="2147483734"/>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567032194" sldId="2147483735"/>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3218797874" sldId="2147483736"/>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4008845658" sldId="2147483737"/>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3216153684" sldId="2147483738"/>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2719415885" sldId="2147483739"/>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93789138" sldId="2147483740"/>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755561357" sldId="2147483741"/>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3324593034" sldId="2147483742"/>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3381969326" sldId="2147483743"/>
          </pc:sldLayoutMkLst>
        </pc:sldLayoutChg>
        <pc:sldLayoutChg chg="modTransition">
          <pc:chgData name="Gouldsbury, Brian" userId="38f05b2e-fac1-4f2f-9dd8-c5800f9e0066" providerId="ADAL" clId="{ABFD28E4-D12C-46D3-8241-101A03BAA84C}" dt="2023-05-22T16:38:37.600" v="14039"/>
          <pc:sldLayoutMkLst>
            <pc:docMk/>
            <pc:sldMasterMk cId="1102896972" sldId="2147483725"/>
            <pc:sldLayoutMk cId="3889301225" sldId="2147483744"/>
          </pc:sldLayoutMkLst>
        </pc:sldLayoutChg>
        <pc:sldLayoutChg chg="addSp delSp modSp mod modTransition">
          <pc:chgData name="Gouldsbury, Brian" userId="38f05b2e-fac1-4f2f-9dd8-c5800f9e0066" providerId="ADAL" clId="{ABFD28E4-D12C-46D3-8241-101A03BAA84C}" dt="2023-05-22T16:38:37.600" v="14039"/>
          <pc:sldLayoutMkLst>
            <pc:docMk/>
            <pc:sldMasterMk cId="1102896972" sldId="2147483725"/>
            <pc:sldLayoutMk cId="954355628" sldId="2147483745"/>
          </pc:sldLayoutMkLst>
          <pc:spChg chg="mod">
            <ac:chgData name="Gouldsbury, Brian" userId="38f05b2e-fac1-4f2f-9dd8-c5800f9e0066" providerId="ADAL" clId="{ABFD28E4-D12C-46D3-8241-101A03BAA84C}" dt="2023-05-19T11:36:21.020" v="6446" actId="948"/>
            <ac:spMkLst>
              <pc:docMk/>
              <pc:sldMasterMk cId="1102896972" sldId="2147483725"/>
              <pc:sldLayoutMk cId="954355628" sldId="2147483745"/>
              <ac:spMk id="2" creationId="{06D8FBBE-DD7A-4CEF-8D9C-2FE1284D6E60}"/>
            </ac:spMkLst>
          </pc:spChg>
          <pc:spChg chg="add del mod modVis">
            <ac:chgData name="Gouldsbury, Brian" userId="38f05b2e-fac1-4f2f-9dd8-c5800f9e0066" providerId="ADAL" clId="{ABFD28E4-D12C-46D3-8241-101A03BAA84C}" dt="2023-05-19T11:36:21.052" v="6487"/>
            <ac:spMkLst>
              <pc:docMk/>
              <pc:sldMasterMk cId="1102896972" sldId="2147483725"/>
              <pc:sldLayoutMk cId="954355628" sldId="2147483745"/>
              <ac:spMk id="3" creationId="{D1B42FAD-980F-DC1A-2E19-C71923C37BEC}"/>
            </ac:spMkLst>
          </pc:spChg>
          <pc:spChg chg="del">
            <ac:chgData name="Gouldsbury, Brian" userId="38f05b2e-fac1-4f2f-9dd8-c5800f9e0066" providerId="ADAL" clId="{ABFD28E4-D12C-46D3-8241-101A03BAA84C}" dt="2023-05-19T10:00:45.082" v="5552" actId="478"/>
            <ac:spMkLst>
              <pc:docMk/>
              <pc:sldMasterMk cId="1102896972" sldId="2147483725"/>
              <pc:sldLayoutMk cId="954355628" sldId="2147483745"/>
              <ac:spMk id="7" creationId="{1442191E-8CC3-4437-B18A-F4357C44877D}"/>
            </ac:spMkLst>
          </pc:spChg>
          <pc:grpChg chg="del mod">
            <ac:chgData name="Gouldsbury, Brian" userId="38f05b2e-fac1-4f2f-9dd8-c5800f9e0066" providerId="ADAL" clId="{ABFD28E4-D12C-46D3-8241-101A03BAA84C}" dt="2023-05-19T10:00:46.752" v="5554" actId="478"/>
            <ac:grpSpMkLst>
              <pc:docMk/>
              <pc:sldMasterMk cId="1102896972" sldId="2147483725"/>
              <pc:sldLayoutMk cId="954355628" sldId="2147483745"/>
              <ac:grpSpMk id="5" creationId="{D809FDFD-4FD9-4D67-AADB-11F2BF606920}"/>
            </ac:grpSpMkLst>
          </pc:grpChg>
          <pc:graphicFrameChg chg="add mod ord modVis replST">
            <ac:chgData name="Gouldsbury, Brian" userId="38f05b2e-fac1-4f2f-9dd8-c5800f9e0066" providerId="ADAL" clId="{ABFD28E4-D12C-46D3-8241-101A03BAA84C}" dt="2023-05-19T11:36:21.083" v="6503"/>
            <ac:graphicFrameMkLst>
              <pc:docMk/>
              <pc:sldMasterMk cId="1102896972" sldId="2147483725"/>
              <pc:sldLayoutMk cId="954355628" sldId="2147483745"/>
              <ac:graphicFrameMk id="4" creationId="{3223184F-072A-F1B8-B37D-04D379B3AECC}"/>
            </ac:graphicFrameMkLst>
          </pc:graphicFrameChg>
          <pc:picChg chg="del">
            <ac:chgData name="Gouldsbury, Brian" userId="38f05b2e-fac1-4f2f-9dd8-c5800f9e0066" providerId="ADAL" clId="{ABFD28E4-D12C-46D3-8241-101A03BAA84C}" dt="2023-05-19T10:00:40.512" v="5551" actId="478"/>
            <ac:picMkLst>
              <pc:docMk/>
              <pc:sldMasterMk cId="1102896972" sldId="2147483725"/>
              <pc:sldLayoutMk cId="954355628" sldId="2147483745"/>
              <ac:picMk id="12" creationId="{75C794AB-4AB4-4ADD-B38F-C36B5D8FBA36}"/>
            </ac:picMkLst>
          </pc:pic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s-MX"/>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FF2FD395-B1D2-4F52-B272-45CC035BA000}" type="datetimeFigureOut">
              <a:rPr lang="es-MX" smtClean="0"/>
              <a:t>23/05/2023</a:t>
            </a:fld>
            <a:endParaRPr lang="es-MX"/>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s-MX"/>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s-MX"/>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4F097EFD-5DD6-4331-9A7E-B7E243284D1D}" type="slidenum">
              <a:rPr lang="es-MX" smtClean="0"/>
              <a:t>‹#›</a:t>
            </a:fld>
            <a:endParaRPr lang="es-MX"/>
          </a:p>
        </p:txBody>
      </p:sp>
    </p:spTree>
    <p:extLst>
      <p:ext uri="{BB962C8B-B14F-4D97-AF65-F5344CB8AC3E}">
        <p14:creationId xmlns:p14="http://schemas.microsoft.com/office/powerpoint/2010/main" val="3988927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an Gouldsbury is currently the Senior Manager for the European and World Travel Retail Supply Chains for The Hershey Company. Originally from New York state, Brian has been with the company for approximately 13 years (~14 if you include his internship with Hershey). Brian has multiple degrees from several American institutions, including an Associates of Occupational Studies (The Culinary Institute of America), a Bachelor's of Science (Cornell University), and a Masters of Business Administration (Pennsylvania State University).</a:t>
            </a:r>
          </a:p>
          <a:p>
            <a:endParaRPr lang="en-US" dirty="0"/>
          </a:p>
          <a:p>
            <a:r>
              <a:rPr lang="en-US" dirty="0"/>
              <a:t>Brian Recently moved to London, UK this past November with his wife Crystal, son Jackson (7), and his three cats (Marcus, Marley, &amp; Margo). On a personal level, Brian has been bodybuilding for over 20 years and has competed in several competitions in the past. With the proximity to mainland Europe, Brian &amp; his family have become avid travelers, and plan to check off all their European bucket list countries while living and working in the UK. Although removed from the culinary world, Brian is a foodie at heart, with Asian and Hispanic cuisines ranking high on his list. </a:t>
            </a:r>
          </a:p>
        </p:txBody>
      </p:sp>
      <p:sp>
        <p:nvSpPr>
          <p:cNvPr id="4" name="Slide Number Placeholder 3"/>
          <p:cNvSpPr>
            <a:spLocks noGrp="1"/>
          </p:cNvSpPr>
          <p:nvPr>
            <p:ph type="sldNum" sz="quarter" idx="5"/>
          </p:nvPr>
        </p:nvSpPr>
        <p:spPr/>
        <p:txBody>
          <a:bodyPr/>
          <a:lstStyle/>
          <a:p>
            <a:fld id="{4F097EFD-5DD6-4331-9A7E-B7E243284D1D}" type="slidenum">
              <a:rPr lang="es-MX" smtClean="0"/>
              <a:t>1</a:t>
            </a:fld>
            <a:endParaRPr lang="es-MX"/>
          </a:p>
        </p:txBody>
      </p:sp>
    </p:spTree>
    <p:extLst>
      <p:ext uri="{BB962C8B-B14F-4D97-AF65-F5344CB8AC3E}">
        <p14:creationId xmlns:p14="http://schemas.microsoft.com/office/powerpoint/2010/main" val="12973264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Tree>
    <p:extLst>
      <p:ext uri="{BB962C8B-B14F-4D97-AF65-F5344CB8AC3E}">
        <p14:creationId xmlns:p14="http://schemas.microsoft.com/office/powerpoint/2010/main" val="17226187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43703" rtl="0" eaLnBrk="1" fontAlgn="auto" latinLnBrk="0" hangingPunct="1">
              <a:lnSpc>
                <a:spcPct val="100000"/>
              </a:lnSpc>
              <a:spcBef>
                <a:spcPts val="0"/>
              </a:spcBef>
              <a:spcAft>
                <a:spcPts val="0"/>
              </a:spcAft>
              <a:buClrTx/>
              <a:buSzTx/>
              <a:buFontTx/>
              <a:buNone/>
              <a:tabLst/>
              <a:defRPr/>
            </a:pPr>
            <a:fld id="{B4FB203E-3B01-4DDC-BD87-343F6E966D92}" type="slidenum">
              <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1243703"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6891699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3.xml"/><Relationship Id="rId6" Type="http://schemas.openxmlformats.org/officeDocument/2006/relationships/image" Target="../media/image46.svg"/><Relationship Id="rId5" Type="http://schemas.openxmlformats.org/officeDocument/2006/relationships/image" Target="../media/image45.svg"/><Relationship Id="rId4" Type="http://schemas.openxmlformats.org/officeDocument/2006/relationships/image" Target="../media/image44.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4.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3.xml"/><Relationship Id="rId6" Type="http://schemas.openxmlformats.org/officeDocument/2006/relationships/image" Target="../media/image53.png"/><Relationship Id="rId5" Type="http://schemas.openxmlformats.org/officeDocument/2006/relationships/image" Target="../media/image52.svg"/><Relationship Id="rId4" Type="http://schemas.openxmlformats.org/officeDocument/2006/relationships/image" Target="../media/image51.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3.xml"/><Relationship Id="rId4" Type="http://schemas.openxmlformats.org/officeDocument/2006/relationships/image" Target="../media/image56.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3.xml"/><Relationship Id="rId4" Type="http://schemas.openxmlformats.org/officeDocument/2006/relationships/image" Target="../media/image59.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3.xml"/><Relationship Id="rId4" Type="http://schemas.openxmlformats.org/officeDocument/2006/relationships/image" Target="../media/image6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Master" Target="../slideMasters/slideMaster3.xml"/><Relationship Id="rId5" Type="http://schemas.openxmlformats.org/officeDocument/2006/relationships/image" Target="../media/image66.svg"/><Relationship Id="rId4" Type="http://schemas.openxmlformats.org/officeDocument/2006/relationships/image" Target="../media/image65.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51.png"/><Relationship Id="rId1" Type="http://schemas.openxmlformats.org/officeDocument/2006/relationships/slideMaster" Target="../slideMasters/slideMaster3.xml"/><Relationship Id="rId4" Type="http://schemas.openxmlformats.org/officeDocument/2006/relationships/image" Target="../media/image68.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Master" Target="../slideMasters/slideMaster3.xml"/><Relationship Id="rId6" Type="http://schemas.openxmlformats.org/officeDocument/2006/relationships/image" Target="../media/image68.svg"/><Relationship Id="rId5" Type="http://schemas.openxmlformats.org/officeDocument/2006/relationships/image" Target="../media/image67.svg"/><Relationship Id="rId4" Type="http://schemas.openxmlformats.org/officeDocument/2006/relationships/image" Target="../media/image5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2.svg"/><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7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2902857" cy="22860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286000"/>
            <a:ext cx="2902857" cy="2286000"/>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4572000"/>
            <a:ext cx="2902857" cy="2286000"/>
          </a:xfrm>
          <a:prstGeom prst="rect">
            <a:avLst/>
          </a:prstGeom>
        </p:spPr>
      </p:pic>
      <p:pic>
        <p:nvPicPr>
          <p:cNvPr id="13" name="Picture 12" descr="HersheyLogo.pn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8962153" y="5733257"/>
            <a:ext cx="2766199" cy="837839"/>
          </a:xfrm>
          <a:prstGeom prst="rect">
            <a:avLst/>
          </a:prstGeom>
        </p:spPr>
      </p:pic>
      <p:sp>
        <p:nvSpPr>
          <p:cNvPr id="16" name="Title 15"/>
          <p:cNvSpPr>
            <a:spLocks noGrp="1"/>
          </p:cNvSpPr>
          <p:nvPr>
            <p:ph type="title" hasCustomPrompt="1"/>
          </p:nvPr>
        </p:nvSpPr>
        <p:spPr>
          <a:xfrm>
            <a:off x="3404973" y="2379356"/>
            <a:ext cx="8238712" cy="1077218"/>
          </a:xfrm>
          <a:prstGeom prst="rect">
            <a:avLst/>
          </a:prstGeom>
        </p:spPr>
        <p:txBody>
          <a:bodyPr>
            <a:noAutofit/>
          </a:bodyPr>
          <a:lstStyle>
            <a:lvl1pPr>
              <a:defRPr sz="3200">
                <a:solidFill>
                  <a:srgbClr val="3F000B"/>
                </a:solidFill>
              </a:defRPr>
            </a:lvl1pPr>
          </a:lstStyle>
          <a:p>
            <a:r>
              <a:rPr lang="en-US"/>
              <a:t>Title in Title Case</a:t>
            </a:r>
            <a:br>
              <a:rPr lang="en-US"/>
            </a:br>
            <a:r>
              <a:rPr lang="en-US"/>
              <a:t>(Calibri Bold 32pt, Dark Brown)</a:t>
            </a:r>
          </a:p>
        </p:txBody>
      </p:sp>
      <p:sp>
        <p:nvSpPr>
          <p:cNvPr id="18" name="Text Placeholder 17"/>
          <p:cNvSpPr>
            <a:spLocks noGrp="1"/>
          </p:cNvSpPr>
          <p:nvPr>
            <p:ph type="body" sz="quarter" idx="10" hasCustomPrompt="1"/>
          </p:nvPr>
        </p:nvSpPr>
        <p:spPr>
          <a:xfrm>
            <a:off x="3404975" y="3612162"/>
            <a:ext cx="8238710" cy="677108"/>
          </a:xfrm>
        </p:spPr>
        <p:txBody>
          <a:bodyPr>
            <a:noAutofit/>
          </a:bodyPr>
          <a:lstStyle>
            <a:lvl1pPr>
              <a:defRPr sz="2400" b="0">
                <a:solidFill>
                  <a:srgbClr val="8B8D8D"/>
                </a:solidFill>
                <a:latin typeface="+mj-lt"/>
              </a:defRPr>
            </a:lvl1pPr>
          </a:lstStyle>
          <a:p>
            <a:pPr lvl="0"/>
            <a:r>
              <a:rPr lang="en-US"/>
              <a:t>Title in Title Case (Calibri 24pt, Gray)</a:t>
            </a:r>
          </a:p>
        </p:txBody>
      </p:sp>
      <p:sp>
        <p:nvSpPr>
          <p:cNvPr id="19" name="Text Placeholder 17"/>
          <p:cNvSpPr>
            <a:spLocks noGrp="1"/>
          </p:cNvSpPr>
          <p:nvPr>
            <p:ph type="body" sz="quarter" idx="11" hasCustomPrompt="1"/>
          </p:nvPr>
        </p:nvSpPr>
        <p:spPr>
          <a:xfrm>
            <a:off x="3404975" y="4572001"/>
            <a:ext cx="8238710" cy="246221"/>
          </a:xfrm>
        </p:spPr>
        <p:txBody>
          <a:bodyPr wrap="square">
            <a:spAutoFit/>
          </a:bodyPr>
          <a:lstStyle>
            <a:lvl1pPr>
              <a:defRPr b="0">
                <a:solidFill>
                  <a:srgbClr val="8B8D8D"/>
                </a:solidFill>
                <a:latin typeface="+mj-lt"/>
              </a:defRPr>
            </a:lvl1pPr>
          </a:lstStyle>
          <a:p>
            <a:pPr lvl="0"/>
            <a:r>
              <a:rPr lang="en-US"/>
              <a:t>Date (Calibri 16pt, gray)</a:t>
            </a:r>
          </a:p>
        </p:txBody>
      </p:sp>
    </p:spTree>
    <p:extLst>
      <p:ext uri="{BB962C8B-B14F-4D97-AF65-F5344CB8AC3E}">
        <p14:creationId xmlns:p14="http://schemas.microsoft.com/office/powerpoint/2010/main" val="378991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446632" y="73136"/>
            <a:ext cx="11394848" cy="1000295"/>
          </a:xfrm>
        </p:spPr>
        <p:txBody>
          <a:bodyPr/>
          <a:lstStyle>
            <a:lvl1pPr>
              <a:defRPr b="1" i="0">
                <a:solidFill>
                  <a:srgbClr val="3F000B"/>
                </a:solidFill>
                <a:latin typeface="+mj-lt"/>
                <a:cs typeface="Calibri"/>
              </a:defRPr>
            </a:lvl1pPr>
          </a:lstStyle>
          <a:p>
            <a:r>
              <a:rPr lang="en-US" altLang="zh-CN"/>
              <a:t>Click to edit Master title style</a:t>
            </a:r>
            <a:endParaRPr lang="en-US"/>
          </a:p>
        </p:txBody>
      </p:sp>
      <p:sp>
        <p:nvSpPr>
          <p:cNvPr id="13" name="Text Placeholder 2"/>
          <p:cNvSpPr>
            <a:spLocks noGrp="1"/>
          </p:cNvSpPr>
          <p:nvPr>
            <p:ph idx="1"/>
          </p:nvPr>
        </p:nvSpPr>
        <p:spPr>
          <a:xfrm>
            <a:off x="448607" y="1466849"/>
            <a:ext cx="11403525" cy="4536419"/>
          </a:xfrm>
          <a:prstGeom prst="rect">
            <a:avLst/>
          </a:prstGeom>
        </p:spPr>
        <p:txBody>
          <a:bodyPr vert="horz" lIns="91440" tIns="45720" rIns="91440" bIns="45720" rtlCol="0">
            <a:noAutofit/>
          </a:bodyPr>
          <a:lstStyle>
            <a:lvl1pPr>
              <a:buClrTx/>
              <a:buSzPct val="100000"/>
              <a:defRPr>
                <a:solidFill>
                  <a:srgbClr val="000000"/>
                </a:solidFill>
              </a:defRPr>
            </a:lvl1pPr>
            <a:lvl2pPr>
              <a:buClrTx/>
              <a:buSzPct val="100000"/>
              <a:defRPr>
                <a:solidFill>
                  <a:srgbClr val="000000"/>
                </a:solidFill>
              </a:defRPr>
            </a:lvl2pPr>
            <a:lvl3pPr>
              <a:buClrTx/>
              <a:buSzPct val="100000"/>
              <a:defRPr>
                <a:solidFill>
                  <a:srgbClr val="000000"/>
                </a:solidFill>
              </a:defRPr>
            </a:lvl3pPr>
            <a:lvl4pPr>
              <a:buClrTx/>
              <a:buSzPct val="100000"/>
              <a:defRPr>
                <a:solidFill>
                  <a:srgbClr val="000000"/>
                </a:solidFill>
              </a:defRPr>
            </a:lvl4pPr>
            <a:lvl5pPr>
              <a:buClrTx/>
              <a:buSzPct val="100000"/>
              <a:defRPr>
                <a:solidFill>
                  <a:srgbClr val="000000"/>
                </a:solidFil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Slide Number Placeholder 3"/>
          <p:cNvSpPr>
            <a:spLocks noGrp="1"/>
          </p:cNvSpPr>
          <p:nvPr>
            <p:ph type="sldNum" sz="quarter" idx="11"/>
          </p:nvPr>
        </p:nvSpPr>
        <p:spPr>
          <a:xfrm>
            <a:off x="448609" y="6356353"/>
            <a:ext cx="526815" cy="365125"/>
          </a:xfrm>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3397985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w/Chart and Table">
    <p:spTree>
      <p:nvGrpSpPr>
        <p:cNvPr id="1" name=""/>
        <p:cNvGrpSpPr/>
        <p:nvPr/>
      </p:nvGrpSpPr>
      <p:grpSpPr>
        <a:xfrm>
          <a:off x="0" y="0"/>
          <a:ext cx="0" cy="0"/>
          <a:chOff x="0" y="0"/>
          <a:chExt cx="0" cy="0"/>
        </a:xfrm>
      </p:grpSpPr>
      <p:sp>
        <p:nvSpPr>
          <p:cNvPr id="2" name="Title 1"/>
          <p:cNvSpPr>
            <a:spLocks noGrp="1"/>
          </p:cNvSpPr>
          <p:nvPr>
            <p:ph type="title"/>
          </p:nvPr>
        </p:nvSpPr>
        <p:spPr>
          <a:xfrm>
            <a:off x="446632" y="18916"/>
            <a:ext cx="11394848" cy="1044575"/>
          </a:xfrm>
        </p:spPr>
        <p:txBody>
          <a:bodyPr/>
          <a:lstStyle>
            <a:lvl1pPr>
              <a:defRPr b="1" i="0">
                <a:solidFill>
                  <a:schemeClr val="tx2"/>
                </a:solidFill>
                <a:latin typeface="+mj-lt"/>
                <a:cs typeface="Calibri"/>
              </a:defRPr>
            </a:lvl1pPr>
          </a:lstStyle>
          <a:p>
            <a:r>
              <a:rPr lang="en-US" altLang="zh-CN"/>
              <a:t>Click to edit Master title style</a:t>
            </a:r>
            <a:endParaRPr lang="en-US"/>
          </a:p>
        </p:txBody>
      </p:sp>
      <p:sp>
        <p:nvSpPr>
          <p:cNvPr id="6" name="Chart Placeholder 5"/>
          <p:cNvSpPr>
            <a:spLocks noGrp="1"/>
          </p:cNvSpPr>
          <p:nvPr>
            <p:ph type="chart" sz="quarter" idx="12"/>
          </p:nvPr>
        </p:nvSpPr>
        <p:spPr>
          <a:xfrm>
            <a:off x="469903" y="3866447"/>
            <a:ext cx="4872567" cy="2159000"/>
          </a:xfrm>
        </p:spPr>
        <p:txBody>
          <a:bodyPr/>
          <a:lstStyle>
            <a:lvl1pPr marL="0" indent="0">
              <a:buNone/>
              <a:defRPr/>
            </a:lvl1pPr>
          </a:lstStyle>
          <a:p>
            <a:r>
              <a:rPr lang="en-US" altLang="zh-CN"/>
              <a:t>Click icon to add chart</a:t>
            </a:r>
            <a:endParaRPr lang="en-US"/>
          </a:p>
        </p:txBody>
      </p:sp>
      <p:sp>
        <p:nvSpPr>
          <p:cNvPr id="8" name="Rectangle 7"/>
          <p:cNvSpPr/>
          <p:nvPr/>
        </p:nvSpPr>
        <p:spPr>
          <a:xfrm>
            <a:off x="5757337" y="3866449"/>
            <a:ext cx="6077185" cy="479779"/>
          </a:xfrm>
          <a:prstGeom prst="rect">
            <a:avLst/>
          </a:prstGeom>
          <a:solidFill>
            <a:srgbClr val="A7A9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p:nvSpPr>
        <p:spPr>
          <a:xfrm>
            <a:off x="5757337" y="3880561"/>
            <a:ext cx="6077185" cy="2173111"/>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Text Placeholder 2"/>
          <p:cNvSpPr>
            <a:spLocks noGrp="1"/>
          </p:cNvSpPr>
          <p:nvPr>
            <p:ph idx="1"/>
          </p:nvPr>
        </p:nvSpPr>
        <p:spPr>
          <a:xfrm>
            <a:off x="448607" y="1466853"/>
            <a:ext cx="11403525" cy="2286707"/>
          </a:xfrm>
          <a:prstGeom prst="rect">
            <a:avLst/>
          </a:prstGeom>
        </p:spPr>
        <p:txBody>
          <a:bodyPr vert="horz" lIns="91440" tIns="45720" rIns="91440" bIns="45720" rtlCol="0">
            <a:normAutofit/>
          </a:bodyPr>
          <a:lstStyle>
            <a:lvl1pPr marL="0" indent="0">
              <a:buNone/>
              <a:defRPr/>
            </a:lvl1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Content Placeholder 3"/>
          <p:cNvSpPr>
            <a:spLocks noGrp="1"/>
          </p:cNvSpPr>
          <p:nvPr>
            <p:ph sz="quarter" idx="14"/>
          </p:nvPr>
        </p:nvSpPr>
        <p:spPr>
          <a:xfrm>
            <a:off x="5907617" y="4345876"/>
            <a:ext cx="5926667" cy="1679575"/>
          </a:xfrm>
        </p:spPr>
        <p:txBody>
          <a:bodyPr>
            <a:noAutofit/>
          </a:bodyPr>
          <a:lstStyle>
            <a:lvl1pPr>
              <a:defRPr sz="1800"/>
            </a:lvl1pPr>
            <a:lvl2pPr>
              <a:defRPr sz="1800"/>
            </a:lvl2pPr>
            <a:lvl3pPr>
              <a:defRPr sz="1800"/>
            </a:lvl3pPr>
            <a:lvl4pPr>
              <a:defRPr sz="1800"/>
            </a:lvl4pPr>
            <a:lvl5pPr>
              <a:defRPr sz="180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7" name="Text Placeholder 6"/>
          <p:cNvSpPr>
            <a:spLocks noGrp="1"/>
          </p:cNvSpPr>
          <p:nvPr>
            <p:ph type="body" sz="quarter" idx="15"/>
          </p:nvPr>
        </p:nvSpPr>
        <p:spPr>
          <a:xfrm>
            <a:off x="5907617" y="3923071"/>
            <a:ext cx="5926667" cy="465137"/>
          </a:xfrm>
        </p:spPr>
        <p:txBody>
          <a:bodyPr>
            <a:noAutofit/>
          </a:bodyPr>
          <a:lstStyle>
            <a:lvl1pPr marL="0" indent="0" algn="ctr">
              <a:buNone/>
              <a:defRPr sz="1600" b="1">
                <a:solidFill>
                  <a:schemeClr val="bg1"/>
                </a:solidFill>
              </a:defRPr>
            </a:lvl1pPr>
            <a:lvl2pPr marL="344479" indent="0" algn="ctr">
              <a:buNone/>
              <a:defRPr sz="1600" b="1"/>
            </a:lvl2pPr>
            <a:lvl3pPr marL="744518" indent="0" algn="ctr">
              <a:buNone/>
              <a:defRPr sz="1600" b="1"/>
            </a:lvl3pPr>
            <a:lvl4pPr marL="1201707" indent="0" algn="ctr">
              <a:buNone/>
              <a:defRPr sz="1600" b="1"/>
            </a:lvl4pPr>
            <a:lvl5pPr marL="1603335" indent="0" algn="ctr">
              <a:buNone/>
              <a:defRPr sz="1600" b="1"/>
            </a:lvl5pPr>
          </a:lstStyle>
          <a:p>
            <a:pPr lvl="0"/>
            <a:r>
              <a:rPr lang="en-US" altLang="zh-CN"/>
              <a:t>Click to edit Master text styles</a:t>
            </a:r>
          </a:p>
        </p:txBody>
      </p:sp>
      <p:sp>
        <p:nvSpPr>
          <p:cNvPr id="5" name="Slide Number Placeholder 4"/>
          <p:cNvSpPr>
            <a:spLocks noGrp="1"/>
          </p:cNvSpPr>
          <p:nvPr>
            <p:ph type="sldNum" sz="quarter" idx="17"/>
          </p:nvPr>
        </p:nvSpPr>
        <p:spPr/>
        <p:txBody>
          <a:bodyPr/>
          <a:lstStyle/>
          <a:p>
            <a:fld id="{8334361B-0D38-BE4A-AA1D-01A86672D338}" type="slidenum">
              <a:rPr lang="en-US" smtClean="0"/>
              <a:pPr/>
              <a:t>‹#›</a:t>
            </a:fld>
            <a:endParaRPr lang="en-US"/>
          </a:p>
        </p:txBody>
      </p:sp>
      <p:sp>
        <p:nvSpPr>
          <p:cNvPr id="10" name="Rectangle 9">
            <a:extLst>
              <a:ext uri="{FF2B5EF4-FFF2-40B4-BE49-F238E27FC236}">
                <a16:creationId xmlns:a16="http://schemas.microsoft.com/office/drawing/2014/main" id="{A7E8FBFD-BFE6-43D0-84C2-AF491EB2B611}"/>
              </a:ext>
            </a:extLst>
          </p:cNvPr>
          <p:cNvSpPr/>
          <p:nvPr userDrawn="1"/>
        </p:nvSpPr>
        <p:spPr>
          <a:xfrm>
            <a:off x="5757336" y="3866447"/>
            <a:ext cx="6077185" cy="479778"/>
          </a:xfrm>
          <a:prstGeom prst="rect">
            <a:avLst/>
          </a:prstGeom>
          <a:solidFill>
            <a:srgbClr val="A7A9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1" name="Rectangle 10">
            <a:extLst>
              <a:ext uri="{FF2B5EF4-FFF2-40B4-BE49-F238E27FC236}">
                <a16:creationId xmlns:a16="http://schemas.microsoft.com/office/drawing/2014/main" id="{72EA3939-3A13-4194-9AF3-D0C459CFB8EB}"/>
              </a:ext>
            </a:extLst>
          </p:cNvPr>
          <p:cNvSpPr/>
          <p:nvPr userDrawn="1"/>
        </p:nvSpPr>
        <p:spPr>
          <a:xfrm>
            <a:off x="5757336" y="3880561"/>
            <a:ext cx="6077185" cy="2173111"/>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294669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2" name="Title 1"/>
          <p:cNvSpPr>
            <a:spLocks noGrp="1"/>
          </p:cNvSpPr>
          <p:nvPr>
            <p:ph type="title"/>
          </p:nvPr>
        </p:nvSpPr>
        <p:spPr>
          <a:xfrm>
            <a:off x="451556" y="32168"/>
            <a:ext cx="11366496" cy="1044575"/>
          </a:xfrm>
        </p:spPr>
        <p:txBody>
          <a:bodyPr/>
          <a:lstStyle>
            <a:lvl1pPr>
              <a:defRPr>
                <a:latin typeface="+mj-lt"/>
                <a:cs typeface="Arial"/>
              </a:defRPr>
            </a:lvl1pPr>
          </a:lstStyle>
          <a:p>
            <a:r>
              <a:rPr lang="en-US" altLang="zh-CN"/>
              <a:t>Click to edit Master title style</a:t>
            </a:r>
            <a:endParaRPr lang="en-US"/>
          </a:p>
        </p:txBody>
      </p:sp>
      <p:sp>
        <p:nvSpPr>
          <p:cNvPr id="4" name="Content Placeholder 8"/>
          <p:cNvSpPr>
            <a:spLocks noGrp="1"/>
          </p:cNvSpPr>
          <p:nvPr>
            <p:ph sz="quarter" idx="11"/>
          </p:nvPr>
        </p:nvSpPr>
        <p:spPr>
          <a:xfrm>
            <a:off x="446620" y="1466850"/>
            <a:ext cx="6815901" cy="4572707"/>
          </a:xfrm>
        </p:spPr>
        <p:txBody>
          <a:bodyPr/>
          <a:lstStyle>
            <a:lvl1pPr>
              <a:defRPr>
                <a:latin typeface="+mn-lt"/>
                <a:cs typeface="Arial"/>
              </a:defRPr>
            </a:lvl1pPr>
            <a:lvl2pPr>
              <a:defRPr>
                <a:latin typeface="+mn-lt"/>
                <a:cs typeface="Arial"/>
              </a:defRPr>
            </a:lvl2pPr>
            <a:lvl3pPr>
              <a:defRPr>
                <a:latin typeface="+mn-lt"/>
                <a:cs typeface="Arial"/>
              </a:defRPr>
            </a:lvl3pPr>
            <a:lvl4pPr>
              <a:defRPr>
                <a:latin typeface="+mn-lt"/>
                <a:cs typeface="Arial"/>
              </a:defRPr>
            </a:lvl4pPr>
            <a:lvl5pPr>
              <a:defRPr>
                <a:latin typeface="+mn-lt"/>
                <a:cs typeface="Aria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Chart Placeholder 5"/>
          <p:cNvSpPr>
            <a:spLocks noGrp="1"/>
          </p:cNvSpPr>
          <p:nvPr>
            <p:ph type="chart" sz="quarter" idx="12"/>
          </p:nvPr>
        </p:nvSpPr>
        <p:spPr>
          <a:xfrm>
            <a:off x="7518688" y="1467283"/>
            <a:ext cx="4334645" cy="4571699"/>
          </a:xfrm>
        </p:spPr>
        <p:txBody>
          <a:bodyPr/>
          <a:lstStyle>
            <a:lvl1pPr marL="0" indent="0">
              <a:buNone/>
              <a:defRPr>
                <a:latin typeface="+mn-lt"/>
              </a:defRPr>
            </a:lvl1pPr>
          </a:lstStyle>
          <a:p>
            <a:r>
              <a:rPr lang="en-US" altLang="zh-CN"/>
              <a:t>Click icon to add chart</a:t>
            </a:r>
            <a:endParaRPr lang="en-US"/>
          </a:p>
        </p:txBody>
      </p:sp>
      <p:sp>
        <p:nvSpPr>
          <p:cNvPr id="5" name="Slide Number Placeholder 4"/>
          <p:cNvSpPr>
            <a:spLocks noGrp="1"/>
          </p:cNvSpPr>
          <p:nvPr>
            <p:ph type="sldNum" sz="quarter" idx="14"/>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30820252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with Table">
    <p:spTree>
      <p:nvGrpSpPr>
        <p:cNvPr id="1" name=""/>
        <p:cNvGrpSpPr/>
        <p:nvPr/>
      </p:nvGrpSpPr>
      <p:grpSpPr>
        <a:xfrm>
          <a:off x="0" y="0"/>
          <a:ext cx="0" cy="0"/>
          <a:chOff x="0" y="0"/>
          <a:chExt cx="0" cy="0"/>
        </a:xfrm>
      </p:grpSpPr>
      <p:sp>
        <p:nvSpPr>
          <p:cNvPr id="2" name="Title 1"/>
          <p:cNvSpPr>
            <a:spLocks noGrp="1"/>
          </p:cNvSpPr>
          <p:nvPr>
            <p:ph type="title"/>
          </p:nvPr>
        </p:nvSpPr>
        <p:spPr>
          <a:xfrm>
            <a:off x="451556" y="32168"/>
            <a:ext cx="11366496" cy="1044575"/>
          </a:xfrm>
        </p:spPr>
        <p:txBody>
          <a:bodyPr/>
          <a:lstStyle>
            <a:lvl1pPr>
              <a:defRPr>
                <a:latin typeface="+mj-lt"/>
                <a:cs typeface="Arial"/>
              </a:defRPr>
            </a:lvl1pPr>
          </a:lstStyle>
          <a:p>
            <a:r>
              <a:rPr lang="en-US" altLang="zh-CN"/>
              <a:t>Click to edit Master title style</a:t>
            </a:r>
            <a:endParaRPr lang="en-US"/>
          </a:p>
        </p:txBody>
      </p:sp>
      <p:sp>
        <p:nvSpPr>
          <p:cNvPr id="4" name="Content Placeholder 8"/>
          <p:cNvSpPr>
            <a:spLocks noGrp="1"/>
          </p:cNvSpPr>
          <p:nvPr>
            <p:ph sz="quarter" idx="11"/>
          </p:nvPr>
        </p:nvSpPr>
        <p:spPr>
          <a:xfrm>
            <a:off x="446619" y="1466850"/>
            <a:ext cx="6213825" cy="4572707"/>
          </a:xfrm>
        </p:spPr>
        <p:txBody>
          <a:bodyPr/>
          <a:lstStyle>
            <a:lvl1pPr>
              <a:defRPr>
                <a:latin typeface="+mn-lt"/>
                <a:cs typeface="Arial"/>
              </a:defRPr>
            </a:lvl1pPr>
            <a:lvl2pPr>
              <a:defRPr>
                <a:latin typeface="+mn-lt"/>
                <a:cs typeface="Arial"/>
              </a:defRPr>
            </a:lvl2pPr>
            <a:lvl3pPr>
              <a:defRPr>
                <a:latin typeface="+mn-lt"/>
                <a:cs typeface="Arial"/>
              </a:defRPr>
            </a:lvl3pPr>
            <a:lvl4pPr>
              <a:defRPr>
                <a:latin typeface="+mn-lt"/>
                <a:cs typeface="Arial"/>
              </a:defRPr>
            </a:lvl4pPr>
            <a:lvl5pPr>
              <a:defRPr>
                <a:latin typeface="+mn-lt"/>
                <a:cs typeface="Aria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5" name="Table Placeholder 4"/>
          <p:cNvSpPr>
            <a:spLocks noGrp="1"/>
          </p:cNvSpPr>
          <p:nvPr>
            <p:ph type="tbl" sz="quarter" idx="14"/>
          </p:nvPr>
        </p:nvSpPr>
        <p:spPr>
          <a:xfrm>
            <a:off x="6923853" y="1467283"/>
            <a:ext cx="4893499" cy="4571699"/>
          </a:xfrm>
        </p:spPr>
        <p:txBody>
          <a:bodyPr/>
          <a:lstStyle>
            <a:lvl1pPr marL="0" indent="0">
              <a:buNone/>
              <a:defRPr/>
            </a:lvl1pPr>
          </a:lstStyle>
          <a:p>
            <a:r>
              <a:rPr lang="en-US" altLang="zh-CN"/>
              <a:t>Click icon to add table</a:t>
            </a:r>
            <a:endParaRPr lang="en-US"/>
          </a:p>
        </p:txBody>
      </p:sp>
      <p:sp>
        <p:nvSpPr>
          <p:cNvPr id="6" name="Slide Number Placeholder 5"/>
          <p:cNvSpPr>
            <a:spLocks noGrp="1"/>
          </p:cNvSpPr>
          <p:nvPr>
            <p:ph type="sldNum" sz="quarter" idx="16"/>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304873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with SmartArt">
    <p:spTree>
      <p:nvGrpSpPr>
        <p:cNvPr id="1" name=""/>
        <p:cNvGrpSpPr/>
        <p:nvPr/>
      </p:nvGrpSpPr>
      <p:grpSpPr>
        <a:xfrm>
          <a:off x="0" y="0"/>
          <a:ext cx="0" cy="0"/>
          <a:chOff x="0" y="0"/>
          <a:chExt cx="0" cy="0"/>
        </a:xfrm>
      </p:grpSpPr>
      <p:sp>
        <p:nvSpPr>
          <p:cNvPr id="2" name="Title 1"/>
          <p:cNvSpPr>
            <a:spLocks noGrp="1"/>
          </p:cNvSpPr>
          <p:nvPr>
            <p:ph type="title"/>
          </p:nvPr>
        </p:nvSpPr>
        <p:spPr>
          <a:xfrm>
            <a:off x="451556" y="32168"/>
            <a:ext cx="11366496" cy="1044575"/>
          </a:xfrm>
        </p:spPr>
        <p:txBody>
          <a:bodyPr/>
          <a:lstStyle>
            <a:lvl1pPr>
              <a:defRPr>
                <a:latin typeface="+mj-lt"/>
                <a:cs typeface="Arial"/>
              </a:defRPr>
            </a:lvl1pPr>
          </a:lstStyle>
          <a:p>
            <a:r>
              <a:rPr lang="en-US" altLang="zh-CN"/>
              <a:t>Click to edit Master title style</a:t>
            </a:r>
            <a:endParaRPr lang="en-US"/>
          </a:p>
        </p:txBody>
      </p:sp>
      <p:sp>
        <p:nvSpPr>
          <p:cNvPr id="4" name="Content Placeholder 8"/>
          <p:cNvSpPr>
            <a:spLocks noGrp="1"/>
          </p:cNvSpPr>
          <p:nvPr>
            <p:ph sz="quarter" idx="11"/>
          </p:nvPr>
        </p:nvSpPr>
        <p:spPr>
          <a:xfrm>
            <a:off x="446619" y="1466850"/>
            <a:ext cx="6213825" cy="4572707"/>
          </a:xfrm>
        </p:spPr>
        <p:txBody>
          <a:bodyPr/>
          <a:lstStyle>
            <a:lvl1pPr>
              <a:defRPr>
                <a:latin typeface="+mn-lt"/>
                <a:cs typeface="Arial"/>
              </a:defRPr>
            </a:lvl1pPr>
            <a:lvl2pPr>
              <a:defRPr>
                <a:latin typeface="+mn-lt"/>
                <a:cs typeface="Arial"/>
              </a:defRPr>
            </a:lvl2pPr>
            <a:lvl3pPr>
              <a:defRPr>
                <a:latin typeface="+mn-lt"/>
                <a:cs typeface="Arial"/>
              </a:defRPr>
            </a:lvl3pPr>
            <a:lvl4pPr>
              <a:defRPr>
                <a:latin typeface="+mn-lt"/>
                <a:cs typeface="Arial"/>
              </a:defRPr>
            </a:lvl4pPr>
            <a:lvl5pPr>
              <a:defRPr>
                <a:latin typeface="+mn-lt"/>
                <a:cs typeface="Aria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SmartArt Placeholder 5"/>
          <p:cNvSpPr>
            <a:spLocks noGrp="1"/>
          </p:cNvSpPr>
          <p:nvPr>
            <p:ph type="dgm" sz="quarter" idx="14"/>
          </p:nvPr>
        </p:nvSpPr>
        <p:spPr>
          <a:xfrm>
            <a:off x="6904567" y="1467283"/>
            <a:ext cx="4938184" cy="4571699"/>
          </a:xfrm>
        </p:spPr>
        <p:txBody>
          <a:bodyPr/>
          <a:lstStyle>
            <a:lvl1pPr marL="0" indent="0">
              <a:buNone/>
              <a:defRPr/>
            </a:lvl1pPr>
          </a:lstStyle>
          <a:p>
            <a:r>
              <a:rPr lang="en-US" altLang="zh-CN"/>
              <a:t>Click icon to add SmartArt graphic</a:t>
            </a:r>
            <a:endParaRPr lang="en-US"/>
          </a:p>
        </p:txBody>
      </p:sp>
      <p:sp>
        <p:nvSpPr>
          <p:cNvPr id="5" name="Slide Number Placeholder 4"/>
          <p:cNvSpPr>
            <a:spLocks noGrp="1"/>
          </p:cNvSpPr>
          <p:nvPr>
            <p:ph type="sldNum" sz="quarter" idx="16"/>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1040607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p:cNvSpPr>
            <a:spLocks noGrp="1"/>
          </p:cNvSpPr>
          <p:nvPr>
            <p:ph type="title"/>
          </p:nvPr>
        </p:nvSpPr>
        <p:spPr>
          <a:xfrm>
            <a:off x="445742" y="32168"/>
            <a:ext cx="11372343" cy="1044575"/>
          </a:xfrm>
        </p:spPr>
        <p:txBody>
          <a:bodyPr/>
          <a:lstStyle>
            <a:lvl1pPr>
              <a:defRPr>
                <a:latin typeface="+mj-lt"/>
                <a:cs typeface="Arial"/>
              </a:defRPr>
            </a:lvl1pPr>
          </a:lstStyle>
          <a:p>
            <a:r>
              <a:rPr lang="en-US" altLang="zh-CN"/>
              <a:t>Click to edit Master title style</a:t>
            </a:r>
            <a:endParaRPr lang="en-US"/>
          </a:p>
        </p:txBody>
      </p:sp>
      <p:sp>
        <p:nvSpPr>
          <p:cNvPr id="20" name="Chart Placeholder 19"/>
          <p:cNvSpPr>
            <a:spLocks noGrp="1"/>
          </p:cNvSpPr>
          <p:nvPr>
            <p:ph type="chart" sz="quarter" idx="11"/>
          </p:nvPr>
        </p:nvSpPr>
        <p:spPr>
          <a:xfrm>
            <a:off x="446620" y="1466855"/>
            <a:ext cx="11371433" cy="4558593"/>
          </a:xfrm>
        </p:spPr>
        <p:txBody>
          <a:bodyPr/>
          <a:lstStyle>
            <a:lvl1pPr marL="0" indent="0" algn="l">
              <a:buNone/>
              <a:defRPr>
                <a:latin typeface="+mn-lt"/>
                <a:cs typeface="Arial"/>
              </a:defRPr>
            </a:lvl1pPr>
          </a:lstStyle>
          <a:p>
            <a:r>
              <a:rPr lang="en-US" altLang="zh-CN"/>
              <a:t>Click icon to add chart</a:t>
            </a:r>
            <a:endParaRPr lang="en-US"/>
          </a:p>
        </p:txBody>
      </p:sp>
      <p:sp>
        <p:nvSpPr>
          <p:cNvPr id="4" name="Slide Number Placeholder 3"/>
          <p:cNvSpPr>
            <a:spLocks noGrp="1"/>
          </p:cNvSpPr>
          <p:nvPr>
            <p:ph type="sldNum" sz="quarter" idx="13"/>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20919485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mart Art">
    <p:spTree>
      <p:nvGrpSpPr>
        <p:cNvPr id="1" name=""/>
        <p:cNvGrpSpPr/>
        <p:nvPr/>
      </p:nvGrpSpPr>
      <p:grpSpPr>
        <a:xfrm>
          <a:off x="0" y="0"/>
          <a:ext cx="0" cy="0"/>
          <a:chOff x="0" y="0"/>
          <a:chExt cx="0" cy="0"/>
        </a:xfrm>
      </p:grpSpPr>
      <p:sp>
        <p:nvSpPr>
          <p:cNvPr id="2" name="Title 1"/>
          <p:cNvSpPr>
            <a:spLocks noGrp="1"/>
          </p:cNvSpPr>
          <p:nvPr>
            <p:ph type="title"/>
          </p:nvPr>
        </p:nvSpPr>
        <p:spPr>
          <a:xfrm>
            <a:off x="445742" y="32168"/>
            <a:ext cx="11372343" cy="1044575"/>
          </a:xfrm>
        </p:spPr>
        <p:txBody>
          <a:bodyPr/>
          <a:lstStyle>
            <a:lvl1pPr>
              <a:defRPr>
                <a:latin typeface="+mj-lt"/>
                <a:cs typeface="Arial"/>
              </a:defRPr>
            </a:lvl1pPr>
          </a:lstStyle>
          <a:p>
            <a:r>
              <a:rPr lang="en-US" altLang="zh-CN"/>
              <a:t>Click to edit Master title style</a:t>
            </a:r>
            <a:endParaRPr lang="en-US"/>
          </a:p>
        </p:txBody>
      </p:sp>
      <p:sp>
        <p:nvSpPr>
          <p:cNvPr id="5" name="SmartArt Placeholder 4"/>
          <p:cNvSpPr>
            <a:spLocks noGrp="1"/>
          </p:cNvSpPr>
          <p:nvPr>
            <p:ph type="dgm" sz="quarter" idx="11"/>
          </p:nvPr>
        </p:nvSpPr>
        <p:spPr>
          <a:xfrm>
            <a:off x="450854" y="1466851"/>
            <a:ext cx="11364383" cy="4530372"/>
          </a:xfrm>
        </p:spPr>
        <p:txBody>
          <a:bodyPr>
            <a:normAutofit/>
          </a:bodyPr>
          <a:lstStyle>
            <a:lvl1pPr marL="0" indent="0">
              <a:buNone/>
              <a:defRPr sz="1800"/>
            </a:lvl1pPr>
          </a:lstStyle>
          <a:p>
            <a:r>
              <a:rPr lang="en-US" altLang="zh-CN"/>
              <a:t>Click icon to add SmartArt graphic</a:t>
            </a:r>
            <a:endParaRPr lang="en-US"/>
          </a:p>
        </p:txBody>
      </p:sp>
      <p:sp>
        <p:nvSpPr>
          <p:cNvPr id="4" name="Slide Number Placeholder 3"/>
          <p:cNvSpPr>
            <a:spLocks noGrp="1"/>
          </p:cNvSpPr>
          <p:nvPr>
            <p:ph type="sldNum" sz="quarter" idx="13"/>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16962324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6619" y="32168"/>
            <a:ext cx="11396133" cy="1044575"/>
          </a:xfrm>
        </p:spPr>
        <p:txBody>
          <a:bodyPr/>
          <a:lstStyle>
            <a:lvl1pPr>
              <a:defRPr/>
            </a:lvl1pPr>
          </a:lstStyle>
          <a:p>
            <a:r>
              <a:rPr lang="en-US" altLang="zh-CN"/>
              <a:t>Click to edit Master title style</a:t>
            </a:r>
            <a:endParaRPr lang="en-US"/>
          </a:p>
        </p:txBody>
      </p:sp>
      <p:sp>
        <p:nvSpPr>
          <p:cNvPr id="8" name="Table Placeholder 7"/>
          <p:cNvSpPr>
            <a:spLocks noGrp="1"/>
          </p:cNvSpPr>
          <p:nvPr>
            <p:ph type="tbl" sz="quarter" idx="13"/>
          </p:nvPr>
        </p:nvSpPr>
        <p:spPr>
          <a:xfrm>
            <a:off x="410633" y="2046114"/>
            <a:ext cx="5596467" cy="3979333"/>
          </a:xfrm>
        </p:spPr>
        <p:txBody>
          <a:bodyPr/>
          <a:lstStyle>
            <a:lvl1pPr marL="0" indent="0">
              <a:buNone/>
              <a:defRPr/>
            </a:lvl1pPr>
          </a:lstStyle>
          <a:p>
            <a:r>
              <a:rPr lang="en-US" altLang="zh-CN"/>
              <a:t>Click icon to add table</a:t>
            </a:r>
            <a:endParaRPr lang="en-US"/>
          </a:p>
        </p:txBody>
      </p:sp>
      <p:sp>
        <p:nvSpPr>
          <p:cNvPr id="11" name="Table Placeholder 10"/>
          <p:cNvSpPr>
            <a:spLocks noGrp="1"/>
          </p:cNvSpPr>
          <p:nvPr>
            <p:ph type="tbl" sz="quarter" idx="14"/>
          </p:nvPr>
        </p:nvSpPr>
        <p:spPr>
          <a:xfrm>
            <a:off x="6167967" y="2045261"/>
            <a:ext cx="5649384" cy="3993416"/>
          </a:xfrm>
        </p:spPr>
        <p:txBody>
          <a:bodyPr/>
          <a:lstStyle>
            <a:lvl1pPr marL="0" indent="0">
              <a:buNone/>
              <a:defRPr/>
            </a:lvl1pPr>
          </a:lstStyle>
          <a:p>
            <a:r>
              <a:rPr lang="en-US" altLang="zh-CN"/>
              <a:t>Click icon to add table</a:t>
            </a:r>
            <a:endParaRPr lang="en-US"/>
          </a:p>
        </p:txBody>
      </p:sp>
      <p:sp>
        <p:nvSpPr>
          <p:cNvPr id="4" name="Slide Number Placeholder 3"/>
          <p:cNvSpPr>
            <a:spLocks noGrp="1"/>
          </p:cNvSpPr>
          <p:nvPr>
            <p:ph type="sldNum" sz="quarter" idx="16"/>
          </p:nvPr>
        </p:nvSpPr>
        <p:spPr/>
        <p:txBody>
          <a:bodyPr/>
          <a:lstStyle/>
          <a:p>
            <a:fld id="{8334361B-0D38-BE4A-AA1D-01A86672D338}" type="slidenum">
              <a:rPr lang="en-US" smtClean="0"/>
              <a:pPr/>
              <a:t>‹#›</a:t>
            </a:fld>
            <a:endParaRPr lang="en-US"/>
          </a:p>
        </p:txBody>
      </p:sp>
      <p:sp>
        <p:nvSpPr>
          <p:cNvPr id="6" name="Text Placeholder 5"/>
          <p:cNvSpPr>
            <a:spLocks noGrp="1"/>
          </p:cNvSpPr>
          <p:nvPr>
            <p:ph type="body" sz="quarter" idx="17"/>
          </p:nvPr>
        </p:nvSpPr>
        <p:spPr>
          <a:xfrm>
            <a:off x="414868" y="1468088"/>
            <a:ext cx="5605875" cy="549275"/>
          </a:xfrm>
        </p:spPr>
        <p:txBody>
          <a:bodyPr>
            <a:normAutofit/>
          </a:bodyPr>
          <a:lstStyle>
            <a:lvl1pPr marL="0" indent="0">
              <a:buNone/>
              <a:defRPr sz="2000">
                <a:solidFill>
                  <a:schemeClr val="bg2"/>
                </a:solidFill>
              </a:defRPr>
            </a:lvl1pPr>
            <a:lvl2pPr marL="344479" indent="0">
              <a:buNone/>
              <a:defRPr/>
            </a:lvl2pPr>
            <a:lvl3pPr marL="744518" indent="0">
              <a:buNone/>
              <a:defRPr/>
            </a:lvl3pPr>
            <a:lvl4pPr marL="1201707" indent="0">
              <a:buNone/>
              <a:defRPr/>
            </a:lvl4pPr>
            <a:lvl5pPr marL="1603335" indent="0">
              <a:buNone/>
              <a:defRPr/>
            </a:lvl5pPr>
          </a:lstStyle>
          <a:p>
            <a:pPr lvl="0"/>
            <a:r>
              <a:rPr lang="en-US" altLang="zh-CN"/>
              <a:t>Click to edit Master text styles</a:t>
            </a:r>
          </a:p>
        </p:txBody>
      </p:sp>
      <p:sp>
        <p:nvSpPr>
          <p:cNvPr id="14" name="Text Placeholder 5"/>
          <p:cNvSpPr>
            <a:spLocks noGrp="1"/>
          </p:cNvSpPr>
          <p:nvPr>
            <p:ph type="body" sz="quarter" idx="18"/>
          </p:nvPr>
        </p:nvSpPr>
        <p:spPr>
          <a:xfrm>
            <a:off x="6172201" y="1468088"/>
            <a:ext cx="5605875" cy="549275"/>
          </a:xfrm>
        </p:spPr>
        <p:txBody>
          <a:bodyPr>
            <a:normAutofit/>
          </a:bodyPr>
          <a:lstStyle>
            <a:lvl1pPr marL="0" indent="0">
              <a:buNone/>
              <a:defRPr sz="2000">
                <a:solidFill>
                  <a:schemeClr val="bg2"/>
                </a:solidFill>
              </a:defRPr>
            </a:lvl1pPr>
            <a:lvl2pPr marL="344479" indent="0">
              <a:buNone/>
              <a:defRPr/>
            </a:lvl2pPr>
            <a:lvl3pPr marL="744518" indent="0">
              <a:buNone/>
              <a:defRPr/>
            </a:lvl3pPr>
            <a:lvl4pPr marL="1201707" indent="0">
              <a:buNone/>
              <a:defRPr/>
            </a:lvl4pPr>
            <a:lvl5pPr marL="1603335" indent="0">
              <a:buNone/>
              <a:defRPr/>
            </a:lvl5pPr>
          </a:lstStyle>
          <a:p>
            <a:pPr lvl="0"/>
            <a:r>
              <a:rPr lang="en-US" altLang="zh-CN"/>
              <a:t>Click to edit Master text styles</a:t>
            </a:r>
          </a:p>
        </p:txBody>
      </p:sp>
    </p:spTree>
    <p:extLst>
      <p:ext uri="{BB962C8B-B14F-4D97-AF65-F5344CB8AC3E}">
        <p14:creationId xmlns:p14="http://schemas.microsoft.com/office/powerpoint/2010/main" val="6412332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lexible Table">
    <p:spTree>
      <p:nvGrpSpPr>
        <p:cNvPr id="1" name=""/>
        <p:cNvGrpSpPr/>
        <p:nvPr/>
      </p:nvGrpSpPr>
      <p:grpSpPr>
        <a:xfrm>
          <a:off x="0" y="0"/>
          <a:ext cx="0" cy="0"/>
          <a:chOff x="0" y="0"/>
          <a:chExt cx="0" cy="0"/>
        </a:xfrm>
      </p:grpSpPr>
      <p:sp>
        <p:nvSpPr>
          <p:cNvPr id="2" name="Title 1"/>
          <p:cNvSpPr>
            <a:spLocks noGrp="1"/>
          </p:cNvSpPr>
          <p:nvPr>
            <p:ph type="title"/>
          </p:nvPr>
        </p:nvSpPr>
        <p:spPr>
          <a:xfrm>
            <a:off x="446619" y="32168"/>
            <a:ext cx="11396133" cy="1044575"/>
          </a:xfrm>
        </p:spPr>
        <p:txBody>
          <a:bodyPr/>
          <a:lstStyle>
            <a:lvl1pPr>
              <a:defRPr/>
            </a:lvl1pPr>
          </a:lstStyle>
          <a:p>
            <a:r>
              <a:rPr lang="en-US" altLang="zh-CN"/>
              <a:t>Click to edit Master title style</a:t>
            </a:r>
            <a:endParaRPr lang="en-US"/>
          </a:p>
        </p:txBody>
      </p:sp>
      <p:sp>
        <p:nvSpPr>
          <p:cNvPr id="8" name="Table Placeholder 7"/>
          <p:cNvSpPr>
            <a:spLocks noGrp="1"/>
          </p:cNvSpPr>
          <p:nvPr>
            <p:ph type="tbl" sz="quarter" idx="13"/>
          </p:nvPr>
        </p:nvSpPr>
        <p:spPr>
          <a:xfrm>
            <a:off x="489185" y="1466850"/>
            <a:ext cx="11346323" cy="4558595"/>
          </a:xfrm>
        </p:spPr>
        <p:txBody>
          <a:bodyPr numCol="3" spcCol="182880"/>
          <a:lstStyle>
            <a:lvl1pPr marL="0" indent="0" algn="ctr">
              <a:buNone/>
              <a:defRPr baseline="0"/>
            </a:lvl1pPr>
          </a:lstStyle>
          <a:p>
            <a:r>
              <a:rPr lang="en-US" altLang="zh-CN"/>
              <a:t>Click icon to add table</a:t>
            </a:r>
            <a:endParaRPr lang="en-US"/>
          </a:p>
        </p:txBody>
      </p:sp>
      <p:sp>
        <p:nvSpPr>
          <p:cNvPr id="4" name="Slide Number Placeholder 3"/>
          <p:cNvSpPr>
            <a:spLocks noGrp="1"/>
          </p:cNvSpPr>
          <p:nvPr>
            <p:ph type="sldNum" sz="quarter" idx="15"/>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415442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ullets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46620" y="32168"/>
            <a:ext cx="11371433" cy="1044575"/>
          </a:xfrm>
        </p:spPr>
        <p:txBody>
          <a:bodyPr/>
          <a:lstStyle/>
          <a:p>
            <a:r>
              <a:rPr lang="en-US" altLang="zh-CN"/>
              <a:t>Click to edit Master title style</a:t>
            </a:r>
            <a:endParaRPr lang="en-US"/>
          </a:p>
        </p:txBody>
      </p:sp>
      <p:sp>
        <p:nvSpPr>
          <p:cNvPr id="3" name="Content Placeholder 2"/>
          <p:cNvSpPr>
            <a:spLocks noGrp="1"/>
          </p:cNvSpPr>
          <p:nvPr>
            <p:ph sz="half" idx="1"/>
          </p:nvPr>
        </p:nvSpPr>
        <p:spPr>
          <a:xfrm>
            <a:off x="446621" y="1466851"/>
            <a:ext cx="5547783" cy="4516260"/>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Picture Placeholder 5"/>
          <p:cNvSpPr>
            <a:spLocks noGrp="1"/>
          </p:cNvSpPr>
          <p:nvPr>
            <p:ph type="pic" sz="quarter" idx="13"/>
          </p:nvPr>
        </p:nvSpPr>
        <p:spPr>
          <a:xfrm>
            <a:off x="6360118" y="1476071"/>
            <a:ext cx="5437716" cy="4476657"/>
          </a:xfrm>
        </p:spPr>
        <p:txBody>
          <a:bodyPr/>
          <a:lstStyle>
            <a:lvl1pPr marL="0" indent="0">
              <a:buNone/>
              <a:defRPr/>
            </a:lvl1pPr>
          </a:lstStyle>
          <a:p>
            <a:r>
              <a:rPr lang="en-US" altLang="zh-CN"/>
              <a:t>Click icon to add picture</a:t>
            </a:r>
            <a:endParaRPr lang="en-US"/>
          </a:p>
        </p:txBody>
      </p:sp>
      <p:sp>
        <p:nvSpPr>
          <p:cNvPr id="5" name="Slide Number Placeholder 4"/>
          <p:cNvSpPr>
            <a:spLocks noGrp="1"/>
          </p:cNvSpPr>
          <p:nvPr>
            <p:ph type="sldNum" sz="quarter" idx="15"/>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2574146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62709" y="181456"/>
            <a:ext cx="11068061" cy="831600"/>
          </a:xfrm>
          <a:prstGeom prst="rect">
            <a:avLst/>
          </a:prstGeom>
        </p:spPr>
        <p:txBody>
          <a:bodyPr/>
          <a:lstStyle/>
          <a:p>
            <a:r>
              <a:rPr lang="en-US"/>
              <a:t>Click to edit Master title style</a:t>
            </a:r>
          </a:p>
        </p:txBody>
      </p:sp>
      <p:sp>
        <p:nvSpPr>
          <p:cNvPr id="8" name="Text Placeholder 7"/>
          <p:cNvSpPr>
            <a:spLocks noGrp="1"/>
          </p:cNvSpPr>
          <p:nvPr>
            <p:ph type="body" sz="quarter" idx="13"/>
          </p:nvPr>
        </p:nvSpPr>
        <p:spPr>
          <a:xfrm>
            <a:off x="562709" y="1508400"/>
            <a:ext cx="11068061" cy="459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1866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Bullets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46619" y="32168"/>
            <a:ext cx="6044495" cy="1044575"/>
          </a:xfrm>
        </p:spPr>
        <p:txBody>
          <a:bodyPr/>
          <a:lstStyle/>
          <a:p>
            <a:r>
              <a:rPr lang="en-US" altLang="zh-CN"/>
              <a:t>Click to edit Master title style</a:t>
            </a:r>
            <a:endParaRPr lang="en-US"/>
          </a:p>
        </p:txBody>
      </p:sp>
      <p:sp>
        <p:nvSpPr>
          <p:cNvPr id="3" name="Content Placeholder 2"/>
          <p:cNvSpPr>
            <a:spLocks noGrp="1"/>
          </p:cNvSpPr>
          <p:nvPr>
            <p:ph sz="half" idx="1"/>
          </p:nvPr>
        </p:nvSpPr>
        <p:spPr>
          <a:xfrm>
            <a:off x="446620" y="1466851"/>
            <a:ext cx="6044493" cy="4544483"/>
          </a:xfrm>
        </p:spPr>
        <p:txBody>
          <a:bodyPr>
            <a:no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Picture Placeholder 5"/>
          <p:cNvSpPr>
            <a:spLocks noGrp="1"/>
          </p:cNvSpPr>
          <p:nvPr>
            <p:ph type="pic" sz="quarter" idx="13"/>
          </p:nvPr>
        </p:nvSpPr>
        <p:spPr>
          <a:xfrm>
            <a:off x="6923853" y="1"/>
            <a:ext cx="5268147" cy="6862260"/>
          </a:xfrm>
        </p:spPr>
        <p:txBody>
          <a:bodyPr/>
          <a:lstStyle>
            <a:lvl1pPr marL="0" indent="0">
              <a:buNone/>
              <a:defRPr/>
            </a:lvl1pPr>
          </a:lstStyle>
          <a:p>
            <a:r>
              <a:rPr lang="en-US" altLang="zh-CN"/>
              <a:t>Click icon to add picture</a:t>
            </a:r>
            <a:endParaRPr lang="en-US"/>
          </a:p>
        </p:txBody>
      </p:sp>
      <p:sp>
        <p:nvSpPr>
          <p:cNvPr id="5" name="Slide Number Placeholder 4"/>
          <p:cNvSpPr>
            <a:spLocks noGrp="1"/>
          </p:cNvSpPr>
          <p:nvPr>
            <p:ph type="sldNum" sz="quarter" idx="15"/>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28530093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roduct Page">
    <p:spTree>
      <p:nvGrpSpPr>
        <p:cNvPr id="1" name=""/>
        <p:cNvGrpSpPr/>
        <p:nvPr/>
      </p:nvGrpSpPr>
      <p:grpSpPr>
        <a:xfrm>
          <a:off x="0" y="0"/>
          <a:ext cx="0" cy="0"/>
          <a:chOff x="0" y="0"/>
          <a:chExt cx="0" cy="0"/>
        </a:xfrm>
      </p:grpSpPr>
      <p:sp>
        <p:nvSpPr>
          <p:cNvPr id="2" name="Title 1"/>
          <p:cNvSpPr>
            <a:spLocks noGrp="1"/>
          </p:cNvSpPr>
          <p:nvPr>
            <p:ph type="title"/>
          </p:nvPr>
        </p:nvSpPr>
        <p:spPr>
          <a:xfrm>
            <a:off x="446620" y="32168"/>
            <a:ext cx="11371433" cy="1045345"/>
          </a:xfrm>
        </p:spPr>
        <p:txBody>
          <a:bodyPr/>
          <a:lstStyle/>
          <a:p>
            <a:r>
              <a:rPr lang="en-US" altLang="zh-CN"/>
              <a:t>Click to edit Master title style</a:t>
            </a:r>
            <a:endParaRPr lang="en-US"/>
          </a:p>
        </p:txBody>
      </p:sp>
      <p:sp>
        <p:nvSpPr>
          <p:cNvPr id="6" name="Picture Placeholder 5"/>
          <p:cNvSpPr>
            <a:spLocks noGrp="1"/>
          </p:cNvSpPr>
          <p:nvPr>
            <p:ph type="pic" sz="quarter" idx="13"/>
          </p:nvPr>
        </p:nvSpPr>
        <p:spPr>
          <a:xfrm>
            <a:off x="470372" y="1735669"/>
            <a:ext cx="3593629" cy="1876779"/>
          </a:xfrm>
        </p:spPr>
        <p:txBody>
          <a:bodyPr/>
          <a:lstStyle>
            <a:lvl1pPr marL="0" indent="0">
              <a:buNone/>
              <a:defRPr/>
            </a:lvl1pPr>
          </a:lstStyle>
          <a:p>
            <a:r>
              <a:rPr lang="en-US" altLang="zh-CN"/>
              <a:t>Click icon to add picture</a:t>
            </a:r>
            <a:endParaRPr lang="en-US"/>
          </a:p>
        </p:txBody>
      </p:sp>
      <p:sp>
        <p:nvSpPr>
          <p:cNvPr id="13" name="Picture Placeholder 5"/>
          <p:cNvSpPr>
            <a:spLocks noGrp="1"/>
          </p:cNvSpPr>
          <p:nvPr>
            <p:ph type="pic" sz="quarter" idx="15"/>
          </p:nvPr>
        </p:nvSpPr>
        <p:spPr>
          <a:xfrm>
            <a:off x="4365039" y="1735669"/>
            <a:ext cx="3593629" cy="1876779"/>
          </a:xfrm>
        </p:spPr>
        <p:txBody>
          <a:bodyPr/>
          <a:lstStyle>
            <a:lvl1pPr marL="0" indent="0">
              <a:buNone/>
              <a:defRPr/>
            </a:lvl1pPr>
          </a:lstStyle>
          <a:p>
            <a:r>
              <a:rPr lang="en-US" altLang="zh-CN"/>
              <a:t>Click icon to add picture</a:t>
            </a:r>
            <a:endParaRPr lang="en-US"/>
          </a:p>
        </p:txBody>
      </p:sp>
      <p:sp>
        <p:nvSpPr>
          <p:cNvPr id="14" name="Picture Placeholder 5"/>
          <p:cNvSpPr>
            <a:spLocks noGrp="1"/>
          </p:cNvSpPr>
          <p:nvPr>
            <p:ph type="pic" sz="quarter" idx="16"/>
          </p:nvPr>
        </p:nvSpPr>
        <p:spPr>
          <a:xfrm>
            <a:off x="8240891" y="1735669"/>
            <a:ext cx="3593629" cy="1876779"/>
          </a:xfrm>
        </p:spPr>
        <p:txBody>
          <a:bodyPr/>
          <a:lstStyle>
            <a:lvl1pPr marL="0" indent="0">
              <a:buNone/>
              <a:defRPr/>
            </a:lvl1pPr>
          </a:lstStyle>
          <a:p>
            <a:r>
              <a:rPr lang="en-US" altLang="zh-CN"/>
              <a:t>Click icon to add picture</a:t>
            </a:r>
            <a:endParaRPr lang="en-US"/>
          </a:p>
        </p:txBody>
      </p:sp>
      <p:sp>
        <p:nvSpPr>
          <p:cNvPr id="15" name="Picture Placeholder 5"/>
          <p:cNvSpPr>
            <a:spLocks noGrp="1"/>
          </p:cNvSpPr>
          <p:nvPr>
            <p:ph type="pic" sz="quarter" idx="17"/>
          </p:nvPr>
        </p:nvSpPr>
        <p:spPr>
          <a:xfrm>
            <a:off x="470372" y="3810003"/>
            <a:ext cx="3593629" cy="1876779"/>
          </a:xfrm>
        </p:spPr>
        <p:txBody>
          <a:bodyPr/>
          <a:lstStyle>
            <a:lvl1pPr marL="0" indent="0">
              <a:buNone/>
              <a:defRPr/>
            </a:lvl1pPr>
          </a:lstStyle>
          <a:p>
            <a:r>
              <a:rPr lang="en-US" altLang="zh-CN"/>
              <a:t>Click icon to add picture</a:t>
            </a:r>
            <a:endParaRPr lang="en-US"/>
          </a:p>
        </p:txBody>
      </p:sp>
      <p:sp>
        <p:nvSpPr>
          <p:cNvPr id="16" name="Picture Placeholder 5"/>
          <p:cNvSpPr>
            <a:spLocks noGrp="1"/>
          </p:cNvSpPr>
          <p:nvPr>
            <p:ph type="pic" sz="quarter" idx="18"/>
          </p:nvPr>
        </p:nvSpPr>
        <p:spPr>
          <a:xfrm>
            <a:off x="4365039" y="3810003"/>
            <a:ext cx="3593629" cy="1876779"/>
          </a:xfrm>
        </p:spPr>
        <p:txBody>
          <a:bodyPr/>
          <a:lstStyle>
            <a:lvl1pPr marL="0" indent="0">
              <a:buNone/>
              <a:defRPr/>
            </a:lvl1pPr>
          </a:lstStyle>
          <a:p>
            <a:r>
              <a:rPr lang="en-US" altLang="zh-CN"/>
              <a:t>Click icon to add picture</a:t>
            </a:r>
            <a:endParaRPr lang="en-US"/>
          </a:p>
        </p:txBody>
      </p:sp>
      <p:sp>
        <p:nvSpPr>
          <p:cNvPr id="17" name="Picture Placeholder 5"/>
          <p:cNvSpPr>
            <a:spLocks noGrp="1"/>
          </p:cNvSpPr>
          <p:nvPr>
            <p:ph type="pic" sz="quarter" idx="19"/>
          </p:nvPr>
        </p:nvSpPr>
        <p:spPr>
          <a:xfrm>
            <a:off x="8240891" y="3810003"/>
            <a:ext cx="3593629" cy="1876779"/>
          </a:xfrm>
        </p:spPr>
        <p:txBody>
          <a:bodyPr/>
          <a:lstStyle>
            <a:lvl1pPr marL="0" indent="0">
              <a:buNone/>
              <a:defRPr/>
            </a:lvl1pPr>
          </a:lstStyle>
          <a:p>
            <a:r>
              <a:rPr lang="en-US" altLang="zh-CN"/>
              <a:t>Click icon to add picture</a:t>
            </a:r>
            <a:endParaRPr lang="en-US"/>
          </a:p>
        </p:txBody>
      </p:sp>
      <p:sp>
        <p:nvSpPr>
          <p:cNvPr id="4" name="Slide Number Placeholder 3"/>
          <p:cNvSpPr>
            <a:spLocks noGrp="1"/>
          </p:cNvSpPr>
          <p:nvPr>
            <p:ph type="sldNum" sz="quarter" idx="21"/>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2526835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 name="Title 1"/>
          <p:cNvSpPr>
            <a:spLocks noGrp="1"/>
          </p:cNvSpPr>
          <p:nvPr>
            <p:ph type="title"/>
          </p:nvPr>
        </p:nvSpPr>
        <p:spPr>
          <a:xfrm>
            <a:off x="446620" y="32168"/>
            <a:ext cx="11371433" cy="1044575"/>
          </a:xfrm>
        </p:spPr>
        <p:txBody>
          <a:bodyPr/>
          <a:lstStyle/>
          <a:p>
            <a:r>
              <a:rPr lang="en-US" altLang="zh-CN"/>
              <a:t>Click to edit Master title style</a:t>
            </a:r>
            <a:endParaRPr lang="en-US"/>
          </a:p>
        </p:txBody>
      </p:sp>
      <p:sp>
        <p:nvSpPr>
          <p:cNvPr id="6" name="Picture Placeholder 5"/>
          <p:cNvSpPr>
            <a:spLocks noGrp="1"/>
          </p:cNvSpPr>
          <p:nvPr>
            <p:ph type="pic" sz="quarter" idx="13"/>
          </p:nvPr>
        </p:nvSpPr>
        <p:spPr>
          <a:xfrm>
            <a:off x="470372" y="1487614"/>
            <a:ext cx="3593629" cy="4481388"/>
          </a:xfrm>
        </p:spPr>
        <p:txBody>
          <a:bodyPr/>
          <a:lstStyle>
            <a:lvl1pPr marL="0" indent="0">
              <a:buNone/>
              <a:defRPr/>
            </a:lvl1pPr>
          </a:lstStyle>
          <a:p>
            <a:r>
              <a:rPr lang="en-US" altLang="zh-CN"/>
              <a:t>Click icon to add picture</a:t>
            </a:r>
            <a:endParaRPr lang="en-US"/>
          </a:p>
        </p:txBody>
      </p:sp>
      <p:sp>
        <p:nvSpPr>
          <p:cNvPr id="4" name="Content Placeholder 3"/>
          <p:cNvSpPr>
            <a:spLocks noGrp="1"/>
          </p:cNvSpPr>
          <p:nvPr>
            <p:ph sz="quarter" idx="15"/>
          </p:nvPr>
        </p:nvSpPr>
        <p:spPr>
          <a:xfrm>
            <a:off x="4402668" y="1487614"/>
            <a:ext cx="7393517" cy="4495499"/>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5" name="Slide Number Placeholder 4"/>
          <p:cNvSpPr>
            <a:spLocks noGrp="1"/>
          </p:cNvSpPr>
          <p:nvPr>
            <p:ph type="sldNum" sz="quarter" idx="17"/>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42911033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13830761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1_Blank No Line">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119327404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6620" y="4873626"/>
            <a:ext cx="11371433" cy="566739"/>
          </a:xfrm>
        </p:spPr>
        <p:txBody>
          <a:bodyPr anchor="b">
            <a:noAutofit/>
          </a:bodyPr>
          <a:lstStyle>
            <a:lvl1pPr algn="l">
              <a:defRPr sz="2400" b="1"/>
            </a:lvl1pPr>
          </a:lstStyle>
          <a:p>
            <a:r>
              <a:rPr lang="en-US" altLang="zh-CN"/>
              <a:t>Click to edit Master title style</a:t>
            </a:r>
            <a:endParaRPr lang="en-US"/>
          </a:p>
        </p:txBody>
      </p:sp>
      <p:sp>
        <p:nvSpPr>
          <p:cNvPr id="3" name="Picture Placeholder 2"/>
          <p:cNvSpPr>
            <a:spLocks noGrp="1"/>
          </p:cNvSpPr>
          <p:nvPr>
            <p:ph type="pic" idx="1"/>
          </p:nvPr>
        </p:nvSpPr>
        <p:spPr>
          <a:xfrm>
            <a:off x="446620" y="1270000"/>
            <a:ext cx="11371433" cy="3530600"/>
          </a:xfrm>
        </p:spPr>
        <p:txBody>
          <a:bodyPr>
            <a:normAutofit/>
          </a:bodyPr>
          <a:lstStyle>
            <a:lvl1pPr marL="0" indent="0">
              <a:buNone/>
              <a:defRPr sz="2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ltLang="zh-CN"/>
              <a:t>Click icon to add picture</a:t>
            </a:r>
            <a:endParaRPr lang="en-US"/>
          </a:p>
        </p:txBody>
      </p:sp>
      <p:sp>
        <p:nvSpPr>
          <p:cNvPr id="4" name="Text Placeholder 3"/>
          <p:cNvSpPr>
            <a:spLocks noGrp="1"/>
          </p:cNvSpPr>
          <p:nvPr>
            <p:ph type="body" sz="half" idx="2"/>
          </p:nvPr>
        </p:nvSpPr>
        <p:spPr>
          <a:xfrm>
            <a:off x="446620" y="5440365"/>
            <a:ext cx="11371433" cy="641527"/>
          </a:xfrm>
        </p:spPr>
        <p:txBody>
          <a:bodyPr>
            <a:normAutofit/>
          </a:bodyPr>
          <a:lstStyle>
            <a:lvl1pPr marL="0" indent="0">
              <a:buNone/>
              <a:defRPr sz="1800">
                <a:solidFill>
                  <a:srgbClr val="A7A9AC"/>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ltLang="zh-CN"/>
              <a:t>Click to edit Master text styles</a:t>
            </a:r>
          </a:p>
        </p:txBody>
      </p:sp>
      <p:sp>
        <p:nvSpPr>
          <p:cNvPr id="7" name="Slide Number Placeholder 6"/>
          <p:cNvSpPr>
            <a:spLocks noGrp="1"/>
          </p:cNvSpPr>
          <p:nvPr>
            <p:ph type="sldNum" sz="quarter" idx="11"/>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28786344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6620" y="4873626"/>
            <a:ext cx="11371433" cy="566739"/>
          </a:xfrm>
        </p:spPr>
        <p:txBody>
          <a:bodyPr anchor="b">
            <a:noAutofit/>
          </a:bodyPr>
          <a:lstStyle>
            <a:lvl1pPr algn="l">
              <a:defRPr sz="2400" b="1"/>
            </a:lvl1pPr>
          </a:lstStyle>
          <a:p>
            <a:r>
              <a:rPr lang="en-US" altLang="zh-CN"/>
              <a:t>Click to edit Master title style</a:t>
            </a:r>
            <a:endParaRPr lang="en-US"/>
          </a:p>
        </p:txBody>
      </p:sp>
      <p:sp>
        <p:nvSpPr>
          <p:cNvPr id="3" name="Picture Placeholder 2"/>
          <p:cNvSpPr>
            <a:spLocks noGrp="1"/>
          </p:cNvSpPr>
          <p:nvPr>
            <p:ph type="pic" idx="1"/>
          </p:nvPr>
        </p:nvSpPr>
        <p:spPr>
          <a:xfrm>
            <a:off x="0" y="1"/>
            <a:ext cx="12192000" cy="4800600"/>
          </a:xfrm>
        </p:spPr>
        <p:txBody>
          <a:bodyPr>
            <a:normAutofit/>
          </a:bodyPr>
          <a:lstStyle>
            <a:lvl1pPr marL="0" indent="0">
              <a:buNone/>
              <a:defRPr sz="2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ltLang="zh-CN"/>
              <a:t>Click icon to add picture</a:t>
            </a:r>
            <a:endParaRPr lang="en-US"/>
          </a:p>
        </p:txBody>
      </p:sp>
      <p:sp>
        <p:nvSpPr>
          <p:cNvPr id="4" name="Text Placeholder 3"/>
          <p:cNvSpPr>
            <a:spLocks noGrp="1"/>
          </p:cNvSpPr>
          <p:nvPr>
            <p:ph type="body" sz="half" idx="2"/>
          </p:nvPr>
        </p:nvSpPr>
        <p:spPr>
          <a:xfrm>
            <a:off x="446620" y="5440366"/>
            <a:ext cx="11371433" cy="683859"/>
          </a:xfrm>
        </p:spPr>
        <p:txBody>
          <a:bodyPr>
            <a:normAutofit/>
          </a:bodyPr>
          <a:lstStyle>
            <a:lvl1pPr marL="0" indent="0">
              <a:buNone/>
              <a:defRPr sz="1800">
                <a:solidFill>
                  <a:schemeClr val="bg2"/>
                </a:solidFill>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ltLang="zh-CN"/>
              <a:t>Click to edit Master text styles</a:t>
            </a:r>
          </a:p>
        </p:txBody>
      </p:sp>
      <p:sp>
        <p:nvSpPr>
          <p:cNvPr id="7" name="Slide Number Placeholder 6"/>
          <p:cNvSpPr>
            <a:spLocks noGrp="1"/>
          </p:cNvSpPr>
          <p:nvPr>
            <p:ph type="sldNum" sz="quarter" idx="11"/>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8779332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8607" y="112891"/>
            <a:ext cx="11402239" cy="965603"/>
          </a:xfrm>
        </p:spPr>
        <p:txBody>
          <a:bodyPr/>
          <a:lstStyle/>
          <a:p>
            <a:r>
              <a:rPr lang="en-US" altLang="zh-CN"/>
              <a:t>Click to edit Master title style</a:t>
            </a:r>
            <a:endParaRPr lang="en-US"/>
          </a:p>
        </p:txBody>
      </p:sp>
      <p:sp>
        <p:nvSpPr>
          <p:cNvPr id="3" name="Slide Number Placeholder 2"/>
          <p:cNvSpPr>
            <a:spLocks noGrp="1"/>
          </p:cNvSpPr>
          <p:nvPr>
            <p:ph type="sldNum" sz="quarter" idx="10"/>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2490013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6" name="Subtitle 2"/>
          <p:cNvSpPr>
            <a:spLocks noGrp="1"/>
          </p:cNvSpPr>
          <p:nvPr>
            <p:ph type="subTitle" idx="1" hasCustomPrompt="1"/>
          </p:nvPr>
        </p:nvSpPr>
        <p:spPr>
          <a:xfrm>
            <a:off x="1133985" y="2620299"/>
            <a:ext cx="1943994" cy="584775"/>
          </a:xfrm>
          <a:ln>
            <a:noFill/>
          </a:ln>
        </p:spPr>
        <p:txBody>
          <a:bodyPr wrap="none">
            <a:spAutoFit/>
          </a:bodyPr>
          <a:lstStyle>
            <a:lvl1pPr marL="0" indent="0">
              <a:buFontTx/>
              <a:buNone/>
              <a:defRPr lang="en-US" sz="3200" dirty="0">
                <a:solidFill>
                  <a:schemeClr val="bg2"/>
                </a:solidFill>
              </a:defRPr>
            </a:lvl1pPr>
          </a:lstStyle>
          <a:p>
            <a:pPr marL="0" lvl="0"/>
            <a:r>
              <a:rPr lang="en-US"/>
              <a:t>Contact us</a:t>
            </a:r>
          </a:p>
        </p:txBody>
      </p:sp>
      <p:sp>
        <p:nvSpPr>
          <p:cNvPr id="11" name="Text Placeholder 10"/>
          <p:cNvSpPr>
            <a:spLocks noGrp="1"/>
          </p:cNvSpPr>
          <p:nvPr>
            <p:ph type="body" sz="quarter" idx="14"/>
          </p:nvPr>
        </p:nvSpPr>
        <p:spPr>
          <a:xfrm>
            <a:off x="1238866" y="3610279"/>
            <a:ext cx="6418767" cy="1822503"/>
          </a:xfrm>
          <a:noFill/>
        </p:spPr>
        <p:txBody>
          <a:bodyPr vert="horz" wrap="square" lIns="0" tIns="45720" rIns="91440" bIns="45720" rtlCol="0" anchor="t" anchorCtr="0">
            <a:noAutofit/>
          </a:bodyPr>
          <a:lstStyle>
            <a:lvl1pPr marL="0" indent="0">
              <a:spcAft>
                <a:spcPts val="1800"/>
              </a:spcAft>
              <a:buFontTx/>
              <a:buNone/>
              <a:defRPr lang="en-US" i="0" baseline="0" dirty="0">
                <a:solidFill>
                  <a:schemeClr val="tx1"/>
                </a:solidFill>
              </a:defRPr>
            </a:lvl1pPr>
          </a:lstStyle>
          <a:p>
            <a:pPr lvl="0">
              <a:buFontTx/>
              <a:buNone/>
            </a:pPr>
            <a:r>
              <a:rPr lang="en-US" altLang="zh-CN"/>
              <a:t>Click to edit Master text styles</a:t>
            </a:r>
          </a:p>
        </p:txBody>
      </p:sp>
      <p:sp>
        <p:nvSpPr>
          <p:cNvPr id="7" name="Slide Number Placeholder 6"/>
          <p:cNvSpPr>
            <a:spLocks noGrp="1"/>
          </p:cNvSpPr>
          <p:nvPr>
            <p:ph type="sldNum" sz="quarter" idx="16"/>
          </p:nvPr>
        </p:nvSpPr>
        <p:spPr/>
        <p:txBody>
          <a:bodyPr/>
          <a:lstStyle/>
          <a:p>
            <a:fld id="{8334361B-0D38-BE4A-AA1D-01A86672D338}" type="slidenum">
              <a:rPr lang="en-US" smtClean="0"/>
              <a:pPr/>
              <a:t>‹#›</a:t>
            </a:fld>
            <a:endParaRPr lang="en-US"/>
          </a:p>
        </p:txBody>
      </p:sp>
      <p:sp>
        <p:nvSpPr>
          <p:cNvPr id="8" name="Title 1">
            <a:extLst>
              <a:ext uri="{FF2B5EF4-FFF2-40B4-BE49-F238E27FC236}">
                <a16:creationId xmlns:a16="http://schemas.microsoft.com/office/drawing/2014/main" id="{0FB5C009-2588-43C7-9A14-B021419B10A1}"/>
              </a:ext>
            </a:extLst>
          </p:cNvPr>
          <p:cNvSpPr txBox="1">
            <a:spLocks/>
          </p:cNvSpPr>
          <p:nvPr userDrawn="1"/>
        </p:nvSpPr>
        <p:spPr>
          <a:xfrm>
            <a:off x="1133984" y="1733550"/>
            <a:ext cx="6079616" cy="857250"/>
          </a:xfrm>
          <a:prstGeom prst="rect">
            <a:avLst/>
          </a:prstGeom>
        </p:spPr>
        <p:txBody>
          <a:bodyPr vert="horz" lIns="68580" tIns="34290" rIns="68580" bIns="34290" rtlCol="0" anchor="ctr">
            <a:noAutofit/>
          </a:bodyPr>
          <a:lstStyle>
            <a:lvl1pPr algn="l" defTabSz="457200" rtl="0" eaLnBrk="1" latinLnBrk="0" hangingPunct="1">
              <a:spcBef>
                <a:spcPct val="0"/>
              </a:spcBef>
              <a:buNone/>
              <a:defRPr lang="en-US" sz="4800" kern="1200">
                <a:solidFill>
                  <a:schemeClr val="bg1">
                    <a:lumMod val="50000"/>
                  </a:schemeClr>
                </a:solidFill>
                <a:latin typeface="+mj-lt"/>
                <a:ea typeface="+mj-ea"/>
                <a:cs typeface="Arial"/>
              </a:defRPr>
            </a:lvl1pPr>
          </a:lstStyle>
          <a:p>
            <a:r>
              <a:rPr lang="en-US" sz="3600" b="1">
                <a:solidFill>
                  <a:schemeClr val="tx2"/>
                </a:solidFill>
              </a:rPr>
              <a:t>THANK YOU</a:t>
            </a:r>
          </a:p>
        </p:txBody>
      </p:sp>
    </p:spTree>
    <p:extLst>
      <p:ext uri="{BB962C8B-B14F-4D97-AF65-F5344CB8AC3E}">
        <p14:creationId xmlns:p14="http://schemas.microsoft.com/office/powerpoint/2010/main" val="41245481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Section Hea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2923824" y="2356556"/>
            <a:ext cx="8423457" cy="985128"/>
          </a:xfrm>
        </p:spPr>
        <p:txBody>
          <a:bodyPr>
            <a:noAutofit/>
          </a:bodyPr>
          <a:lstStyle>
            <a:lvl1pPr>
              <a:defRPr sz="2800" b="0" i="0">
                <a:solidFill>
                  <a:schemeClr val="bg1"/>
                </a:solidFill>
                <a:latin typeface="+mj-lt"/>
                <a:cs typeface="Arial"/>
              </a:defRPr>
            </a:lvl1pPr>
          </a:lstStyle>
          <a:p>
            <a:r>
              <a:rPr lang="en-US" altLang="zh-CN"/>
              <a:t>Click to edit Master title style</a:t>
            </a:r>
            <a:endParaRPr lang="en-US"/>
          </a:p>
        </p:txBody>
      </p:sp>
      <p:sp>
        <p:nvSpPr>
          <p:cNvPr id="4" name="Text Placeholder 3"/>
          <p:cNvSpPr>
            <a:spLocks noGrp="1"/>
          </p:cNvSpPr>
          <p:nvPr>
            <p:ph type="body" sz="quarter" idx="10"/>
          </p:nvPr>
        </p:nvSpPr>
        <p:spPr>
          <a:xfrm>
            <a:off x="2923117" y="3419822"/>
            <a:ext cx="8424160" cy="993153"/>
          </a:xfrm>
        </p:spPr>
        <p:txBody>
          <a:bodyPr/>
          <a:lstStyle>
            <a:lvl1pPr marL="0" indent="0">
              <a:buNone/>
              <a:defRPr sz="2400" i="1">
                <a:solidFill>
                  <a:schemeClr val="bg1">
                    <a:lumMod val="75000"/>
                  </a:schemeClr>
                </a:solidFill>
              </a:defRPr>
            </a:lvl1pPr>
            <a:lvl2pPr marL="344479" indent="0">
              <a:buNone/>
              <a:defRPr>
                <a:solidFill>
                  <a:schemeClr val="bg1">
                    <a:lumMod val="75000"/>
                  </a:schemeClr>
                </a:solidFill>
              </a:defRPr>
            </a:lvl2pPr>
            <a:lvl3pPr marL="744518" indent="0">
              <a:buNone/>
              <a:defRPr>
                <a:solidFill>
                  <a:schemeClr val="bg1">
                    <a:lumMod val="75000"/>
                  </a:schemeClr>
                </a:solidFill>
              </a:defRPr>
            </a:lvl3pPr>
            <a:lvl4pPr marL="1201707" indent="0">
              <a:buNone/>
              <a:defRPr>
                <a:solidFill>
                  <a:schemeClr val="bg1">
                    <a:lumMod val="75000"/>
                  </a:schemeClr>
                </a:solidFill>
              </a:defRPr>
            </a:lvl4pPr>
            <a:lvl5pPr marL="1603335" indent="0">
              <a:buNone/>
              <a:defRPr>
                <a:solidFill>
                  <a:schemeClr val="bg1">
                    <a:lumMod val="75000"/>
                  </a:schemeClr>
                </a:solidFill>
              </a:defRPr>
            </a:lvl5pPr>
          </a:lstStyle>
          <a:p>
            <a:pPr lvl="0"/>
            <a:r>
              <a:rPr lang="en-US" altLang="zh-CN"/>
              <a:t>Click to edit Master text styles</a:t>
            </a:r>
          </a:p>
        </p:txBody>
      </p:sp>
    </p:spTree>
    <p:extLst>
      <p:ext uri="{BB962C8B-B14F-4D97-AF65-F5344CB8AC3E}">
        <p14:creationId xmlns:p14="http://schemas.microsoft.com/office/powerpoint/2010/main" val="1448554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2709" y="154822"/>
            <a:ext cx="11068061" cy="8316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013633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1_Section Hea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2911831" y="2358290"/>
            <a:ext cx="8084791" cy="585611"/>
          </a:xfrm>
        </p:spPr>
        <p:txBody>
          <a:bodyPr>
            <a:noAutofit/>
          </a:bodyPr>
          <a:lstStyle>
            <a:lvl1pPr>
              <a:defRPr sz="2800" b="0" i="0">
                <a:solidFill>
                  <a:schemeClr val="tx2"/>
                </a:solidFill>
                <a:latin typeface="+mj-lt"/>
                <a:cs typeface="Arial"/>
              </a:defRPr>
            </a:lvl1pPr>
          </a:lstStyle>
          <a:p>
            <a:r>
              <a:rPr lang="en-US" altLang="zh-CN"/>
              <a:t>Click to edit Master title style</a:t>
            </a:r>
            <a:endParaRPr lang="en-US"/>
          </a:p>
        </p:txBody>
      </p:sp>
      <p:sp>
        <p:nvSpPr>
          <p:cNvPr id="5" name="Text Placeholder 3"/>
          <p:cNvSpPr>
            <a:spLocks noGrp="1"/>
          </p:cNvSpPr>
          <p:nvPr>
            <p:ph type="body" sz="quarter" idx="10"/>
          </p:nvPr>
        </p:nvSpPr>
        <p:spPr>
          <a:xfrm>
            <a:off x="2923117" y="2933310"/>
            <a:ext cx="8424160" cy="993153"/>
          </a:xfrm>
        </p:spPr>
        <p:txBody>
          <a:bodyPr/>
          <a:lstStyle>
            <a:lvl1pPr marL="0" indent="0">
              <a:buNone/>
              <a:defRPr sz="2400" i="1">
                <a:solidFill>
                  <a:schemeClr val="bg1"/>
                </a:solidFill>
              </a:defRPr>
            </a:lvl1pPr>
            <a:lvl2pPr marL="344479" indent="0">
              <a:buNone/>
              <a:defRPr>
                <a:solidFill>
                  <a:schemeClr val="bg1">
                    <a:lumMod val="75000"/>
                  </a:schemeClr>
                </a:solidFill>
              </a:defRPr>
            </a:lvl2pPr>
            <a:lvl3pPr marL="744518" indent="0">
              <a:buNone/>
              <a:defRPr>
                <a:solidFill>
                  <a:schemeClr val="bg1">
                    <a:lumMod val="75000"/>
                  </a:schemeClr>
                </a:solidFill>
              </a:defRPr>
            </a:lvl3pPr>
            <a:lvl4pPr marL="1201707" indent="0">
              <a:buNone/>
              <a:defRPr>
                <a:solidFill>
                  <a:schemeClr val="bg1">
                    <a:lumMod val="75000"/>
                  </a:schemeClr>
                </a:solidFill>
              </a:defRPr>
            </a:lvl4pPr>
            <a:lvl5pPr marL="1603335" indent="0">
              <a:buNone/>
              <a:defRPr>
                <a:solidFill>
                  <a:schemeClr val="bg1">
                    <a:lumMod val="75000"/>
                  </a:schemeClr>
                </a:solidFill>
              </a:defRPr>
            </a:lvl5pPr>
          </a:lstStyle>
          <a:p>
            <a:pPr lvl="0"/>
            <a:r>
              <a:rPr lang="en-US" altLang="zh-CN"/>
              <a:t>Click to edit Master text styles</a:t>
            </a:r>
          </a:p>
        </p:txBody>
      </p:sp>
    </p:spTree>
    <p:extLst>
      <p:ext uri="{BB962C8B-B14F-4D97-AF65-F5344CB8AC3E}">
        <p14:creationId xmlns:p14="http://schemas.microsoft.com/office/powerpoint/2010/main" val="5871239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2_Section Hea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5"/>
            <a:ext cx="10855507" cy="1054099"/>
          </a:xfrm>
        </p:spPr>
        <p:txBody>
          <a:bodyPr>
            <a:noAutofit/>
          </a:bodyPr>
          <a:lstStyle>
            <a:lvl1pPr>
              <a:defRPr sz="2800"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p:spPr>
        <p:txBody>
          <a:bodyPr/>
          <a:lstStyle>
            <a:lvl1pPr marL="0" indent="0">
              <a:buNone/>
              <a:defRPr sz="2400" i="1">
                <a:solidFill>
                  <a:schemeClr val="bg1">
                    <a:lumMod val="75000"/>
                  </a:schemeClr>
                </a:solidFill>
              </a:defRPr>
            </a:lvl1pPr>
            <a:lvl2pPr marL="344479" indent="0">
              <a:buNone/>
              <a:defRPr>
                <a:solidFill>
                  <a:schemeClr val="bg1">
                    <a:lumMod val="75000"/>
                  </a:schemeClr>
                </a:solidFill>
              </a:defRPr>
            </a:lvl2pPr>
            <a:lvl3pPr marL="744518" indent="0">
              <a:buNone/>
              <a:defRPr>
                <a:solidFill>
                  <a:schemeClr val="bg1">
                    <a:lumMod val="75000"/>
                  </a:schemeClr>
                </a:solidFill>
              </a:defRPr>
            </a:lvl3pPr>
            <a:lvl4pPr marL="1201707" indent="0">
              <a:buNone/>
              <a:defRPr>
                <a:solidFill>
                  <a:schemeClr val="bg1">
                    <a:lumMod val="75000"/>
                  </a:schemeClr>
                </a:solidFill>
              </a:defRPr>
            </a:lvl4pPr>
            <a:lvl5pPr marL="1603335" indent="0">
              <a:buNone/>
              <a:defRPr>
                <a:solidFill>
                  <a:schemeClr val="bg1">
                    <a:lumMod val="75000"/>
                  </a:schemeClr>
                </a:solidFill>
              </a:defRPr>
            </a:lvl5pPr>
          </a:lstStyle>
          <a:p>
            <a:pPr lvl="0"/>
            <a:r>
              <a:rPr lang="en-US" altLang="zh-CN"/>
              <a:t>Click to edit Master text styles</a:t>
            </a:r>
          </a:p>
        </p:txBody>
      </p:sp>
      <p:grpSp>
        <p:nvGrpSpPr>
          <p:cNvPr id="11" name="Group 10"/>
          <p:cNvGrpSpPr>
            <a:grpSpLocks noChangeAspect="1"/>
          </p:cNvGrpSpPr>
          <p:nvPr/>
        </p:nvGrpSpPr>
        <p:grpSpPr>
          <a:xfrm>
            <a:off x="11503154" y="231648"/>
            <a:ext cx="453948" cy="560832"/>
            <a:chOff x="7853519" y="3386873"/>
            <a:chExt cx="811215" cy="1002219"/>
          </a:xfrm>
        </p:grpSpPr>
        <p:sp>
          <p:nvSpPr>
            <p:cNvPr id="12" name="bk object 16"/>
            <p:cNvSpPr/>
            <p:nvPr/>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800"/>
            </a:p>
          </p:txBody>
        </p:sp>
        <p:sp>
          <p:nvSpPr>
            <p:cNvPr id="13" name="Freeform 12"/>
            <p:cNvSpPr/>
            <p:nvPr/>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5364223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3_Section Hea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469447"/>
            <a:ext cx="10855507" cy="1159847"/>
          </a:xfrm>
        </p:spPr>
        <p:txBody>
          <a:bodyPr>
            <a:noAutofit/>
          </a:bodyPr>
          <a:lstStyle>
            <a:lvl1pPr>
              <a:defRPr sz="2800" b="1" i="0">
                <a:solidFill>
                  <a:schemeClr val="tx2"/>
                </a:solidFill>
                <a:latin typeface="+mj-lt"/>
                <a:cs typeface="Arial"/>
              </a:defRPr>
            </a:lvl1pPr>
          </a:lstStyle>
          <a:p>
            <a:r>
              <a:rPr lang="en-US" altLang="zh-CN"/>
              <a:t>Click to edit Master title style</a:t>
            </a:r>
            <a:endParaRPr lang="en-US"/>
          </a:p>
        </p:txBody>
      </p:sp>
      <p:sp>
        <p:nvSpPr>
          <p:cNvPr id="5" name="Text Placeholder 3"/>
          <p:cNvSpPr>
            <a:spLocks noGrp="1"/>
          </p:cNvSpPr>
          <p:nvPr>
            <p:ph type="body" sz="quarter" idx="10"/>
          </p:nvPr>
        </p:nvSpPr>
        <p:spPr>
          <a:xfrm>
            <a:off x="446617" y="3684866"/>
            <a:ext cx="8424160" cy="993153"/>
          </a:xfrm>
        </p:spPr>
        <p:txBody>
          <a:bodyPr/>
          <a:lstStyle>
            <a:lvl1pPr marL="0" indent="0">
              <a:buNone/>
              <a:defRPr sz="2400" i="1">
                <a:solidFill>
                  <a:schemeClr val="tx2"/>
                </a:solidFill>
              </a:defRPr>
            </a:lvl1pPr>
            <a:lvl2pPr marL="344479" indent="0">
              <a:buNone/>
              <a:defRPr>
                <a:solidFill>
                  <a:schemeClr val="bg1">
                    <a:lumMod val="75000"/>
                  </a:schemeClr>
                </a:solidFill>
              </a:defRPr>
            </a:lvl2pPr>
            <a:lvl3pPr marL="744518" indent="0">
              <a:buNone/>
              <a:defRPr>
                <a:solidFill>
                  <a:schemeClr val="bg1">
                    <a:lumMod val="75000"/>
                  </a:schemeClr>
                </a:solidFill>
              </a:defRPr>
            </a:lvl3pPr>
            <a:lvl4pPr marL="1201707" indent="0">
              <a:buNone/>
              <a:defRPr>
                <a:solidFill>
                  <a:schemeClr val="bg1">
                    <a:lumMod val="75000"/>
                  </a:schemeClr>
                </a:solidFill>
              </a:defRPr>
            </a:lvl4pPr>
            <a:lvl5pPr marL="1603335" indent="0">
              <a:buNone/>
              <a:defRPr>
                <a:solidFill>
                  <a:schemeClr val="bg1">
                    <a:lumMod val="75000"/>
                  </a:schemeClr>
                </a:solidFill>
              </a:defRPr>
            </a:lvl5pPr>
          </a:lstStyle>
          <a:p>
            <a:pPr lvl="0"/>
            <a:r>
              <a:rPr lang="en-US" altLang="zh-CN"/>
              <a:t>Click to edit Master text styles</a:t>
            </a:r>
          </a:p>
        </p:txBody>
      </p:sp>
      <p:grpSp>
        <p:nvGrpSpPr>
          <p:cNvPr id="6" name="Group 5"/>
          <p:cNvGrpSpPr>
            <a:grpSpLocks noChangeAspect="1"/>
          </p:cNvGrpSpPr>
          <p:nvPr/>
        </p:nvGrpSpPr>
        <p:grpSpPr>
          <a:xfrm>
            <a:off x="11503154" y="231648"/>
            <a:ext cx="453948" cy="560832"/>
            <a:chOff x="7853519" y="3386873"/>
            <a:chExt cx="811215" cy="1002219"/>
          </a:xfrm>
        </p:grpSpPr>
        <p:sp>
          <p:nvSpPr>
            <p:cNvPr id="8" name="bk object 16"/>
            <p:cNvSpPr/>
            <p:nvPr/>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800"/>
            </a:p>
          </p:txBody>
        </p:sp>
        <p:sp>
          <p:nvSpPr>
            <p:cNvPr id="9" name="Freeform 8"/>
            <p:cNvSpPr/>
            <p:nvPr/>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11161827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4_Section Hea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5"/>
            <a:ext cx="10855507" cy="1054099"/>
          </a:xfrm>
        </p:spPr>
        <p:txBody>
          <a:bodyPr>
            <a:noAutofit/>
          </a:bodyPr>
          <a:lstStyle>
            <a:lvl1pPr>
              <a:defRPr sz="2800"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p:spPr>
        <p:txBody>
          <a:bodyPr/>
          <a:lstStyle>
            <a:lvl1pPr marL="0" indent="0">
              <a:buNone/>
              <a:defRPr sz="2400" i="1">
                <a:solidFill>
                  <a:schemeClr val="bg1"/>
                </a:solidFill>
              </a:defRPr>
            </a:lvl1pPr>
            <a:lvl2pPr marL="344479" indent="0">
              <a:buNone/>
              <a:defRPr>
                <a:solidFill>
                  <a:schemeClr val="bg1">
                    <a:lumMod val="75000"/>
                  </a:schemeClr>
                </a:solidFill>
              </a:defRPr>
            </a:lvl2pPr>
            <a:lvl3pPr marL="744518" indent="0">
              <a:buNone/>
              <a:defRPr>
                <a:solidFill>
                  <a:schemeClr val="bg1">
                    <a:lumMod val="75000"/>
                  </a:schemeClr>
                </a:solidFill>
              </a:defRPr>
            </a:lvl3pPr>
            <a:lvl4pPr marL="1201707" indent="0">
              <a:buNone/>
              <a:defRPr>
                <a:solidFill>
                  <a:schemeClr val="bg1">
                    <a:lumMod val="75000"/>
                  </a:schemeClr>
                </a:solidFill>
              </a:defRPr>
            </a:lvl4pPr>
            <a:lvl5pPr marL="1603335" indent="0">
              <a:buNone/>
              <a:defRPr>
                <a:solidFill>
                  <a:schemeClr val="bg1">
                    <a:lumMod val="75000"/>
                  </a:schemeClr>
                </a:solidFill>
              </a:defRPr>
            </a:lvl5pPr>
          </a:lstStyle>
          <a:p>
            <a:pPr lvl="0"/>
            <a:r>
              <a:rPr lang="en-US" altLang="zh-CN"/>
              <a:t>Click to edit Master text styles</a:t>
            </a:r>
          </a:p>
        </p:txBody>
      </p:sp>
      <p:grpSp>
        <p:nvGrpSpPr>
          <p:cNvPr id="5" name="Group 4"/>
          <p:cNvGrpSpPr>
            <a:grpSpLocks noChangeAspect="1"/>
          </p:cNvGrpSpPr>
          <p:nvPr/>
        </p:nvGrpSpPr>
        <p:grpSpPr>
          <a:xfrm>
            <a:off x="11503154" y="231648"/>
            <a:ext cx="453948" cy="560832"/>
            <a:chOff x="7853519" y="3386873"/>
            <a:chExt cx="811215" cy="1002219"/>
          </a:xfrm>
        </p:grpSpPr>
        <p:sp>
          <p:nvSpPr>
            <p:cNvPr id="8" name="bk object 16"/>
            <p:cNvSpPr/>
            <p:nvPr/>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800"/>
            </a:p>
          </p:txBody>
        </p:sp>
        <p:sp>
          <p:nvSpPr>
            <p:cNvPr id="9" name="Freeform 8"/>
            <p:cNvSpPr/>
            <p:nvPr/>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0501592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5_Section Head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5"/>
            <a:ext cx="10855507" cy="1054099"/>
          </a:xfrm>
        </p:spPr>
        <p:txBody>
          <a:bodyPr>
            <a:noAutofit/>
          </a:bodyPr>
          <a:lstStyle>
            <a:lvl1pPr>
              <a:defRPr sz="2800"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p:spPr>
        <p:txBody>
          <a:bodyPr/>
          <a:lstStyle>
            <a:lvl1pPr marL="0" indent="0">
              <a:buNone/>
              <a:defRPr sz="2400" i="1">
                <a:solidFill>
                  <a:schemeClr val="bg1"/>
                </a:solidFill>
              </a:defRPr>
            </a:lvl1pPr>
            <a:lvl2pPr marL="344479" indent="0">
              <a:buNone/>
              <a:defRPr>
                <a:solidFill>
                  <a:schemeClr val="bg1">
                    <a:lumMod val="75000"/>
                  </a:schemeClr>
                </a:solidFill>
              </a:defRPr>
            </a:lvl2pPr>
            <a:lvl3pPr marL="744518" indent="0">
              <a:buNone/>
              <a:defRPr>
                <a:solidFill>
                  <a:schemeClr val="bg1">
                    <a:lumMod val="75000"/>
                  </a:schemeClr>
                </a:solidFill>
              </a:defRPr>
            </a:lvl3pPr>
            <a:lvl4pPr marL="1201707" indent="0">
              <a:buNone/>
              <a:defRPr>
                <a:solidFill>
                  <a:schemeClr val="bg1">
                    <a:lumMod val="75000"/>
                  </a:schemeClr>
                </a:solidFill>
              </a:defRPr>
            </a:lvl4pPr>
            <a:lvl5pPr marL="1603335" indent="0">
              <a:buNone/>
              <a:defRPr>
                <a:solidFill>
                  <a:schemeClr val="bg1">
                    <a:lumMod val="75000"/>
                  </a:schemeClr>
                </a:solidFill>
              </a:defRPr>
            </a:lvl5pPr>
          </a:lstStyle>
          <a:p>
            <a:pPr lvl="0"/>
            <a:r>
              <a:rPr lang="en-US" altLang="zh-CN"/>
              <a:t>Click to edit Master text styles</a:t>
            </a:r>
          </a:p>
        </p:txBody>
      </p:sp>
      <p:grpSp>
        <p:nvGrpSpPr>
          <p:cNvPr id="5" name="Group 4"/>
          <p:cNvGrpSpPr>
            <a:grpSpLocks noChangeAspect="1"/>
          </p:cNvGrpSpPr>
          <p:nvPr/>
        </p:nvGrpSpPr>
        <p:grpSpPr>
          <a:xfrm>
            <a:off x="11503154" y="231648"/>
            <a:ext cx="453948" cy="560832"/>
            <a:chOff x="7853519" y="3386873"/>
            <a:chExt cx="811215" cy="1002219"/>
          </a:xfrm>
        </p:grpSpPr>
        <p:sp>
          <p:nvSpPr>
            <p:cNvPr id="8" name="bk object 16"/>
            <p:cNvSpPr/>
            <p:nvPr/>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800"/>
            </a:p>
          </p:txBody>
        </p:sp>
        <p:sp>
          <p:nvSpPr>
            <p:cNvPr id="9" name="Freeform 8"/>
            <p:cNvSpPr/>
            <p:nvPr/>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2615136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Section Hea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398892"/>
            <a:ext cx="10855507" cy="1251655"/>
          </a:xfrm>
        </p:spPr>
        <p:txBody>
          <a:bodyPr>
            <a:noAutofit/>
          </a:bodyPr>
          <a:lstStyle>
            <a:lvl1pPr>
              <a:defRPr sz="2800" b="1" i="0">
                <a:solidFill>
                  <a:schemeClr val="bg1"/>
                </a:solidFill>
                <a:latin typeface="+mj-lt"/>
                <a:cs typeface="Arial"/>
              </a:defRPr>
            </a:lvl1pPr>
          </a:lstStyle>
          <a:p>
            <a:r>
              <a:rPr lang="en-US" altLang="zh-CN"/>
              <a:t>Click to edit Master title style</a:t>
            </a:r>
            <a:endParaRPr lang="en-US"/>
          </a:p>
        </p:txBody>
      </p:sp>
      <p:sp>
        <p:nvSpPr>
          <p:cNvPr id="5" name="Text Placeholder 3"/>
          <p:cNvSpPr>
            <a:spLocks noGrp="1"/>
          </p:cNvSpPr>
          <p:nvPr>
            <p:ph type="body" sz="quarter" idx="10"/>
          </p:nvPr>
        </p:nvSpPr>
        <p:spPr>
          <a:xfrm>
            <a:off x="446617" y="3690303"/>
            <a:ext cx="8424160" cy="993153"/>
          </a:xfrm>
        </p:spPr>
        <p:txBody>
          <a:bodyPr/>
          <a:lstStyle>
            <a:lvl1pPr marL="0" indent="0">
              <a:buNone/>
              <a:defRPr sz="2400" i="1">
                <a:solidFill>
                  <a:schemeClr val="bg1">
                    <a:lumMod val="95000"/>
                  </a:schemeClr>
                </a:solidFill>
              </a:defRPr>
            </a:lvl1pPr>
            <a:lvl2pPr marL="344479" indent="0">
              <a:buNone/>
              <a:defRPr>
                <a:solidFill>
                  <a:schemeClr val="bg1">
                    <a:lumMod val="75000"/>
                  </a:schemeClr>
                </a:solidFill>
              </a:defRPr>
            </a:lvl2pPr>
            <a:lvl3pPr marL="744518" indent="0">
              <a:buNone/>
              <a:defRPr>
                <a:solidFill>
                  <a:schemeClr val="bg1">
                    <a:lumMod val="75000"/>
                  </a:schemeClr>
                </a:solidFill>
              </a:defRPr>
            </a:lvl3pPr>
            <a:lvl4pPr marL="1201707" indent="0">
              <a:buNone/>
              <a:defRPr>
                <a:solidFill>
                  <a:schemeClr val="bg1">
                    <a:lumMod val="75000"/>
                  </a:schemeClr>
                </a:solidFill>
              </a:defRPr>
            </a:lvl4pPr>
            <a:lvl5pPr marL="1603335" indent="0">
              <a:buNone/>
              <a:defRPr>
                <a:solidFill>
                  <a:schemeClr val="bg1">
                    <a:lumMod val="75000"/>
                  </a:schemeClr>
                </a:solidFill>
              </a:defRPr>
            </a:lvl5pPr>
          </a:lstStyle>
          <a:p>
            <a:pPr lvl="0"/>
            <a:r>
              <a:rPr lang="en-US" altLang="zh-CN"/>
              <a:t>Click to edit Master text styles</a:t>
            </a:r>
          </a:p>
        </p:txBody>
      </p:sp>
      <p:grpSp>
        <p:nvGrpSpPr>
          <p:cNvPr id="6" name="Group 5"/>
          <p:cNvGrpSpPr>
            <a:grpSpLocks noChangeAspect="1"/>
          </p:cNvGrpSpPr>
          <p:nvPr/>
        </p:nvGrpSpPr>
        <p:grpSpPr>
          <a:xfrm>
            <a:off x="11503154" y="231648"/>
            <a:ext cx="453948" cy="560832"/>
            <a:chOff x="7853519" y="3386873"/>
            <a:chExt cx="811215" cy="1002219"/>
          </a:xfrm>
        </p:grpSpPr>
        <p:sp>
          <p:nvSpPr>
            <p:cNvPr id="8" name="bk object 16"/>
            <p:cNvSpPr/>
            <p:nvPr/>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800"/>
            </a:p>
          </p:txBody>
        </p:sp>
        <p:sp>
          <p:nvSpPr>
            <p:cNvPr id="9" name="Freeform 8"/>
            <p:cNvSpPr/>
            <p:nvPr/>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7493875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446632" y="73134"/>
            <a:ext cx="11394848" cy="1000294"/>
          </a:xfrm>
        </p:spPr>
        <p:txBody>
          <a:bodyPr/>
          <a:lstStyle>
            <a:lvl1pPr>
              <a:defRPr b="1" i="0">
                <a:solidFill>
                  <a:srgbClr val="3F000B"/>
                </a:solidFill>
                <a:latin typeface="+mj-lt"/>
                <a:cs typeface="Calibri"/>
              </a:defRPr>
            </a:lvl1pPr>
          </a:lstStyle>
          <a:p>
            <a:r>
              <a:rPr lang="en-US" altLang="zh-CN"/>
              <a:t>Click to edit Master title style</a:t>
            </a:r>
            <a:endParaRPr lang="en-US"/>
          </a:p>
        </p:txBody>
      </p:sp>
      <p:sp>
        <p:nvSpPr>
          <p:cNvPr id="13" name="Text Placeholder 2"/>
          <p:cNvSpPr>
            <a:spLocks noGrp="1"/>
          </p:cNvSpPr>
          <p:nvPr>
            <p:ph idx="1"/>
          </p:nvPr>
        </p:nvSpPr>
        <p:spPr>
          <a:xfrm>
            <a:off x="448607" y="1466850"/>
            <a:ext cx="11403525" cy="4536418"/>
          </a:xfrm>
          <a:prstGeom prst="rect">
            <a:avLst/>
          </a:prstGeom>
        </p:spPr>
        <p:txBody>
          <a:bodyPr vert="horz" lIns="91440" tIns="45720" rIns="91440" bIns="45720" rtlCol="0">
            <a:noAutofit/>
          </a:bodyPr>
          <a:lstStyle>
            <a:lvl1pPr>
              <a:buClr>
                <a:schemeClr val="bg2"/>
              </a:buClr>
              <a:buSzPct val="100000"/>
              <a:defRPr>
                <a:solidFill>
                  <a:srgbClr val="000000"/>
                </a:solidFill>
              </a:defRPr>
            </a:lvl1pPr>
            <a:lvl2pPr>
              <a:buClr>
                <a:schemeClr val="bg2"/>
              </a:buClr>
              <a:buSzPct val="100000"/>
              <a:defRPr>
                <a:solidFill>
                  <a:srgbClr val="000000"/>
                </a:solidFill>
              </a:defRPr>
            </a:lvl2pPr>
            <a:lvl3pPr>
              <a:buClr>
                <a:schemeClr val="bg2"/>
              </a:buClr>
              <a:buSzPct val="100000"/>
              <a:defRPr>
                <a:solidFill>
                  <a:srgbClr val="000000"/>
                </a:solidFill>
              </a:defRPr>
            </a:lvl3pPr>
            <a:lvl4pPr>
              <a:buClr>
                <a:schemeClr val="bg2"/>
              </a:buClr>
              <a:buSzPct val="100000"/>
              <a:defRPr>
                <a:solidFill>
                  <a:srgbClr val="000000"/>
                </a:solidFill>
              </a:defRPr>
            </a:lvl4pPr>
            <a:lvl5pPr>
              <a:buClr>
                <a:schemeClr val="bg2"/>
              </a:buClr>
              <a:buSzPct val="100000"/>
              <a:defRPr>
                <a:solidFill>
                  <a:srgbClr val="000000"/>
                </a:solidFill>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Slide Number Placeholder 3"/>
          <p:cNvSpPr>
            <a:spLocks noGrp="1"/>
          </p:cNvSpPr>
          <p:nvPr>
            <p:ph type="sldNum" sz="quarter" idx="11"/>
          </p:nvPr>
        </p:nvSpPr>
        <p:spPr>
          <a:xfrm>
            <a:off x="448607" y="6356353"/>
            <a:ext cx="526815" cy="365125"/>
          </a:xfrm>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6532742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ext w/Chart and Table">
    <p:spTree>
      <p:nvGrpSpPr>
        <p:cNvPr id="1" name=""/>
        <p:cNvGrpSpPr/>
        <p:nvPr/>
      </p:nvGrpSpPr>
      <p:grpSpPr>
        <a:xfrm>
          <a:off x="0" y="0"/>
          <a:ext cx="0" cy="0"/>
          <a:chOff x="0" y="0"/>
          <a:chExt cx="0" cy="0"/>
        </a:xfrm>
      </p:grpSpPr>
      <p:sp>
        <p:nvSpPr>
          <p:cNvPr id="2" name="Title 1"/>
          <p:cNvSpPr>
            <a:spLocks noGrp="1"/>
          </p:cNvSpPr>
          <p:nvPr>
            <p:ph type="title"/>
          </p:nvPr>
        </p:nvSpPr>
        <p:spPr>
          <a:xfrm>
            <a:off x="446632" y="18916"/>
            <a:ext cx="11394848" cy="1044575"/>
          </a:xfrm>
        </p:spPr>
        <p:txBody>
          <a:bodyPr/>
          <a:lstStyle>
            <a:lvl1pPr>
              <a:defRPr b="1" i="0">
                <a:solidFill>
                  <a:schemeClr val="tx2"/>
                </a:solidFill>
                <a:latin typeface="+mj-lt"/>
                <a:cs typeface="Calibri"/>
              </a:defRPr>
            </a:lvl1pPr>
          </a:lstStyle>
          <a:p>
            <a:r>
              <a:rPr lang="en-US" altLang="zh-CN"/>
              <a:t>Click to edit Master title style</a:t>
            </a:r>
            <a:endParaRPr lang="en-US"/>
          </a:p>
        </p:txBody>
      </p:sp>
      <p:sp>
        <p:nvSpPr>
          <p:cNvPr id="6" name="Chart Placeholder 5"/>
          <p:cNvSpPr>
            <a:spLocks noGrp="1"/>
          </p:cNvSpPr>
          <p:nvPr>
            <p:ph type="chart" sz="quarter" idx="12"/>
          </p:nvPr>
        </p:nvSpPr>
        <p:spPr>
          <a:xfrm>
            <a:off x="469902" y="3866447"/>
            <a:ext cx="4872567" cy="2159000"/>
          </a:xfrm>
        </p:spPr>
        <p:txBody>
          <a:bodyPr/>
          <a:lstStyle>
            <a:lvl1pPr marL="0" indent="0">
              <a:buNone/>
              <a:defRPr/>
            </a:lvl1pPr>
          </a:lstStyle>
          <a:p>
            <a:r>
              <a:rPr lang="en-US" altLang="zh-CN"/>
              <a:t>Click icon to add chart</a:t>
            </a:r>
            <a:endParaRPr lang="en-US"/>
          </a:p>
        </p:txBody>
      </p:sp>
      <p:sp>
        <p:nvSpPr>
          <p:cNvPr id="8" name="Rectangle 7"/>
          <p:cNvSpPr/>
          <p:nvPr userDrawn="1"/>
        </p:nvSpPr>
        <p:spPr>
          <a:xfrm>
            <a:off x="5757336" y="3866447"/>
            <a:ext cx="6077185" cy="479778"/>
          </a:xfrm>
          <a:prstGeom prst="rect">
            <a:avLst/>
          </a:prstGeom>
          <a:solidFill>
            <a:srgbClr val="A7A9A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9" name="Rectangle 8"/>
          <p:cNvSpPr/>
          <p:nvPr userDrawn="1"/>
        </p:nvSpPr>
        <p:spPr>
          <a:xfrm>
            <a:off x="5757336" y="3880561"/>
            <a:ext cx="6077185" cy="2173111"/>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2" name="Text Placeholder 2"/>
          <p:cNvSpPr>
            <a:spLocks noGrp="1"/>
          </p:cNvSpPr>
          <p:nvPr>
            <p:ph idx="1"/>
          </p:nvPr>
        </p:nvSpPr>
        <p:spPr>
          <a:xfrm>
            <a:off x="448607" y="1466851"/>
            <a:ext cx="11403525" cy="2286706"/>
          </a:xfrm>
          <a:prstGeom prst="rect">
            <a:avLst/>
          </a:prstGeom>
        </p:spPr>
        <p:txBody>
          <a:bodyPr vert="horz" lIns="91440" tIns="45720" rIns="91440" bIns="45720" rtlCol="0">
            <a:normAutofit/>
          </a:bodyPr>
          <a:lstStyle>
            <a:lvl1pPr marL="0" indent="0">
              <a:buNone/>
              <a:defRPr/>
            </a:lvl1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Content Placeholder 3"/>
          <p:cNvSpPr>
            <a:spLocks noGrp="1"/>
          </p:cNvSpPr>
          <p:nvPr>
            <p:ph sz="quarter" idx="14"/>
          </p:nvPr>
        </p:nvSpPr>
        <p:spPr>
          <a:xfrm>
            <a:off x="5907617" y="4345875"/>
            <a:ext cx="5926667" cy="1679575"/>
          </a:xfrm>
        </p:spPr>
        <p:txBody>
          <a:bodyPr>
            <a:noAutofit/>
          </a:bodyPr>
          <a:lstStyle>
            <a:lvl1pPr>
              <a:defRPr sz="1350"/>
            </a:lvl1pPr>
            <a:lvl2pPr>
              <a:defRPr sz="1350"/>
            </a:lvl2pPr>
            <a:lvl3pPr>
              <a:defRPr sz="1350"/>
            </a:lvl3pPr>
            <a:lvl4pPr>
              <a:defRPr sz="1350"/>
            </a:lvl4pPr>
            <a:lvl5pPr>
              <a:defRPr sz="1350"/>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7" name="Text Placeholder 6"/>
          <p:cNvSpPr>
            <a:spLocks noGrp="1"/>
          </p:cNvSpPr>
          <p:nvPr>
            <p:ph type="body" sz="quarter" idx="15"/>
          </p:nvPr>
        </p:nvSpPr>
        <p:spPr>
          <a:xfrm>
            <a:off x="5907617" y="3923071"/>
            <a:ext cx="5926667" cy="465137"/>
          </a:xfrm>
        </p:spPr>
        <p:txBody>
          <a:bodyPr>
            <a:noAutofit/>
          </a:bodyPr>
          <a:lstStyle>
            <a:lvl1pPr marL="0" indent="0" algn="ctr">
              <a:buNone/>
              <a:defRPr sz="1200" b="1">
                <a:solidFill>
                  <a:schemeClr val="bg1"/>
                </a:solidFill>
              </a:defRPr>
            </a:lvl1pPr>
            <a:lvl2pPr marL="258365" indent="0" algn="ctr">
              <a:buNone/>
              <a:defRPr sz="1200" b="1"/>
            </a:lvl2pPr>
            <a:lvl3pPr marL="558403" indent="0" algn="ctr">
              <a:buNone/>
              <a:defRPr sz="1200" b="1"/>
            </a:lvl3pPr>
            <a:lvl4pPr marL="901303" indent="0" algn="ctr">
              <a:buNone/>
              <a:defRPr sz="1200" b="1"/>
            </a:lvl4pPr>
            <a:lvl5pPr marL="1202531" indent="0" algn="ctr">
              <a:buNone/>
              <a:defRPr sz="1200" b="1"/>
            </a:lvl5pPr>
          </a:lstStyle>
          <a:p>
            <a:pPr lvl="0"/>
            <a:r>
              <a:rPr lang="en-US" altLang="zh-CN"/>
              <a:t>Click to edit Master text styles</a:t>
            </a:r>
          </a:p>
        </p:txBody>
      </p:sp>
      <p:sp>
        <p:nvSpPr>
          <p:cNvPr id="5" name="Slide Number Placeholder 4"/>
          <p:cNvSpPr>
            <a:spLocks noGrp="1"/>
          </p:cNvSpPr>
          <p:nvPr>
            <p:ph type="sldNum" sz="quarter" idx="17"/>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5329254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mart Art">
    <p:spTree>
      <p:nvGrpSpPr>
        <p:cNvPr id="1" name=""/>
        <p:cNvGrpSpPr/>
        <p:nvPr/>
      </p:nvGrpSpPr>
      <p:grpSpPr>
        <a:xfrm>
          <a:off x="0" y="0"/>
          <a:ext cx="0" cy="0"/>
          <a:chOff x="0" y="0"/>
          <a:chExt cx="0" cy="0"/>
        </a:xfrm>
      </p:grpSpPr>
      <p:sp>
        <p:nvSpPr>
          <p:cNvPr id="2" name="Title 1"/>
          <p:cNvSpPr>
            <a:spLocks noGrp="1"/>
          </p:cNvSpPr>
          <p:nvPr>
            <p:ph type="title"/>
          </p:nvPr>
        </p:nvSpPr>
        <p:spPr>
          <a:xfrm>
            <a:off x="445741" y="32168"/>
            <a:ext cx="11372343" cy="1044575"/>
          </a:xfrm>
        </p:spPr>
        <p:txBody>
          <a:bodyPr/>
          <a:lstStyle>
            <a:lvl1pPr>
              <a:defRPr>
                <a:latin typeface="+mj-lt"/>
                <a:cs typeface="Arial"/>
              </a:defRPr>
            </a:lvl1pPr>
          </a:lstStyle>
          <a:p>
            <a:r>
              <a:rPr lang="en-US" altLang="zh-CN"/>
              <a:t>Click to edit Master title style</a:t>
            </a:r>
            <a:endParaRPr lang="en-US"/>
          </a:p>
        </p:txBody>
      </p:sp>
      <p:sp>
        <p:nvSpPr>
          <p:cNvPr id="5" name="SmartArt Placeholder 4"/>
          <p:cNvSpPr>
            <a:spLocks noGrp="1"/>
          </p:cNvSpPr>
          <p:nvPr>
            <p:ph type="dgm" sz="quarter" idx="11"/>
          </p:nvPr>
        </p:nvSpPr>
        <p:spPr>
          <a:xfrm>
            <a:off x="450853" y="1466851"/>
            <a:ext cx="11364383" cy="4530372"/>
          </a:xfrm>
        </p:spPr>
        <p:txBody>
          <a:bodyPr>
            <a:normAutofit/>
          </a:bodyPr>
          <a:lstStyle>
            <a:lvl1pPr marL="0" indent="0">
              <a:buNone/>
              <a:defRPr sz="1350"/>
            </a:lvl1pPr>
          </a:lstStyle>
          <a:p>
            <a:r>
              <a:rPr lang="en-US" altLang="zh-CN"/>
              <a:t>Click icon to add SmartArt graphic</a:t>
            </a:r>
            <a:endParaRPr lang="en-US"/>
          </a:p>
        </p:txBody>
      </p:sp>
      <p:sp>
        <p:nvSpPr>
          <p:cNvPr id="4" name="Slide Number Placeholder 3"/>
          <p:cNvSpPr>
            <a:spLocks noGrp="1"/>
          </p:cNvSpPr>
          <p:nvPr>
            <p:ph type="sldNum" sz="quarter" idx="13"/>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9449598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2" name="Title 1"/>
          <p:cNvSpPr>
            <a:spLocks noGrp="1"/>
          </p:cNvSpPr>
          <p:nvPr>
            <p:ph type="title"/>
          </p:nvPr>
        </p:nvSpPr>
        <p:spPr>
          <a:xfrm>
            <a:off x="446618" y="32168"/>
            <a:ext cx="11371433" cy="1044575"/>
          </a:xfrm>
        </p:spPr>
        <p:txBody>
          <a:bodyPr/>
          <a:lstStyle/>
          <a:p>
            <a:r>
              <a:rPr lang="en-US" altLang="zh-CN"/>
              <a:t>Click to edit Master title style</a:t>
            </a:r>
            <a:endParaRPr lang="en-US"/>
          </a:p>
        </p:txBody>
      </p:sp>
      <p:sp>
        <p:nvSpPr>
          <p:cNvPr id="3" name="Content Placeholder 2"/>
          <p:cNvSpPr>
            <a:spLocks noGrp="1"/>
          </p:cNvSpPr>
          <p:nvPr>
            <p:ph sz="half" idx="1"/>
          </p:nvPr>
        </p:nvSpPr>
        <p:spPr>
          <a:xfrm>
            <a:off x="446619" y="1466851"/>
            <a:ext cx="5547783" cy="4544482"/>
          </a:xfrm>
        </p:spPr>
        <p:txBody>
          <a:bodyPr>
            <a:noAutofit/>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4" name="Content Placeholder 3"/>
          <p:cNvSpPr>
            <a:spLocks noGrp="1"/>
          </p:cNvSpPr>
          <p:nvPr>
            <p:ph sz="half" idx="2"/>
          </p:nvPr>
        </p:nvSpPr>
        <p:spPr>
          <a:xfrm>
            <a:off x="6197601" y="1466851"/>
            <a:ext cx="5620449" cy="4544482"/>
          </a:xfrm>
        </p:spPr>
        <p:txBody>
          <a:bodyPr>
            <a:noAutofit/>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7" name="Slide Number Placeholder 6"/>
          <p:cNvSpPr>
            <a:spLocks noGrp="1"/>
          </p:cNvSpPr>
          <p:nvPr>
            <p:ph type="sldNum" sz="quarter" idx="11"/>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4093403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71379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abl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6619" y="32168"/>
            <a:ext cx="11396133" cy="1044575"/>
          </a:xfrm>
        </p:spPr>
        <p:txBody>
          <a:bodyPr/>
          <a:lstStyle>
            <a:lvl1pPr>
              <a:defRPr/>
            </a:lvl1pPr>
          </a:lstStyle>
          <a:p>
            <a:r>
              <a:rPr lang="en-US" altLang="zh-CN"/>
              <a:t>Click to edit Master title style</a:t>
            </a:r>
            <a:endParaRPr lang="en-US"/>
          </a:p>
        </p:txBody>
      </p:sp>
      <p:sp>
        <p:nvSpPr>
          <p:cNvPr id="8" name="Table Placeholder 7"/>
          <p:cNvSpPr>
            <a:spLocks noGrp="1"/>
          </p:cNvSpPr>
          <p:nvPr>
            <p:ph type="tbl" sz="quarter" idx="13"/>
          </p:nvPr>
        </p:nvSpPr>
        <p:spPr>
          <a:xfrm>
            <a:off x="410633" y="2046114"/>
            <a:ext cx="5596467" cy="3979333"/>
          </a:xfrm>
        </p:spPr>
        <p:txBody>
          <a:bodyPr/>
          <a:lstStyle>
            <a:lvl1pPr marL="0" indent="0">
              <a:buNone/>
              <a:defRPr/>
            </a:lvl1pPr>
          </a:lstStyle>
          <a:p>
            <a:r>
              <a:rPr lang="en-US" altLang="zh-CN"/>
              <a:t>Click icon to add table</a:t>
            </a:r>
            <a:endParaRPr lang="en-US"/>
          </a:p>
        </p:txBody>
      </p:sp>
      <p:sp>
        <p:nvSpPr>
          <p:cNvPr id="11" name="Table Placeholder 10"/>
          <p:cNvSpPr>
            <a:spLocks noGrp="1"/>
          </p:cNvSpPr>
          <p:nvPr>
            <p:ph type="tbl" sz="quarter" idx="14"/>
          </p:nvPr>
        </p:nvSpPr>
        <p:spPr>
          <a:xfrm>
            <a:off x="6167967" y="2045261"/>
            <a:ext cx="5649384" cy="3993416"/>
          </a:xfrm>
        </p:spPr>
        <p:txBody>
          <a:bodyPr/>
          <a:lstStyle>
            <a:lvl1pPr marL="0" indent="0">
              <a:buNone/>
              <a:defRPr/>
            </a:lvl1pPr>
          </a:lstStyle>
          <a:p>
            <a:r>
              <a:rPr lang="en-US" altLang="zh-CN"/>
              <a:t>Click icon to add table</a:t>
            </a:r>
            <a:endParaRPr lang="en-US"/>
          </a:p>
        </p:txBody>
      </p:sp>
      <p:sp>
        <p:nvSpPr>
          <p:cNvPr id="4" name="Slide Number Placeholder 3"/>
          <p:cNvSpPr>
            <a:spLocks noGrp="1"/>
          </p:cNvSpPr>
          <p:nvPr>
            <p:ph type="sldNum" sz="quarter" idx="16"/>
          </p:nvPr>
        </p:nvSpPr>
        <p:spPr/>
        <p:txBody>
          <a:bodyPr/>
          <a:lstStyle/>
          <a:p>
            <a:fld id="{8334361B-0D38-BE4A-AA1D-01A86672D338}" type="slidenum">
              <a:rPr lang="en-US" smtClean="0"/>
              <a:pPr/>
              <a:t>‹#›</a:t>
            </a:fld>
            <a:endParaRPr lang="en-US"/>
          </a:p>
        </p:txBody>
      </p:sp>
      <p:sp>
        <p:nvSpPr>
          <p:cNvPr id="6" name="Text Placeholder 5"/>
          <p:cNvSpPr>
            <a:spLocks noGrp="1"/>
          </p:cNvSpPr>
          <p:nvPr>
            <p:ph type="body" sz="quarter" idx="17"/>
          </p:nvPr>
        </p:nvSpPr>
        <p:spPr>
          <a:xfrm>
            <a:off x="414868" y="1468088"/>
            <a:ext cx="5605875" cy="549275"/>
          </a:xfrm>
        </p:spPr>
        <p:txBody>
          <a:bodyPr>
            <a:normAutofit/>
          </a:bodyPr>
          <a:lstStyle>
            <a:lvl1pPr marL="0" indent="0">
              <a:buNone/>
              <a:defRPr sz="1500">
                <a:solidFill>
                  <a:schemeClr val="bg2"/>
                </a:solidFill>
              </a:defRPr>
            </a:lvl1pPr>
            <a:lvl2pPr marL="258365" indent="0">
              <a:buNone/>
              <a:defRPr/>
            </a:lvl2pPr>
            <a:lvl3pPr marL="558403" indent="0">
              <a:buNone/>
              <a:defRPr/>
            </a:lvl3pPr>
            <a:lvl4pPr marL="901303" indent="0">
              <a:buNone/>
              <a:defRPr/>
            </a:lvl4pPr>
            <a:lvl5pPr marL="1202531" indent="0">
              <a:buNone/>
              <a:defRPr/>
            </a:lvl5pPr>
          </a:lstStyle>
          <a:p>
            <a:pPr lvl="0"/>
            <a:r>
              <a:rPr lang="en-US" altLang="zh-CN"/>
              <a:t>Click to edit Master text styles</a:t>
            </a:r>
          </a:p>
        </p:txBody>
      </p:sp>
      <p:sp>
        <p:nvSpPr>
          <p:cNvPr id="14" name="Text Placeholder 5"/>
          <p:cNvSpPr>
            <a:spLocks noGrp="1"/>
          </p:cNvSpPr>
          <p:nvPr>
            <p:ph type="body" sz="quarter" idx="18"/>
          </p:nvPr>
        </p:nvSpPr>
        <p:spPr>
          <a:xfrm>
            <a:off x="6172201" y="1468088"/>
            <a:ext cx="5605875" cy="549275"/>
          </a:xfrm>
        </p:spPr>
        <p:txBody>
          <a:bodyPr>
            <a:normAutofit/>
          </a:bodyPr>
          <a:lstStyle>
            <a:lvl1pPr marL="0" indent="0">
              <a:buNone/>
              <a:defRPr sz="1500">
                <a:solidFill>
                  <a:schemeClr val="bg2"/>
                </a:solidFill>
              </a:defRPr>
            </a:lvl1pPr>
            <a:lvl2pPr marL="258365" indent="0">
              <a:buNone/>
              <a:defRPr/>
            </a:lvl2pPr>
            <a:lvl3pPr marL="558403" indent="0">
              <a:buNone/>
              <a:defRPr/>
            </a:lvl3pPr>
            <a:lvl4pPr marL="901303" indent="0">
              <a:buNone/>
              <a:defRPr/>
            </a:lvl4pPr>
            <a:lvl5pPr marL="1202531" indent="0">
              <a:buNone/>
              <a:defRPr/>
            </a:lvl5pPr>
          </a:lstStyle>
          <a:p>
            <a:pPr lvl="0"/>
            <a:r>
              <a:rPr lang="en-US" altLang="zh-CN"/>
              <a:t>Click to edit Master text styles</a:t>
            </a:r>
          </a:p>
        </p:txBody>
      </p:sp>
    </p:spTree>
    <p:extLst>
      <p:ext uri="{BB962C8B-B14F-4D97-AF65-F5344CB8AC3E}">
        <p14:creationId xmlns:p14="http://schemas.microsoft.com/office/powerpoint/2010/main" val="21782350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ullets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46618" y="32168"/>
            <a:ext cx="11371433" cy="1044575"/>
          </a:xfrm>
        </p:spPr>
        <p:txBody>
          <a:bodyPr/>
          <a:lstStyle/>
          <a:p>
            <a:r>
              <a:rPr lang="en-US" altLang="zh-CN"/>
              <a:t>Click to edit Master title style</a:t>
            </a:r>
            <a:endParaRPr lang="en-US"/>
          </a:p>
        </p:txBody>
      </p:sp>
      <p:sp>
        <p:nvSpPr>
          <p:cNvPr id="3" name="Content Placeholder 2"/>
          <p:cNvSpPr>
            <a:spLocks noGrp="1"/>
          </p:cNvSpPr>
          <p:nvPr>
            <p:ph sz="half" idx="1"/>
          </p:nvPr>
        </p:nvSpPr>
        <p:spPr>
          <a:xfrm>
            <a:off x="446619" y="1466851"/>
            <a:ext cx="5547783" cy="4516260"/>
          </a:xfrm>
        </p:spPr>
        <p:txBody>
          <a:bodyPr>
            <a:noAutofit/>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Picture Placeholder 5"/>
          <p:cNvSpPr>
            <a:spLocks noGrp="1"/>
          </p:cNvSpPr>
          <p:nvPr>
            <p:ph type="pic" sz="quarter" idx="13"/>
          </p:nvPr>
        </p:nvSpPr>
        <p:spPr>
          <a:xfrm>
            <a:off x="6360115" y="1476067"/>
            <a:ext cx="5437716" cy="4476657"/>
          </a:xfrm>
        </p:spPr>
        <p:txBody>
          <a:bodyPr/>
          <a:lstStyle>
            <a:lvl1pPr marL="0" indent="0">
              <a:buNone/>
              <a:defRPr/>
            </a:lvl1pPr>
          </a:lstStyle>
          <a:p>
            <a:r>
              <a:rPr lang="en-US" altLang="zh-CN"/>
              <a:t>Drag picture to placeholder or click icon to add</a:t>
            </a:r>
            <a:endParaRPr lang="en-US"/>
          </a:p>
        </p:txBody>
      </p:sp>
      <p:sp>
        <p:nvSpPr>
          <p:cNvPr id="5" name="Slide Number Placeholder 4"/>
          <p:cNvSpPr>
            <a:spLocks noGrp="1"/>
          </p:cNvSpPr>
          <p:nvPr>
            <p:ph type="sldNum" sz="quarter" idx="15"/>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27411250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Bullets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46618" y="32168"/>
            <a:ext cx="6044495" cy="1044575"/>
          </a:xfrm>
        </p:spPr>
        <p:txBody>
          <a:bodyPr/>
          <a:lstStyle/>
          <a:p>
            <a:r>
              <a:rPr lang="en-US" altLang="zh-CN"/>
              <a:t>Click to edit Master title style</a:t>
            </a:r>
            <a:endParaRPr lang="en-US"/>
          </a:p>
        </p:txBody>
      </p:sp>
      <p:sp>
        <p:nvSpPr>
          <p:cNvPr id="3" name="Content Placeholder 2"/>
          <p:cNvSpPr>
            <a:spLocks noGrp="1"/>
          </p:cNvSpPr>
          <p:nvPr>
            <p:ph sz="half" idx="1"/>
          </p:nvPr>
        </p:nvSpPr>
        <p:spPr>
          <a:xfrm>
            <a:off x="446620" y="1466851"/>
            <a:ext cx="6044493" cy="4544482"/>
          </a:xfrm>
        </p:spPr>
        <p:txBody>
          <a:bodyPr>
            <a:noAutofit/>
          </a:bodyPr>
          <a:lstStyle>
            <a:lvl1pPr>
              <a:defRPr sz="1350"/>
            </a:lvl1pPr>
            <a:lvl2pPr>
              <a:defRPr sz="1350"/>
            </a:lvl2pPr>
            <a:lvl3pPr>
              <a:defRPr sz="1350"/>
            </a:lvl3pPr>
            <a:lvl4pPr>
              <a:defRPr sz="1350"/>
            </a:lvl4pPr>
            <a:lvl5pPr>
              <a:defRPr sz="1350"/>
            </a:lvl5pPr>
            <a:lvl6pPr>
              <a:defRPr sz="1350"/>
            </a:lvl6pPr>
            <a:lvl7pPr>
              <a:defRPr sz="1350"/>
            </a:lvl7pPr>
            <a:lvl8pPr>
              <a:defRPr sz="1350"/>
            </a:lvl8pPr>
            <a:lvl9pPr>
              <a:defRPr sz="135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6" name="Picture Placeholder 5"/>
          <p:cNvSpPr>
            <a:spLocks noGrp="1"/>
          </p:cNvSpPr>
          <p:nvPr>
            <p:ph type="pic" sz="quarter" idx="13"/>
          </p:nvPr>
        </p:nvSpPr>
        <p:spPr>
          <a:xfrm>
            <a:off x="6923853" y="0"/>
            <a:ext cx="5268147" cy="6862260"/>
          </a:xfrm>
        </p:spPr>
        <p:txBody>
          <a:bodyPr/>
          <a:lstStyle>
            <a:lvl1pPr marL="0" indent="0">
              <a:buNone/>
              <a:defRPr/>
            </a:lvl1pPr>
          </a:lstStyle>
          <a:p>
            <a:r>
              <a:rPr lang="en-US" altLang="zh-CN"/>
              <a:t>Drag picture to placeholder or click icon to add</a:t>
            </a:r>
            <a:endParaRPr lang="en-US"/>
          </a:p>
        </p:txBody>
      </p:sp>
      <p:sp>
        <p:nvSpPr>
          <p:cNvPr id="5" name="Slide Number Placeholder 4"/>
          <p:cNvSpPr>
            <a:spLocks noGrp="1"/>
          </p:cNvSpPr>
          <p:nvPr>
            <p:ph type="sldNum" sz="quarter" idx="15"/>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16147244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Product Page">
    <p:spTree>
      <p:nvGrpSpPr>
        <p:cNvPr id="1" name=""/>
        <p:cNvGrpSpPr/>
        <p:nvPr/>
      </p:nvGrpSpPr>
      <p:grpSpPr>
        <a:xfrm>
          <a:off x="0" y="0"/>
          <a:ext cx="0" cy="0"/>
          <a:chOff x="0" y="0"/>
          <a:chExt cx="0" cy="0"/>
        </a:xfrm>
      </p:grpSpPr>
      <p:sp>
        <p:nvSpPr>
          <p:cNvPr id="2" name="Title 1"/>
          <p:cNvSpPr>
            <a:spLocks noGrp="1"/>
          </p:cNvSpPr>
          <p:nvPr>
            <p:ph type="title"/>
          </p:nvPr>
        </p:nvSpPr>
        <p:spPr>
          <a:xfrm>
            <a:off x="446618" y="32168"/>
            <a:ext cx="11371433" cy="1045345"/>
          </a:xfrm>
        </p:spPr>
        <p:txBody>
          <a:bodyPr/>
          <a:lstStyle/>
          <a:p>
            <a:r>
              <a:rPr lang="en-US" altLang="zh-CN"/>
              <a:t>Click to edit Master title style</a:t>
            </a:r>
            <a:endParaRPr lang="en-US"/>
          </a:p>
        </p:txBody>
      </p:sp>
      <p:sp>
        <p:nvSpPr>
          <p:cNvPr id="6" name="Picture Placeholder 5"/>
          <p:cNvSpPr>
            <a:spLocks noGrp="1"/>
          </p:cNvSpPr>
          <p:nvPr>
            <p:ph type="pic" sz="quarter" idx="13"/>
          </p:nvPr>
        </p:nvSpPr>
        <p:spPr>
          <a:xfrm>
            <a:off x="470372" y="1735667"/>
            <a:ext cx="3593629" cy="1876778"/>
          </a:xfrm>
        </p:spPr>
        <p:txBody>
          <a:bodyPr/>
          <a:lstStyle>
            <a:lvl1pPr marL="0" indent="0">
              <a:buNone/>
              <a:defRPr/>
            </a:lvl1pPr>
          </a:lstStyle>
          <a:p>
            <a:r>
              <a:rPr lang="en-US" altLang="zh-CN"/>
              <a:t>Drag picture to placeholder or click icon to add</a:t>
            </a:r>
            <a:endParaRPr lang="en-US"/>
          </a:p>
        </p:txBody>
      </p:sp>
      <p:sp>
        <p:nvSpPr>
          <p:cNvPr id="13" name="Picture Placeholder 5"/>
          <p:cNvSpPr>
            <a:spLocks noGrp="1"/>
          </p:cNvSpPr>
          <p:nvPr>
            <p:ph type="pic" sz="quarter" idx="15"/>
          </p:nvPr>
        </p:nvSpPr>
        <p:spPr>
          <a:xfrm>
            <a:off x="4365039" y="1735667"/>
            <a:ext cx="3593629" cy="1876778"/>
          </a:xfrm>
        </p:spPr>
        <p:txBody>
          <a:bodyPr/>
          <a:lstStyle>
            <a:lvl1pPr marL="0" indent="0">
              <a:buNone/>
              <a:defRPr/>
            </a:lvl1pPr>
          </a:lstStyle>
          <a:p>
            <a:r>
              <a:rPr lang="en-US" altLang="zh-CN"/>
              <a:t>Drag picture to placeholder or click icon to add</a:t>
            </a:r>
            <a:endParaRPr lang="en-US"/>
          </a:p>
        </p:txBody>
      </p:sp>
      <p:sp>
        <p:nvSpPr>
          <p:cNvPr id="14" name="Picture Placeholder 5"/>
          <p:cNvSpPr>
            <a:spLocks noGrp="1"/>
          </p:cNvSpPr>
          <p:nvPr>
            <p:ph type="pic" sz="quarter" idx="16"/>
          </p:nvPr>
        </p:nvSpPr>
        <p:spPr>
          <a:xfrm>
            <a:off x="8240891" y="1735667"/>
            <a:ext cx="3593629" cy="1876778"/>
          </a:xfrm>
        </p:spPr>
        <p:txBody>
          <a:bodyPr/>
          <a:lstStyle>
            <a:lvl1pPr marL="0" indent="0">
              <a:buNone/>
              <a:defRPr/>
            </a:lvl1pPr>
          </a:lstStyle>
          <a:p>
            <a:r>
              <a:rPr lang="en-US" altLang="zh-CN"/>
              <a:t>Drag picture to placeholder or click icon to add</a:t>
            </a:r>
            <a:endParaRPr lang="en-US"/>
          </a:p>
        </p:txBody>
      </p:sp>
      <p:sp>
        <p:nvSpPr>
          <p:cNvPr id="15" name="Picture Placeholder 5"/>
          <p:cNvSpPr>
            <a:spLocks noGrp="1"/>
          </p:cNvSpPr>
          <p:nvPr>
            <p:ph type="pic" sz="quarter" idx="17"/>
          </p:nvPr>
        </p:nvSpPr>
        <p:spPr>
          <a:xfrm>
            <a:off x="470372" y="3810001"/>
            <a:ext cx="3593629" cy="1876778"/>
          </a:xfrm>
        </p:spPr>
        <p:txBody>
          <a:bodyPr/>
          <a:lstStyle>
            <a:lvl1pPr marL="0" indent="0">
              <a:buNone/>
              <a:defRPr/>
            </a:lvl1pPr>
          </a:lstStyle>
          <a:p>
            <a:r>
              <a:rPr lang="en-US" altLang="zh-CN"/>
              <a:t>Drag picture to placeholder or click icon to add</a:t>
            </a:r>
            <a:endParaRPr lang="en-US"/>
          </a:p>
        </p:txBody>
      </p:sp>
      <p:sp>
        <p:nvSpPr>
          <p:cNvPr id="16" name="Picture Placeholder 5"/>
          <p:cNvSpPr>
            <a:spLocks noGrp="1"/>
          </p:cNvSpPr>
          <p:nvPr>
            <p:ph type="pic" sz="quarter" idx="18"/>
          </p:nvPr>
        </p:nvSpPr>
        <p:spPr>
          <a:xfrm>
            <a:off x="4365039" y="3810001"/>
            <a:ext cx="3593629" cy="1876778"/>
          </a:xfrm>
        </p:spPr>
        <p:txBody>
          <a:bodyPr/>
          <a:lstStyle>
            <a:lvl1pPr marL="0" indent="0">
              <a:buNone/>
              <a:defRPr/>
            </a:lvl1pPr>
          </a:lstStyle>
          <a:p>
            <a:r>
              <a:rPr lang="en-US" altLang="zh-CN"/>
              <a:t>Drag picture to placeholder or click icon to add</a:t>
            </a:r>
            <a:endParaRPr lang="en-US"/>
          </a:p>
        </p:txBody>
      </p:sp>
      <p:sp>
        <p:nvSpPr>
          <p:cNvPr id="17" name="Picture Placeholder 5"/>
          <p:cNvSpPr>
            <a:spLocks noGrp="1"/>
          </p:cNvSpPr>
          <p:nvPr>
            <p:ph type="pic" sz="quarter" idx="19"/>
          </p:nvPr>
        </p:nvSpPr>
        <p:spPr>
          <a:xfrm>
            <a:off x="8240891" y="3810001"/>
            <a:ext cx="3593629" cy="1876778"/>
          </a:xfrm>
        </p:spPr>
        <p:txBody>
          <a:bodyPr/>
          <a:lstStyle>
            <a:lvl1pPr marL="0" indent="0">
              <a:buNone/>
              <a:defRPr/>
            </a:lvl1pPr>
          </a:lstStyle>
          <a:p>
            <a:r>
              <a:rPr lang="en-US" altLang="zh-CN"/>
              <a:t>Drag picture to placeholder or click icon to add</a:t>
            </a:r>
            <a:endParaRPr lang="en-US"/>
          </a:p>
        </p:txBody>
      </p:sp>
      <p:sp>
        <p:nvSpPr>
          <p:cNvPr id="4" name="Slide Number Placeholder 3"/>
          <p:cNvSpPr>
            <a:spLocks noGrp="1"/>
          </p:cNvSpPr>
          <p:nvPr>
            <p:ph type="sldNum" sz="quarter" idx="21"/>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32410563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sp>
        <p:nvSpPr>
          <p:cNvPr id="2" name="Title 1"/>
          <p:cNvSpPr>
            <a:spLocks noGrp="1"/>
          </p:cNvSpPr>
          <p:nvPr>
            <p:ph type="title"/>
          </p:nvPr>
        </p:nvSpPr>
        <p:spPr>
          <a:xfrm>
            <a:off x="446618" y="32168"/>
            <a:ext cx="11371433" cy="1044575"/>
          </a:xfrm>
        </p:spPr>
        <p:txBody>
          <a:bodyPr/>
          <a:lstStyle/>
          <a:p>
            <a:r>
              <a:rPr lang="en-US" altLang="zh-CN"/>
              <a:t>Click to edit Master title style</a:t>
            </a:r>
            <a:endParaRPr lang="en-US"/>
          </a:p>
        </p:txBody>
      </p:sp>
      <p:sp>
        <p:nvSpPr>
          <p:cNvPr id="6" name="Picture Placeholder 5"/>
          <p:cNvSpPr>
            <a:spLocks noGrp="1"/>
          </p:cNvSpPr>
          <p:nvPr>
            <p:ph type="pic" sz="quarter" idx="13"/>
          </p:nvPr>
        </p:nvSpPr>
        <p:spPr>
          <a:xfrm>
            <a:off x="470372" y="1487613"/>
            <a:ext cx="3593629" cy="4481388"/>
          </a:xfrm>
        </p:spPr>
        <p:txBody>
          <a:bodyPr/>
          <a:lstStyle>
            <a:lvl1pPr marL="0" indent="0">
              <a:buNone/>
              <a:defRPr/>
            </a:lvl1pPr>
          </a:lstStyle>
          <a:p>
            <a:r>
              <a:rPr lang="en-US" altLang="zh-CN"/>
              <a:t>Drag picture to placeholder or click icon to add</a:t>
            </a:r>
            <a:endParaRPr lang="en-US"/>
          </a:p>
        </p:txBody>
      </p:sp>
      <p:sp>
        <p:nvSpPr>
          <p:cNvPr id="4" name="Content Placeholder 3"/>
          <p:cNvSpPr>
            <a:spLocks noGrp="1"/>
          </p:cNvSpPr>
          <p:nvPr>
            <p:ph sz="quarter" idx="15"/>
          </p:nvPr>
        </p:nvSpPr>
        <p:spPr>
          <a:xfrm>
            <a:off x="4402668" y="1487614"/>
            <a:ext cx="7393517" cy="4495499"/>
          </a:xfrm>
        </p:spPr>
        <p:txBody>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sp>
        <p:nvSpPr>
          <p:cNvPr id="5" name="Slide Number Placeholder 4"/>
          <p:cNvSpPr>
            <a:spLocks noGrp="1"/>
          </p:cNvSpPr>
          <p:nvPr>
            <p:ph type="sldNum" sz="quarter" idx="17"/>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35783387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Title 1"/>
          <p:cNvSpPr txBox="1">
            <a:spLocks/>
          </p:cNvSpPr>
          <p:nvPr userDrawn="1"/>
        </p:nvSpPr>
        <p:spPr>
          <a:xfrm>
            <a:off x="1133984" y="1733550"/>
            <a:ext cx="6079616" cy="857250"/>
          </a:xfrm>
          <a:prstGeom prst="rect">
            <a:avLst/>
          </a:prstGeom>
        </p:spPr>
        <p:txBody>
          <a:bodyPr vert="horz" lIns="68580" tIns="34290" rIns="68580" bIns="34290" rtlCol="0" anchor="ctr">
            <a:noAutofit/>
          </a:bodyPr>
          <a:lstStyle>
            <a:lvl1pPr algn="l" defTabSz="457200" rtl="0" eaLnBrk="1" latinLnBrk="0" hangingPunct="1">
              <a:spcBef>
                <a:spcPct val="0"/>
              </a:spcBef>
              <a:buNone/>
              <a:defRPr lang="en-US" sz="4800" kern="1200">
                <a:solidFill>
                  <a:schemeClr val="bg1">
                    <a:lumMod val="50000"/>
                  </a:schemeClr>
                </a:solidFill>
                <a:latin typeface="+mj-lt"/>
                <a:ea typeface="+mj-ea"/>
                <a:cs typeface="Arial"/>
              </a:defRPr>
            </a:lvl1pPr>
          </a:lstStyle>
          <a:p>
            <a:r>
              <a:rPr lang="en-US" sz="3600" b="1">
                <a:solidFill>
                  <a:schemeClr val="tx2"/>
                </a:solidFill>
              </a:rPr>
              <a:t>THANK YOU</a:t>
            </a:r>
          </a:p>
        </p:txBody>
      </p:sp>
      <p:sp>
        <p:nvSpPr>
          <p:cNvPr id="6" name="Subtitle 2"/>
          <p:cNvSpPr>
            <a:spLocks noGrp="1"/>
          </p:cNvSpPr>
          <p:nvPr>
            <p:ph type="subTitle" idx="1" hasCustomPrompt="1"/>
          </p:nvPr>
        </p:nvSpPr>
        <p:spPr>
          <a:xfrm>
            <a:off x="1133984" y="2620299"/>
            <a:ext cx="1498872" cy="461665"/>
          </a:xfrm>
          <a:ln>
            <a:noFill/>
          </a:ln>
        </p:spPr>
        <p:txBody>
          <a:bodyPr wrap="none">
            <a:spAutoFit/>
          </a:bodyPr>
          <a:lstStyle>
            <a:lvl1pPr marL="0" indent="0">
              <a:buFontTx/>
              <a:buNone/>
              <a:defRPr lang="en-US" sz="2400" dirty="0">
                <a:solidFill>
                  <a:schemeClr val="bg2"/>
                </a:solidFill>
              </a:defRPr>
            </a:lvl1pPr>
          </a:lstStyle>
          <a:p>
            <a:pPr marL="0" lvl="0"/>
            <a:r>
              <a:rPr lang="en-US"/>
              <a:t>Contact us</a:t>
            </a:r>
          </a:p>
        </p:txBody>
      </p:sp>
      <p:sp>
        <p:nvSpPr>
          <p:cNvPr id="11" name="Text Placeholder 10"/>
          <p:cNvSpPr>
            <a:spLocks noGrp="1"/>
          </p:cNvSpPr>
          <p:nvPr>
            <p:ph type="body" sz="quarter" idx="14"/>
          </p:nvPr>
        </p:nvSpPr>
        <p:spPr>
          <a:xfrm>
            <a:off x="1238865" y="3610276"/>
            <a:ext cx="6418767" cy="1822502"/>
          </a:xfrm>
          <a:noFill/>
        </p:spPr>
        <p:txBody>
          <a:bodyPr vert="horz" wrap="square" lIns="0" tIns="45720" rIns="91440" bIns="45720" rtlCol="0" anchor="t" anchorCtr="0">
            <a:noAutofit/>
          </a:bodyPr>
          <a:lstStyle>
            <a:lvl1pPr marL="0" indent="0">
              <a:spcAft>
                <a:spcPts val="1350"/>
              </a:spcAft>
              <a:buFontTx/>
              <a:buNone/>
              <a:defRPr lang="en-US" i="0" baseline="0" dirty="0">
                <a:solidFill>
                  <a:schemeClr val="tx1"/>
                </a:solidFill>
              </a:defRPr>
            </a:lvl1pPr>
          </a:lstStyle>
          <a:p>
            <a:pPr lvl="0">
              <a:buFontTx/>
              <a:buNone/>
            </a:pPr>
            <a:r>
              <a:rPr lang="en-US" altLang="zh-CN"/>
              <a:t>Click to edit Master text styles</a:t>
            </a:r>
          </a:p>
        </p:txBody>
      </p:sp>
      <p:sp>
        <p:nvSpPr>
          <p:cNvPr id="7" name="Slide Number Placeholder 6"/>
          <p:cNvSpPr>
            <a:spLocks noGrp="1"/>
          </p:cNvSpPr>
          <p:nvPr>
            <p:ph type="sldNum" sz="quarter" idx="16"/>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16468155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7_Section Head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2923822" y="2356556"/>
            <a:ext cx="8423457" cy="985128"/>
          </a:xfrm>
        </p:spPr>
        <p:txBody>
          <a:bodyPr>
            <a:noAutofit/>
          </a:bodyPr>
          <a:lstStyle>
            <a:lvl1pPr>
              <a:defRPr sz="2100" b="1" i="0">
                <a:solidFill>
                  <a:schemeClr val="bg1"/>
                </a:solidFill>
                <a:latin typeface="+mj-lt"/>
                <a:cs typeface="Arial"/>
              </a:defRPr>
            </a:lvl1pPr>
          </a:lstStyle>
          <a:p>
            <a:r>
              <a:rPr lang="en-US" altLang="zh-CN"/>
              <a:t>Click to edit Master title style</a:t>
            </a:r>
            <a:endParaRPr lang="en-US"/>
          </a:p>
        </p:txBody>
      </p:sp>
      <p:sp>
        <p:nvSpPr>
          <p:cNvPr id="4" name="Text Placeholder 3"/>
          <p:cNvSpPr>
            <a:spLocks noGrp="1"/>
          </p:cNvSpPr>
          <p:nvPr>
            <p:ph type="body" sz="quarter" idx="10"/>
          </p:nvPr>
        </p:nvSpPr>
        <p:spPr>
          <a:xfrm>
            <a:off x="2923117" y="3419821"/>
            <a:ext cx="8424160" cy="993153"/>
          </a:xfrm>
        </p:spPr>
        <p:txBody>
          <a:bodyPr/>
          <a:lstStyle>
            <a:lvl1pPr marL="0" indent="0">
              <a:buNone/>
              <a:defRPr sz="1800" i="1">
                <a:solidFill>
                  <a:schemeClr val="bg1">
                    <a:lumMod val="75000"/>
                  </a:schemeClr>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spTree>
    <p:extLst>
      <p:ext uri="{BB962C8B-B14F-4D97-AF65-F5344CB8AC3E}">
        <p14:creationId xmlns:p14="http://schemas.microsoft.com/office/powerpoint/2010/main" val="6993276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8_Section Header Blank Munse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4690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8_Section Head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2911830" y="2844800"/>
            <a:ext cx="8084791" cy="585610"/>
          </a:xfrm>
        </p:spPr>
        <p:txBody>
          <a:bodyPr>
            <a:noAutofit/>
          </a:bodyPr>
          <a:lstStyle>
            <a:lvl1pPr>
              <a:defRPr sz="2100" b="1" i="0">
                <a:solidFill>
                  <a:schemeClr val="tx2"/>
                </a:solidFill>
                <a:latin typeface="+mj-lt"/>
                <a:cs typeface="Arial"/>
              </a:defRPr>
            </a:lvl1pPr>
          </a:lstStyle>
          <a:p>
            <a:r>
              <a:rPr lang="en-US" altLang="zh-CN"/>
              <a:t>Click to edit Master title style</a:t>
            </a:r>
            <a:endParaRPr lang="en-US"/>
          </a:p>
        </p:txBody>
      </p:sp>
      <p:sp>
        <p:nvSpPr>
          <p:cNvPr id="5" name="Text Placeholder 3"/>
          <p:cNvSpPr>
            <a:spLocks noGrp="1"/>
          </p:cNvSpPr>
          <p:nvPr>
            <p:ph type="body" sz="quarter" idx="10"/>
          </p:nvPr>
        </p:nvSpPr>
        <p:spPr>
          <a:xfrm>
            <a:off x="2923117" y="3419821"/>
            <a:ext cx="8424160" cy="993153"/>
          </a:xfrm>
        </p:spPr>
        <p:txBody>
          <a:bodyPr/>
          <a:lstStyle>
            <a:lvl1pPr marL="0" indent="0">
              <a:buNone/>
              <a:defRPr sz="1800" i="1">
                <a:solidFill>
                  <a:schemeClr val="bg1"/>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spTree>
    <p:extLst>
      <p:ext uri="{BB962C8B-B14F-4D97-AF65-F5344CB8AC3E}">
        <p14:creationId xmlns:p14="http://schemas.microsoft.com/office/powerpoint/2010/main" val="42566011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8_Section Header Blank Sil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186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6146" name="Picture 2" descr="Z:\BCG_DailyTasks\27-Jan-2015\30584-180900-38-Michael Van Pelt-Template_Hershey\Input\Picture2.png"/>
          <p:cNvPicPr>
            <a:picLocks noChangeAspect="1" noChangeArrowheads="1"/>
          </p:cNvPicPr>
          <p:nvPr userDrawn="1"/>
        </p:nvPicPr>
        <p:blipFill>
          <a:blip r:embed="rId2" cstate="print"/>
          <a:srcRect t="2204" b="2204"/>
          <a:stretch>
            <a:fillRect/>
          </a:stretch>
        </p:blipFill>
        <p:spPr bwMode="auto">
          <a:xfrm>
            <a:off x="0" y="0"/>
            <a:ext cx="12192000" cy="6858000"/>
          </a:xfrm>
          <a:prstGeom prst="rect">
            <a:avLst/>
          </a:prstGeom>
          <a:noFill/>
        </p:spPr>
      </p:pic>
      <p:sp>
        <p:nvSpPr>
          <p:cNvPr id="3" name="Title 15"/>
          <p:cNvSpPr>
            <a:spLocks noGrp="1"/>
          </p:cNvSpPr>
          <p:nvPr>
            <p:ph type="title" hasCustomPrompt="1"/>
          </p:nvPr>
        </p:nvSpPr>
        <p:spPr>
          <a:xfrm>
            <a:off x="3404973" y="2795916"/>
            <a:ext cx="8238712" cy="1077218"/>
          </a:xfrm>
          <a:prstGeom prst="rect">
            <a:avLst/>
          </a:prstGeom>
        </p:spPr>
        <p:txBody>
          <a:bodyPr anchor="ctr" anchorCtr="0">
            <a:noAutofit/>
          </a:bodyPr>
          <a:lstStyle>
            <a:lvl1pPr>
              <a:defRPr sz="3200" baseline="0">
                <a:solidFill>
                  <a:schemeClr val="bg1"/>
                </a:solidFill>
              </a:defRPr>
            </a:lvl1pPr>
          </a:lstStyle>
          <a:p>
            <a:r>
              <a:rPr lang="en-US"/>
              <a:t>Appendix Slide</a:t>
            </a:r>
          </a:p>
        </p:txBody>
      </p:sp>
    </p:spTree>
    <p:extLst>
      <p:ext uri="{BB962C8B-B14F-4D97-AF65-F5344CB8AC3E}">
        <p14:creationId xmlns:p14="http://schemas.microsoft.com/office/powerpoint/2010/main" val="40320745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9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6"/>
            <a:ext cx="10855507" cy="1054099"/>
          </a:xfrm>
        </p:spPr>
        <p:txBody>
          <a:bodyPr>
            <a:noAutofit/>
          </a:bodyPr>
          <a:lstStyle>
            <a:lvl1pPr>
              <a:defRPr sz="2100"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p:spPr>
        <p:txBody>
          <a:bodyPr/>
          <a:lstStyle>
            <a:lvl1pPr marL="0" indent="0">
              <a:buNone/>
              <a:defRPr sz="1800" i="1">
                <a:solidFill>
                  <a:schemeClr val="accent2">
                    <a:lumMod val="40000"/>
                    <a:lumOff val="60000"/>
                  </a:schemeClr>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grpSp>
        <p:nvGrpSpPr>
          <p:cNvPr id="7" name="Group 6"/>
          <p:cNvGrpSpPr>
            <a:grpSpLocks noChangeAspect="1"/>
          </p:cNvGrpSpPr>
          <p:nvPr userDrawn="1"/>
        </p:nvGrpSpPr>
        <p:grpSpPr>
          <a:xfrm>
            <a:off x="11277601" y="228410"/>
            <a:ext cx="611843" cy="566928"/>
            <a:chOff x="7853519" y="3386873"/>
            <a:chExt cx="811215" cy="1002219"/>
          </a:xfrm>
        </p:grpSpPr>
        <p:sp>
          <p:nvSpPr>
            <p:cNvPr id="8"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350"/>
            </a:p>
          </p:txBody>
        </p:sp>
        <p:sp>
          <p:nvSpPr>
            <p:cNvPr id="9" name="Freeform 8"/>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23380812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0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469444"/>
            <a:ext cx="10855507" cy="1159846"/>
          </a:xfrm>
        </p:spPr>
        <p:txBody>
          <a:bodyPr>
            <a:noAutofit/>
          </a:bodyPr>
          <a:lstStyle>
            <a:lvl1pPr>
              <a:defRPr sz="2100" b="0" i="0">
                <a:solidFill>
                  <a:schemeClr val="bg1"/>
                </a:solidFill>
                <a:latin typeface="+mj-lt"/>
                <a:cs typeface="Arial"/>
              </a:defRPr>
            </a:lvl1pPr>
          </a:lstStyle>
          <a:p>
            <a:r>
              <a:rPr lang="en-US" altLang="zh-CN"/>
              <a:t>Click to edit Master title style</a:t>
            </a:r>
            <a:endParaRPr lang="en-US"/>
          </a:p>
        </p:txBody>
      </p:sp>
      <p:sp>
        <p:nvSpPr>
          <p:cNvPr id="5" name="Text Placeholder 3"/>
          <p:cNvSpPr>
            <a:spLocks noGrp="1"/>
          </p:cNvSpPr>
          <p:nvPr>
            <p:ph type="body" sz="quarter" idx="10"/>
          </p:nvPr>
        </p:nvSpPr>
        <p:spPr>
          <a:xfrm>
            <a:off x="446617" y="3684865"/>
            <a:ext cx="8424160" cy="993153"/>
          </a:xfrm>
        </p:spPr>
        <p:txBody>
          <a:bodyPr/>
          <a:lstStyle>
            <a:lvl1pPr marL="0" indent="0">
              <a:buNone/>
              <a:defRPr sz="1800" i="1">
                <a:solidFill>
                  <a:schemeClr val="bg1">
                    <a:lumMod val="95000"/>
                  </a:schemeClr>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grpSp>
        <p:nvGrpSpPr>
          <p:cNvPr id="7" name="Group 6"/>
          <p:cNvGrpSpPr>
            <a:grpSpLocks noChangeAspect="1"/>
          </p:cNvGrpSpPr>
          <p:nvPr userDrawn="1"/>
        </p:nvGrpSpPr>
        <p:grpSpPr>
          <a:xfrm>
            <a:off x="11277601" y="228410"/>
            <a:ext cx="611843" cy="566928"/>
            <a:chOff x="7853519" y="3386873"/>
            <a:chExt cx="811215" cy="1002219"/>
          </a:xfrm>
        </p:grpSpPr>
        <p:sp>
          <p:nvSpPr>
            <p:cNvPr id="8"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350"/>
            </a:p>
          </p:txBody>
        </p:sp>
        <p:sp>
          <p:nvSpPr>
            <p:cNvPr id="9" name="Freeform 8"/>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35230044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1_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6"/>
            <a:ext cx="10855507" cy="1054099"/>
          </a:xfrm>
        </p:spPr>
        <p:txBody>
          <a:bodyPr>
            <a:noAutofit/>
          </a:bodyPr>
          <a:lstStyle>
            <a:lvl1pPr>
              <a:defRPr sz="2100"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p:spPr>
        <p:txBody>
          <a:bodyPr/>
          <a:lstStyle>
            <a:lvl1pPr marL="0" indent="0">
              <a:buNone/>
              <a:defRPr sz="1800" i="1">
                <a:solidFill>
                  <a:schemeClr val="bg1">
                    <a:lumMod val="95000"/>
                  </a:schemeClr>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grpSp>
        <p:nvGrpSpPr>
          <p:cNvPr id="7" name="Group 6"/>
          <p:cNvGrpSpPr>
            <a:grpSpLocks noChangeAspect="1"/>
          </p:cNvGrpSpPr>
          <p:nvPr userDrawn="1"/>
        </p:nvGrpSpPr>
        <p:grpSpPr>
          <a:xfrm>
            <a:off x="11277601" y="228410"/>
            <a:ext cx="611843" cy="566928"/>
            <a:chOff x="7853519" y="3386873"/>
            <a:chExt cx="811215" cy="1002219"/>
          </a:xfrm>
        </p:grpSpPr>
        <p:sp>
          <p:nvSpPr>
            <p:cNvPr id="8"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350"/>
            </a:p>
          </p:txBody>
        </p:sp>
        <p:sp>
          <p:nvSpPr>
            <p:cNvPr id="9" name="Freeform 8"/>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3961318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2_Section Head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6"/>
            <a:ext cx="10855507" cy="1054099"/>
          </a:xfrm>
        </p:spPr>
        <p:txBody>
          <a:bodyPr>
            <a:noAutofit/>
          </a:bodyPr>
          <a:lstStyle>
            <a:lvl1pPr>
              <a:defRPr sz="2100" b="1" i="0">
                <a:solidFill>
                  <a:schemeClr val="bg1"/>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p:spPr>
        <p:txBody>
          <a:bodyPr/>
          <a:lstStyle>
            <a:lvl1pPr marL="0" indent="0">
              <a:buNone/>
              <a:defRPr sz="1800" i="1">
                <a:solidFill>
                  <a:schemeClr val="accent5">
                    <a:lumMod val="20000"/>
                    <a:lumOff val="80000"/>
                  </a:schemeClr>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grpSp>
        <p:nvGrpSpPr>
          <p:cNvPr id="7" name="Group 6"/>
          <p:cNvGrpSpPr>
            <a:grpSpLocks noChangeAspect="1"/>
          </p:cNvGrpSpPr>
          <p:nvPr userDrawn="1"/>
        </p:nvGrpSpPr>
        <p:grpSpPr>
          <a:xfrm>
            <a:off x="11277601" y="228410"/>
            <a:ext cx="611843" cy="566928"/>
            <a:chOff x="7853519" y="3386873"/>
            <a:chExt cx="811215" cy="1002219"/>
          </a:xfrm>
        </p:grpSpPr>
        <p:sp>
          <p:nvSpPr>
            <p:cNvPr id="8"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350"/>
            </a:p>
          </p:txBody>
        </p:sp>
        <p:sp>
          <p:nvSpPr>
            <p:cNvPr id="9" name="Freeform 8"/>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6536901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3_Section Header">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582336"/>
            <a:ext cx="10855507" cy="1054099"/>
          </a:xfrm>
        </p:spPr>
        <p:txBody>
          <a:bodyPr>
            <a:noAutofit/>
          </a:bodyPr>
          <a:lstStyle>
            <a:lvl1pPr>
              <a:defRPr sz="2100" b="1" i="0">
                <a:solidFill>
                  <a:schemeClr val="tx2">
                    <a:lumMod val="90000"/>
                    <a:lumOff val="10000"/>
                  </a:schemeClr>
                </a:solidFill>
                <a:latin typeface="+mj-lt"/>
                <a:cs typeface="Arial"/>
              </a:defRPr>
            </a:lvl1pPr>
          </a:lstStyle>
          <a:p>
            <a:r>
              <a:rPr lang="en-US" altLang="zh-CN"/>
              <a:t>Click to edit Master title style</a:t>
            </a:r>
            <a:endParaRPr lang="en-US"/>
          </a:p>
        </p:txBody>
      </p:sp>
      <p:sp>
        <p:nvSpPr>
          <p:cNvPr id="6" name="Text Placeholder 3"/>
          <p:cNvSpPr>
            <a:spLocks noGrp="1"/>
          </p:cNvSpPr>
          <p:nvPr>
            <p:ph type="body" sz="quarter" idx="10"/>
          </p:nvPr>
        </p:nvSpPr>
        <p:spPr>
          <a:xfrm>
            <a:off x="446617" y="3676189"/>
            <a:ext cx="8424160" cy="993153"/>
          </a:xfrm>
        </p:spPr>
        <p:txBody>
          <a:bodyPr/>
          <a:lstStyle>
            <a:lvl1pPr marL="0" indent="0">
              <a:buNone/>
              <a:defRPr sz="1800" i="1">
                <a:solidFill>
                  <a:schemeClr val="accent6"/>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grpSp>
        <p:nvGrpSpPr>
          <p:cNvPr id="7" name="Group 6"/>
          <p:cNvGrpSpPr>
            <a:grpSpLocks noChangeAspect="1"/>
          </p:cNvGrpSpPr>
          <p:nvPr userDrawn="1"/>
        </p:nvGrpSpPr>
        <p:grpSpPr>
          <a:xfrm>
            <a:off x="11277601" y="228410"/>
            <a:ext cx="611843" cy="566928"/>
            <a:chOff x="7853519" y="3386873"/>
            <a:chExt cx="811215" cy="1002219"/>
          </a:xfrm>
        </p:grpSpPr>
        <p:sp>
          <p:nvSpPr>
            <p:cNvPr id="8"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350"/>
            </a:p>
          </p:txBody>
        </p:sp>
        <p:sp>
          <p:nvSpPr>
            <p:cNvPr id="9" name="Freeform 8"/>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23945371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4_Section Header">
    <p:bg>
      <p:bgPr>
        <a:blipFill dpi="0" rotWithShape="1">
          <a:blip r:embed="rId2" cstate="print">
            <a:lum/>
            <a:extLst>
              <a:ext uri="{28A0092B-C50C-407E-A947-70E740481C1C}">
                <a14:useLocalDpi xmlns:a14="http://schemas.microsoft.com/office/drawing/2010/main"/>
              </a:ext>
            </a:extLst>
          </a:blip>
          <a:srcRect/>
          <a:stretch>
            <a:fillRect l="-7000" r="-7000"/>
          </a:stretch>
        </a:blipFill>
        <a:effectLst/>
      </p:bgPr>
    </p:bg>
    <p:spTree>
      <p:nvGrpSpPr>
        <p:cNvPr id="1" name=""/>
        <p:cNvGrpSpPr/>
        <p:nvPr/>
      </p:nvGrpSpPr>
      <p:grpSpPr>
        <a:xfrm>
          <a:off x="0" y="0"/>
          <a:ext cx="0" cy="0"/>
          <a:chOff x="0" y="0"/>
          <a:chExt cx="0" cy="0"/>
        </a:xfrm>
      </p:grpSpPr>
      <p:sp>
        <p:nvSpPr>
          <p:cNvPr id="10" name="Title 9"/>
          <p:cNvSpPr>
            <a:spLocks noGrp="1"/>
          </p:cNvSpPr>
          <p:nvPr>
            <p:ph type="title"/>
          </p:nvPr>
        </p:nvSpPr>
        <p:spPr>
          <a:xfrm>
            <a:off x="446617" y="2398892"/>
            <a:ext cx="10855507" cy="1251655"/>
          </a:xfrm>
        </p:spPr>
        <p:txBody>
          <a:bodyPr>
            <a:noAutofit/>
          </a:bodyPr>
          <a:lstStyle>
            <a:lvl1pPr>
              <a:defRPr sz="2100" b="1" i="0">
                <a:solidFill>
                  <a:schemeClr val="bg1"/>
                </a:solidFill>
                <a:latin typeface="+mj-lt"/>
                <a:cs typeface="Arial"/>
              </a:defRPr>
            </a:lvl1pPr>
          </a:lstStyle>
          <a:p>
            <a:r>
              <a:rPr lang="en-US" altLang="zh-CN"/>
              <a:t>Click to edit Master title style</a:t>
            </a:r>
            <a:endParaRPr lang="en-US"/>
          </a:p>
        </p:txBody>
      </p:sp>
      <p:sp>
        <p:nvSpPr>
          <p:cNvPr id="5" name="Text Placeholder 3"/>
          <p:cNvSpPr>
            <a:spLocks noGrp="1"/>
          </p:cNvSpPr>
          <p:nvPr>
            <p:ph type="body" sz="quarter" idx="10"/>
          </p:nvPr>
        </p:nvSpPr>
        <p:spPr>
          <a:xfrm>
            <a:off x="446617" y="3690303"/>
            <a:ext cx="8424160" cy="993153"/>
          </a:xfrm>
        </p:spPr>
        <p:txBody>
          <a:bodyPr/>
          <a:lstStyle>
            <a:lvl1pPr marL="0" indent="0">
              <a:buNone/>
              <a:defRPr sz="1800" i="1">
                <a:solidFill>
                  <a:schemeClr val="tx2">
                    <a:lumMod val="90000"/>
                    <a:lumOff val="10000"/>
                  </a:schemeClr>
                </a:solidFill>
              </a:defRPr>
            </a:lvl1pPr>
            <a:lvl2pPr marL="258365" indent="0">
              <a:buNone/>
              <a:defRPr>
                <a:solidFill>
                  <a:schemeClr val="bg1">
                    <a:lumMod val="75000"/>
                  </a:schemeClr>
                </a:solidFill>
              </a:defRPr>
            </a:lvl2pPr>
            <a:lvl3pPr marL="558403" indent="0">
              <a:buNone/>
              <a:defRPr>
                <a:solidFill>
                  <a:schemeClr val="bg1">
                    <a:lumMod val="75000"/>
                  </a:schemeClr>
                </a:solidFill>
              </a:defRPr>
            </a:lvl3pPr>
            <a:lvl4pPr marL="901303" indent="0">
              <a:buNone/>
              <a:defRPr>
                <a:solidFill>
                  <a:schemeClr val="bg1">
                    <a:lumMod val="75000"/>
                  </a:schemeClr>
                </a:solidFill>
              </a:defRPr>
            </a:lvl4pPr>
            <a:lvl5pPr marL="1202531" indent="0">
              <a:buNone/>
              <a:defRPr>
                <a:solidFill>
                  <a:schemeClr val="bg1">
                    <a:lumMod val="75000"/>
                  </a:schemeClr>
                </a:solidFill>
              </a:defRPr>
            </a:lvl5pPr>
          </a:lstStyle>
          <a:p>
            <a:pPr lvl="0"/>
            <a:r>
              <a:rPr lang="en-US" altLang="zh-CN"/>
              <a:t>Click to edit Master text styles</a:t>
            </a:r>
          </a:p>
        </p:txBody>
      </p:sp>
      <p:grpSp>
        <p:nvGrpSpPr>
          <p:cNvPr id="9" name="Group 8"/>
          <p:cNvGrpSpPr>
            <a:grpSpLocks noChangeAspect="1"/>
          </p:cNvGrpSpPr>
          <p:nvPr userDrawn="1"/>
        </p:nvGrpSpPr>
        <p:grpSpPr>
          <a:xfrm>
            <a:off x="11277601" y="228410"/>
            <a:ext cx="611843" cy="566928"/>
            <a:chOff x="7853519" y="3386873"/>
            <a:chExt cx="811215" cy="1002219"/>
          </a:xfrm>
        </p:grpSpPr>
        <p:sp>
          <p:nvSpPr>
            <p:cNvPr id="11" name="bk object 16"/>
            <p:cNvSpPr/>
            <p:nvPr userDrawn="1"/>
          </p:nvSpPr>
          <p:spPr>
            <a:xfrm>
              <a:off x="8131673" y="3386873"/>
              <a:ext cx="533061" cy="386235"/>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350"/>
            </a:p>
          </p:txBody>
        </p:sp>
        <p:sp>
          <p:nvSpPr>
            <p:cNvPr id="12" name="Freeform 11"/>
            <p:cNvSpPr/>
            <p:nvPr userDrawn="1"/>
          </p:nvSpPr>
          <p:spPr>
            <a:xfrm>
              <a:off x="7853519" y="3818295"/>
              <a:ext cx="567079" cy="570797"/>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spTree>
    <p:extLst>
      <p:ext uri="{BB962C8B-B14F-4D97-AF65-F5344CB8AC3E}">
        <p14:creationId xmlns:p14="http://schemas.microsoft.com/office/powerpoint/2010/main" val="40834008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01040" y="2511051"/>
            <a:ext cx="6225899" cy="2286507"/>
          </a:xfrm>
        </p:spPr>
        <p:txBody>
          <a:bodyPr anchor="t">
            <a:normAutofit/>
          </a:bodyPr>
          <a:lstStyle>
            <a:lvl1pPr algn="l">
              <a:defRPr sz="2081" b="0" cap="none" baseline="0">
                <a:solidFill>
                  <a:schemeClr val="tx1"/>
                </a:solidFill>
                <a:latin typeface="+mn-lt"/>
                <a:cs typeface="DIN-Regular"/>
              </a:defRPr>
            </a:lvl1pPr>
          </a:lstStyle>
          <a:p>
            <a:r>
              <a:rPr lang="en-US"/>
              <a:t>Content goes here</a:t>
            </a:r>
          </a:p>
        </p:txBody>
      </p:sp>
      <p:sp>
        <p:nvSpPr>
          <p:cNvPr id="3" name="Text Placeholder 2"/>
          <p:cNvSpPr>
            <a:spLocks noGrp="1"/>
          </p:cNvSpPr>
          <p:nvPr>
            <p:ph type="body" idx="1" hasCustomPrompt="1"/>
          </p:nvPr>
        </p:nvSpPr>
        <p:spPr>
          <a:xfrm>
            <a:off x="5601040" y="998669"/>
            <a:ext cx="6225899" cy="1500187"/>
          </a:xfrm>
        </p:spPr>
        <p:txBody>
          <a:bodyPr anchor="b">
            <a:normAutofit/>
          </a:bodyPr>
          <a:lstStyle>
            <a:lvl1pPr marL="0" indent="0">
              <a:buNone/>
              <a:defRPr sz="2417" b="0" cap="all" spc="225" baseline="0">
                <a:solidFill>
                  <a:schemeClr val="tx2"/>
                </a:solidFill>
                <a:latin typeface="+mj-lt"/>
                <a:cs typeface="DIN-Bold"/>
              </a:defRPr>
            </a:lvl1pPr>
            <a:lvl2pPr marL="342769" indent="0">
              <a:buNone/>
              <a:defRPr sz="1349">
                <a:solidFill>
                  <a:schemeClr val="tx1">
                    <a:tint val="75000"/>
                  </a:schemeClr>
                </a:solidFill>
              </a:defRPr>
            </a:lvl2pPr>
            <a:lvl3pPr marL="685537" indent="0">
              <a:buNone/>
              <a:defRPr sz="1181">
                <a:solidFill>
                  <a:schemeClr val="tx1">
                    <a:tint val="75000"/>
                  </a:schemeClr>
                </a:solidFill>
              </a:defRPr>
            </a:lvl3pPr>
            <a:lvl4pPr marL="1028306" indent="0">
              <a:buNone/>
              <a:defRPr sz="1068">
                <a:solidFill>
                  <a:schemeClr val="tx1">
                    <a:tint val="75000"/>
                  </a:schemeClr>
                </a:solidFill>
              </a:defRPr>
            </a:lvl4pPr>
            <a:lvl5pPr marL="1371074" indent="0">
              <a:buNone/>
              <a:defRPr sz="1068">
                <a:solidFill>
                  <a:schemeClr val="tx1">
                    <a:tint val="75000"/>
                  </a:schemeClr>
                </a:solidFill>
              </a:defRPr>
            </a:lvl5pPr>
            <a:lvl6pPr marL="1713842" indent="0">
              <a:buNone/>
              <a:defRPr sz="1068">
                <a:solidFill>
                  <a:schemeClr val="tx1">
                    <a:tint val="75000"/>
                  </a:schemeClr>
                </a:solidFill>
              </a:defRPr>
            </a:lvl6pPr>
            <a:lvl7pPr marL="2056611" indent="0">
              <a:buNone/>
              <a:defRPr sz="1068">
                <a:solidFill>
                  <a:schemeClr val="tx1">
                    <a:tint val="75000"/>
                  </a:schemeClr>
                </a:solidFill>
              </a:defRPr>
            </a:lvl7pPr>
            <a:lvl8pPr marL="2399379" indent="0">
              <a:buNone/>
              <a:defRPr sz="1068">
                <a:solidFill>
                  <a:schemeClr val="tx1">
                    <a:tint val="75000"/>
                  </a:schemeClr>
                </a:solidFill>
              </a:defRPr>
            </a:lvl8pPr>
            <a:lvl9pPr marL="2742147" indent="0">
              <a:buNone/>
              <a:defRPr sz="1068">
                <a:solidFill>
                  <a:schemeClr val="tx1">
                    <a:tint val="75000"/>
                  </a:schemeClr>
                </a:solidFill>
              </a:defRPr>
            </a:lvl9pPr>
          </a:lstStyle>
          <a:p>
            <a:r>
              <a:rPr lang="en-US"/>
              <a:t>SECTION TITLE</a:t>
            </a:r>
          </a:p>
        </p:txBody>
      </p:sp>
      <p:sp>
        <p:nvSpPr>
          <p:cNvPr id="5" name="Picture Placeholder 4"/>
          <p:cNvSpPr>
            <a:spLocks noGrp="1"/>
          </p:cNvSpPr>
          <p:nvPr>
            <p:ph type="pic" sz="quarter" idx="10"/>
          </p:nvPr>
        </p:nvSpPr>
        <p:spPr>
          <a:xfrm>
            <a:off x="1" y="993775"/>
            <a:ext cx="5507344" cy="3824288"/>
          </a:xfr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4077911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48606" y="112890"/>
            <a:ext cx="11402239" cy="965602"/>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8334361B-0D38-BE4A-AA1D-01A86672D338}" type="slidenum">
              <a:rPr lang="en-US" smtClean="0"/>
              <a:pPr/>
              <a:t>‹#›</a:t>
            </a:fld>
            <a:endParaRPr lang="en-US"/>
          </a:p>
        </p:txBody>
      </p:sp>
    </p:spTree>
    <p:extLst>
      <p:ext uri="{BB962C8B-B14F-4D97-AF65-F5344CB8AC3E}">
        <p14:creationId xmlns:p14="http://schemas.microsoft.com/office/powerpoint/2010/main" val="35774248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9B333-A523-4BD9-8DBD-2268005A9D7F}"/>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C8A9E20C-7702-4793-8177-19C181424C7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A7E182A4-1A9F-4F4E-8CE8-99E470B89FB7}"/>
              </a:ext>
            </a:extLst>
          </p:cNvPr>
          <p:cNvSpPr>
            <a:spLocks noGrp="1"/>
          </p:cNvSpPr>
          <p:nvPr>
            <p:ph type="dt" sz="half" idx="10"/>
          </p:nvPr>
        </p:nvSpPr>
        <p:spPr/>
        <p:txBody>
          <a:bodyPr/>
          <a:lstStyle/>
          <a:p>
            <a:fld id="{F50C0ACF-247C-496B-B1FE-8C90C0BFAC20}" type="datetimeFigureOut">
              <a:rPr lang="es-MX" smtClean="0"/>
              <a:t>23/05/2023</a:t>
            </a:fld>
            <a:endParaRPr lang="es-MX"/>
          </a:p>
        </p:txBody>
      </p:sp>
      <p:sp>
        <p:nvSpPr>
          <p:cNvPr id="5" name="Footer Placeholder 4">
            <a:extLst>
              <a:ext uri="{FF2B5EF4-FFF2-40B4-BE49-F238E27FC236}">
                <a16:creationId xmlns:a16="http://schemas.microsoft.com/office/drawing/2014/main" id="{6A905638-ABA4-4B52-991C-AD89A7E7CD83}"/>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B002BAAD-8A61-4C07-95F9-947EDE4C4A8E}"/>
              </a:ext>
            </a:extLst>
          </p:cNvPr>
          <p:cNvSpPr>
            <a:spLocks noGrp="1"/>
          </p:cNvSpPr>
          <p:nvPr>
            <p:ph type="sldNum" sz="quarter" idx="12"/>
          </p:nvPr>
        </p:nvSpPr>
        <p:spPr/>
        <p:txBody>
          <a:bodyPr/>
          <a:lstStyle/>
          <a:p>
            <a:fld id="{54C2BB44-6A63-4AAE-A041-9D7E76EBEE4F}" type="slidenum">
              <a:rPr lang="es-MX" smtClean="0"/>
              <a:t>‹#›</a:t>
            </a:fld>
            <a:endParaRPr lang="es-MX"/>
          </a:p>
        </p:txBody>
      </p:sp>
    </p:spTree>
    <p:extLst>
      <p:ext uri="{BB962C8B-B14F-4D97-AF65-F5344CB8AC3E}">
        <p14:creationId xmlns:p14="http://schemas.microsoft.com/office/powerpoint/2010/main" val="40884892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3" name="btfpLayoutConfig" hidden="1"/>
          <p:cNvSpPr txBox="1"/>
          <p:nvPr userDrawn="1"/>
        </p:nvSpPr>
        <p:spPr bwMode="gray">
          <a:xfrm>
            <a:off x="16934" y="12700"/>
            <a:ext cx="11853333" cy="88092"/>
          </a:xfrm>
          <a:prstGeom prst="rect">
            <a:avLst/>
          </a:prstGeom>
          <a:noFill/>
        </p:spPr>
        <p:txBody>
          <a:bodyPr vert="horz" wrap="square" lIns="36000" tIns="36000" rIns="36000" bIns="36000" rtlCol="0">
            <a:spAutoFit/>
          </a:bodyPr>
          <a:lstStyle/>
          <a:p>
            <a:pPr marL="0" indent="0">
              <a:buNone/>
            </a:pPr>
            <a:r>
              <a:rPr lang="en-US" sz="100">
                <a:solidFill>
                  <a:srgbClr val="FFFFFF">
                    <a:alpha val="0"/>
                  </a:srgbClr>
                </a:solidFill>
              </a:rPr>
              <a:t>overall_0_131849714123852428 columns_1_131849714123852428 </a:t>
            </a:r>
          </a:p>
        </p:txBody>
      </p:sp>
      <p:sp>
        <p:nvSpPr>
          <p:cNvPr id="4" name="Slide Number Placeholder 8">
            <a:extLst>
              <a:ext uri="{FF2B5EF4-FFF2-40B4-BE49-F238E27FC236}">
                <a16:creationId xmlns:a16="http://schemas.microsoft.com/office/drawing/2014/main" id="{7F7AD2D6-016E-E147-8EFF-25AA244CDBBC}"/>
              </a:ext>
            </a:extLst>
          </p:cNvPr>
          <p:cNvSpPr>
            <a:spLocks noGrp="1"/>
          </p:cNvSpPr>
          <p:nvPr>
            <p:ph type="sldNum" sz="quarter" idx="4"/>
          </p:nvPr>
        </p:nvSpPr>
        <p:spPr>
          <a:xfrm>
            <a:off x="0" y="6492876"/>
            <a:ext cx="527051" cy="365125"/>
          </a:xfrm>
          <a:prstGeom prst="rect">
            <a:avLst/>
          </a:prstGeom>
        </p:spPr>
        <p:txBody>
          <a:bodyPr vert="horz" lIns="91440" tIns="45720" rIns="91440" bIns="45720" rtlCol="0" anchor="b" anchorCtr="0"/>
          <a:lstStyle>
            <a:lvl1pPr algn="l" eaLnBrk="1" fontAlgn="auto" hangingPunct="1">
              <a:spcBef>
                <a:spcPts val="0"/>
              </a:spcBef>
              <a:spcAft>
                <a:spcPts val="0"/>
              </a:spcAft>
              <a:defRPr sz="1000" smtClean="0">
                <a:solidFill>
                  <a:schemeClr val="bg2"/>
                </a:solidFill>
                <a:latin typeface="+mn-lt"/>
              </a:defRPr>
            </a:lvl1pPr>
          </a:lstStyle>
          <a:p>
            <a:pPr>
              <a:defRPr/>
            </a:pPr>
            <a:fld id="{9F02E823-5226-43EC-A3DB-F295EEB67BC5}" type="slidenum">
              <a:rPr lang="en-US"/>
              <a:pPr>
                <a:defRPr/>
              </a:pPr>
              <a:t>‹#›</a:t>
            </a:fld>
            <a:endParaRPr lang="en-US"/>
          </a:p>
        </p:txBody>
      </p:sp>
    </p:spTree>
    <p:extLst>
      <p:ext uri="{BB962C8B-B14F-4D97-AF65-F5344CB8AC3E}">
        <p14:creationId xmlns:p14="http://schemas.microsoft.com/office/powerpoint/2010/main" val="3351000405"/>
      </p:ext>
    </p:extLst>
  </p:cSld>
  <p:clrMapOvr>
    <a:masterClrMapping/>
  </p:clrMapOvr>
  <p:extLst>
    <p:ext uri="{DCECCB84-F9BA-43D5-87BE-67443E8EF086}">
      <p15:sldGuideLst xmlns:p15="http://schemas.microsoft.com/office/powerpoint/2012/main">
        <p15:guide id="1" pos="216">
          <p15:clr>
            <a:srgbClr val="CCCCCC"/>
          </p15:clr>
        </p15:guide>
        <p15:guide id="2" pos="1394">
          <p15:clr>
            <a:srgbClr val="CCCCCC"/>
          </p15:clr>
        </p15:guide>
        <p15:guide id="3" pos="1618">
          <p15:clr>
            <a:srgbClr val="CCCCCC"/>
          </p15:clr>
        </p15:guide>
        <p15:guide id="4" pos="2796">
          <p15:clr>
            <a:srgbClr val="CCCCCC"/>
          </p15:clr>
        </p15:guide>
        <p15:guide id="5" pos="3020">
          <p15:clr>
            <a:srgbClr val="CCCCCC"/>
          </p15:clr>
        </p15:guide>
        <p15:guide id="6" pos="4198">
          <p15:clr>
            <a:srgbClr val="CCCCCC"/>
          </p15:clr>
        </p15:guide>
        <p15:guide id="7" pos="4422">
          <p15:clr>
            <a:srgbClr val="CCCCCC"/>
          </p15:clr>
        </p15:guide>
        <p15:guide id="8" pos="5600">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23299" y="2477564"/>
            <a:ext cx="8122509" cy="979015"/>
          </a:xfrm>
        </p:spPr>
        <p:txBody>
          <a:bodyPr>
            <a:noAutofit/>
          </a:bodyPr>
          <a:lstStyle>
            <a:lvl1pPr algn="l">
              <a:defRPr sz="3200" b="1">
                <a:solidFill>
                  <a:srgbClr val="3F000B"/>
                </a:solidFill>
                <a:latin typeface="+mj-lt"/>
                <a:cs typeface="Arial"/>
              </a:defRPr>
            </a:lvl1pPr>
          </a:lstStyle>
          <a:p>
            <a:r>
              <a:rPr lang="en-US" altLang="zh-CN"/>
              <a:t>Click to edit Master title style</a:t>
            </a:r>
            <a:endParaRPr lang="en-US"/>
          </a:p>
        </p:txBody>
      </p:sp>
      <p:sp>
        <p:nvSpPr>
          <p:cNvPr id="3" name="Subtitle 2"/>
          <p:cNvSpPr>
            <a:spLocks noGrp="1"/>
          </p:cNvSpPr>
          <p:nvPr>
            <p:ph type="subTitle" idx="1"/>
          </p:nvPr>
        </p:nvSpPr>
        <p:spPr>
          <a:xfrm>
            <a:off x="3023300" y="3461184"/>
            <a:ext cx="8122507" cy="578839"/>
          </a:xfrm>
        </p:spPr>
        <p:txBody>
          <a:bodyPr>
            <a:normAutofit/>
          </a:bodyPr>
          <a:lstStyle>
            <a:lvl1pPr marL="0" indent="0" algn="l">
              <a:buNone/>
              <a:defRPr sz="1800" i="0">
                <a:solidFill>
                  <a:schemeClr val="bg2"/>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ltLang="zh-CN"/>
              <a:t>Click to edit Master subtitle style</a:t>
            </a:r>
            <a:endParaRPr lang="en-US"/>
          </a:p>
        </p:txBody>
      </p:sp>
      <p:grpSp>
        <p:nvGrpSpPr>
          <p:cNvPr id="24" name="Group 23"/>
          <p:cNvGrpSpPr/>
          <p:nvPr/>
        </p:nvGrpSpPr>
        <p:grpSpPr>
          <a:xfrm>
            <a:off x="9703966" y="5750797"/>
            <a:ext cx="2043017" cy="583444"/>
            <a:chOff x="2851364" y="337607"/>
            <a:chExt cx="6471863" cy="1848231"/>
          </a:xfrm>
          <a:solidFill>
            <a:schemeClr val="tx2"/>
          </a:solidFill>
        </p:grpSpPr>
        <p:grpSp>
          <p:nvGrpSpPr>
            <p:cNvPr id="25" name="Group 24"/>
            <p:cNvGrpSpPr>
              <a:grpSpLocks noChangeAspect="1"/>
            </p:cNvGrpSpPr>
            <p:nvPr/>
          </p:nvGrpSpPr>
          <p:grpSpPr>
            <a:xfrm>
              <a:off x="8135813" y="687307"/>
              <a:ext cx="1187414" cy="1466996"/>
              <a:chOff x="927372" y="-6359195"/>
              <a:chExt cx="9019933" cy="11143740"/>
            </a:xfrm>
            <a:grpFill/>
          </p:grpSpPr>
          <p:sp>
            <p:nvSpPr>
              <p:cNvPr id="27" name="bk object 16"/>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1800"/>
              </a:p>
            </p:txBody>
          </p:sp>
          <p:sp>
            <p:nvSpPr>
              <p:cNvPr id="28" name="Freeform 27"/>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p:nvSpPr>
            <p:cNvPr id="26" name="Freeform 25"/>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pic>
        <p:nvPicPr>
          <p:cNvPr id="19" name="Picture 18"/>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282952"/>
            <a:ext cx="2438400" cy="2292096"/>
          </a:xfrm>
          <a:prstGeom prst="rect">
            <a:avLst/>
          </a:prstGeom>
        </p:spPr>
      </p:pic>
      <p:pic>
        <p:nvPicPr>
          <p:cNvPr id="20" name="Picture 19"/>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4565904"/>
            <a:ext cx="2438400" cy="2292096"/>
          </a:xfrm>
          <a:prstGeom prst="rect">
            <a:avLst/>
          </a:prstGeom>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0"/>
            <a:ext cx="2438400" cy="2292096"/>
          </a:xfrm>
          <a:prstGeom prst="rect">
            <a:avLst/>
          </a:prstGeom>
        </p:spPr>
      </p:pic>
      <p:grpSp>
        <p:nvGrpSpPr>
          <p:cNvPr id="12" name="Group 11">
            <a:extLst>
              <a:ext uri="{FF2B5EF4-FFF2-40B4-BE49-F238E27FC236}">
                <a16:creationId xmlns:a16="http://schemas.microsoft.com/office/drawing/2014/main" id="{39793483-ADA1-4385-8BE4-ECC04882028F}"/>
              </a:ext>
            </a:extLst>
          </p:cNvPr>
          <p:cNvGrpSpPr/>
          <p:nvPr userDrawn="1"/>
        </p:nvGrpSpPr>
        <p:grpSpPr>
          <a:xfrm>
            <a:off x="0" y="0"/>
            <a:ext cx="3060192" cy="6858000"/>
            <a:chOff x="0" y="0"/>
            <a:chExt cx="2295144" cy="6858000"/>
          </a:xfrm>
        </p:grpSpPr>
        <p:pic>
          <p:nvPicPr>
            <p:cNvPr id="13" name="Picture 12" descr="LAN - Logo.jpg">
              <a:extLst>
                <a:ext uri="{FF2B5EF4-FFF2-40B4-BE49-F238E27FC236}">
                  <a16:creationId xmlns:a16="http://schemas.microsoft.com/office/drawing/2014/main" id="{21106B08-1A75-4667-AB75-AB4C805760AB}"/>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0" y="0"/>
              <a:ext cx="2295144" cy="2295144"/>
            </a:xfrm>
            <a:prstGeom prst="rect">
              <a:avLst/>
            </a:prstGeom>
          </p:spPr>
        </p:pic>
        <p:pic>
          <p:nvPicPr>
            <p:cNvPr id="14" name="Picture 13" descr="KIS - Plume.jpg">
              <a:extLst>
                <a:ext uri="{FF2B5EF4-FFF2-40B4-BE49-F238E27FC236}">
                  <a16:creationId xmlns:a16="http://schemas.microsoft.com/office/drawing/2014/main" id="{B23F3A57-5AC2-46F1-B62A-D70BCB9F7D1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4562856"/>
              <a:ext cx="2295144" cy="2295144"/>
            </a:xfrm>
            <a:prstGeom prst="rect">
              <a:avLst/>
            </a:prstGeom>
          </p:spPr>
        </p:pic>
        <p:pic>
          <p:nvPicPr>
            <p:cNvPr id="15" name="Picture 14" descr="IB - Circle.jpg">
              <a:extLst>
                <a:ext uri="{FF2B5EF4-FFF2-40B4-BE49-F238E27FC236}">
                  <a16:creationId xmlns:a16="http://schemas.microsoft.com/office/drawing/2014/main" id="{4997BA99-134F-4C46-917F-DFE640818E03}"/>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2281428"/>
              <a:ext cx="2295144" cy="2295144"/>
            </a:xfrm>
            <a:prstGeom prst="rect">
              <a:avLst/>
            </a:prstGeom>
          </p:spPr>
        </p:pic>
      </p:grpSp>
    </p:spTree>
    <p:extLst>
      <p:ext uri="{BB962C8B-B14F-4D97-AF65-F5344CB8AC3E}">
        <p14:creationId xmlns:p14="http://schemas.microsoft.com/office/powerpoint/2010/main" val="11509689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3F396A9-36FA-444E-A3BB-E992779A6EDE}"/>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MX"/>
          </a:p>
        </p:txBody>
      </p:sp>
      <p:sp>
        <p:nvSpPr>
          <p:cNvPr id="3" name="Subtítulo 2">
            <a:extLst>
              <a:ext uri="{FF2B5EF4-FFF2-40B4-BE49-F238E27FC236}">
                <a16:creationId xmlns:a16="http://schemas.microsoft.com/office/drawing/2014/main" id="{B9A6FA52-D74D-4710-8D00-3E5A57F3D7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MX"/>
          </a:p>
        </p:txBody>
      </p:sp>
      <p:sp>
        <p:nvSpPr>
          <p:cNvPr id="4" name="Marcador de fecha 3">
            <a:extLst>
              <a:ext uri="{FF2B5EF4-FFF2-40B4-BE49-F238E27FC236}">
                <a16:creationId xmlns:a16="http://schemas.microsoft.com/office/drawing/2014/main" id="{03FF57B2-34FF-48B5-8507-C937137E4CE4}"/>
              </a:ext>
            </a:extLst>
          </p:cNvPr>
          <p:cNvSpPr>
            <a:spLocks noGrp="1"/>
          </p:cNvSpPr>
          <p:nvPr>
            <p:ph type="dt" sz="half" idx="10"/>
          </p:nvPr>
        </p:nvSpPr>
        <p:spPr/>
        <p:txBody>
          <a:bodyPr/>
          <a:lstStyle/>
          <a:p>
            <a:fld id="{388D8680-2A5B-43E1-AFF6-EBAB8DECD2E2}" type="datetimeFigureOut">
              <a:rPr lang="es-MX" smtClean="0"/>
              <a:t>23/05/2023</a:t>
            </a:fld>
            <a:endParaRPr lang="es-MX"/>
          </a:p>
        </p:txBody>
      </p:sp>
      <p:sp>
        <p:nvSpPr>
          <p:cNvPr id="5" name="Marcador de pie de página 4">
            <a:extLst>
              <a:ext uri="{FF2B5EF4-FFF2-40B4-BE49-F238E27FC236}">
                <a16:creationId xmlns:a16="http://schemas.microsoft.com/office/drawing/2014/main" id="{0E368861-60E6-4C35-AD00-A4AC605550E4}"/>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FAF64F2F-DC3D-42F5-9D1B-51C4D68ABB57}"/>
              </a:ext>
            </a:extLst>
          </p:cNvPr>
          <p:cNvSpPr>
            <a:spLocks noGrp="1"/>
          </p:cNvSpPr>
          <p:nvPr>
            <p:ph type="sldNum" sz="quarter" idx="12"/>
          </p:nvPr>
        </p:nvSpPr>
        <p:spPr/>
        <p:txBody>
          <a:bodyPr/>
          <a:lstStyle/>
          <a:p>
            <a:fld id="{F692E655-3292-424B-B3A0-B209DBA02002}" type="slidenum">
              <a:rPr lang="es-MX" smtClean="0"/>
              <a:t>‹#›</a:t>
            </a:fld>
            <a:endParaRPr lang="es-MX"/>
          </a:p>
        </p:txBody>
      </p:sp>
    </p:spTree>
    <p:extLst>
      <p:ext uri="{BB962C8B-B14F-4D97-AF65-F5344CB8AC3E}">
        <p14:creationId xmlns:p14="http://schemas.microsoft.com/office/powerpoint/2010/main" val="35393900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Cover Slide 1 - Blue">
    <p:bg>
      <p:bgPr>
        <a:solidFill>
          <a:schemeClr val="tx2"/>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33E4284-51D7-8918-61F2-AF2A1AA04527}"/>
              </a:ext>
            </a:extLst>
          </p:cNvPr>
          <p:cNvGrpSpPr/>
          <p:nvPr/>
        </p:nvGrpSpPr>
        <p:grpSpPr>
          <a:xfrm flipH="1">
            <a:off x="6760464" y="4450296"/>
            <a:ext cx="1874961" cy="2088384"/>
            <a:chOff x="3544292" y="4551489"/>
            <a:chExt cx="2527193" cy="2814866"/>
          </a:xfrm>
          <a:solidFill>
            <a:schemeClr val="accent5">
              <a:alpha val="77000"/>
            </a:schemeClr>
          </a:solidFill>
        </p:grpSpPr>
        <p:sp>
          <p:nvSpPr>
            <p:cNvPr id="24" name="Freeform: Shape 34">
              <a:extLst>
                <a:ext uri="{FF2B5EF4-FFF2-40B4-BE49-F238E27FC236}">
                  <a16:creationId xmlns:a16="http://schemas.microsoft.com/office/drawing/2014/main" id="{D2CB58BE-A73B-3C76-A9EC-F322E5DAF496}"/>
                </a:ext>
              </a:extLst>
            </p:cNvPr>
            <p:cNvSpPr/>
            <p:nvPr/>
          </p:nvSpPr>
          <p:spPr>
            <a:xfrm rot="20018510">
              <a:off x="3544292" y="5981920"/>
              <a:ext cx="1163406" cy="1384435"/>
            </a:xfrm>
            <a:custGeom>
              <a:avLst/>
              <a:gdLst>
                <a:gd name="connsiteX0" fmla="*/ 1019074 w 1163406"/>
                <a:gd name="connsiteY0" fmla="*/ 895713 h 1384435"/>
                <a:gd name="connsiteX1" fmla="*/ 796268 w 1163406"/>
                <a:gd name="connsiteY1" fmla="*/ 729391 h 1384435"/>
                <a:gd name="connsiteX2" fmla="*/ 606580 w 1163406"/>
                <a:gd name="connsiteY2" fmla="*/ 757540 h 1384435"/>
                <a:gd name="connsiteX3" fmla="*/ 582478 w 1163406"/>
                <a:gd name="connsiteY3" fmla="*/ 719088 h 1384435"/>
                <a:gd name="connsiteX4" fmla="*/ 514404 w 1163406"/>
                <a:gd name="connsiteY4" fmla="*/ 684315 h 1384435"/>
                <a:gd name="connsiteX5" fmla="*/ 545681 w 1163406"/>
                <a:gd name="connsiteY5" fmla="*/ 616792 h 1384435"/>
                <a:gd name="connsiteX6" fmla="*/ 544025 w 1163406"/>
                <a:gd name="connsiteY6" fmla="*/ 577787 h 1384435"/>
                <a:gd name="connsiteX7" fmla="*/ 592229 w 1163406"/>
                <a:gd name="connsiteY7" fmla="*/ 560309 h 1384435"/>
                <a:gd name="connsiteX8" fmla="*/ 628842 w 1163406"/>
                <a:gd name="connsiteY8" fmla="*/ 556261 h 1384435"/>
                <a:gd name="connsiteX9" fmla="*/ 728010 w 1163406"/>
                <a:gd name="connsiteY9" fmla="*/ 654509 h 1384435"/>
                <a:gd name="connsiteX10" fmla="*/ 924138 w 1163406"/>
                <a:gd name="connsiteY10" fmla="*/ 662420 h 1384435"/>
                <a:gd name="connsiteX11" fmla="*/ 1100395 w 1163406"/>
                <a:gd name="connsiteY11" fmla="*/ 577051 h 1384435"/>
                <a:gd name="connsiteX12" fmla="*/ 1163318 w 1163406"/>
                <a:gd name="connsiteY12" fmla="*/ 412201 h 1384435"/>
                <a:gd name="connsiteX13" fmla="*/ 1077581 w 1163406"/>
                <a:gd name="connsiteY13" fmla="*/ 229872 h 1384435"/>
                <a:gd name="connsiteX14" fmla="*/ 982645 w 1163406"/>
                <a:gd name="connsiteY14" fmla="*/ 151311 h 1384435"/>
                <a:gd name="connsiteX15" fmla="*/ 939224 w 1163406"/>
                <a:gd name="connsiteY15" fmla="*/ 99979 h 1384435"/>
                <a:gd name="connsiteX16" fmla="*/ 858823 w 1163406"/>
                <a:gd name="connsiteY16" fmla="*/ 56375 h 1384435"/>
                <a:gd name="connsiteX17" fmla="*/ 649449 w 1163406"/>
                <a:gd name="connsiteY17" fmla="*/ 4491 h 1384435"/>
                <a:gd name="connsiteX18" fmla="*/ 486806 w 1163406"/>
                <a:gd name="connsiteY18" fmla="*/ 69070 h 1384435"/>
                <a:gd name="connsiteX19" fmla="*/ 358385 w 1163406"/>
                <a:gd name="connsiteY19" fmla="*/ 106971 h 1384435"/>
                <a:gd name="connsiteX20" fmla="*/ 298958 w 1163406"/>
                <a:gd name="connsiteY20" fmla="*/ 161246 h 1384435"/>
                <a:gd name="connsiteX21" fmla="*/ 223340 w 1163406"/>
                <a:gd name="connsiteY21" fmla="*/ 213866 h 1384435"/>
                <a:gd name="connsiteX22" fmla="*/ 159497 w 1163406"/>
                <a:gd name="connsiteY22" fmla="*/ 282676 h 1384435"/>
                <a:gd name="connsiteX23" fmla="*/ 72472 w 1163406"/>
                <a:gd name="connsiteY23" fmla="*/ 404658 h 1384435"/>
                <a:gd name="connsiteX24" fmla="*/ 59961 w 1163406"/>
                <a:gd name="connsiteY24" fmla="*/ 465005 h 1384435"/>
                <a:gd name="connsiteX25" fmla="*/ 62721 w 1163406"/>
                <a:gd name="connsiteY25" fmla="*/ 470340 h 1384435"/>
                <a:gd name="connsiteX26" fmla="*/ 44323 w 1163406"/>
                <a:gd name="connsiteY26" fmla="*/ 509529 h 1384435"/>
                <a:gd name="connsiteX27" fmla="*/ 41747 w 1163406"/>
                <a:gd name="connsiteY27" fmla="*/ 588275 h 1384435"/>
                <a:gd name="connsiteX28" fmla="*/ 11573 w 1163406"/>
                <a:gd name="connsiteY28" fmla="*/ 611273 h 1384435"/>
                <a:gd name="connsiteX29" fmla="*/ 20589 w 1163406"/>
                <a:gd name="connsiteY29" fmla="*/ 680635 h 1384435"/>
                <a:gd name="connsiteX30" fmla="*/ 3110 w 1163406"/>
                <a:gd name="connsiteY30" fmla="*/ 774467 h 1384435"/>
                <a:gd name="connsiteX31" fmla="*/ 52234 w 1163406"/>
                <a:gd name="connsiteY31" fmla="*/ 894609 h 1384435"/>
                <a:gd name="connsiteX32" fmla="*/ 151034 w 1163406"/>
                <a:gd name="connsiteY32" fmla="*/ 1066451 h 1384435"/>
                <a:gd name="connsiteX33" fmla="*/ 246706 w 1163406"/>
                <a:gd name="connsiteY33" fmla="*/ 1174082 h 1384435"/>
                <a:gd name="connsiteX34" fmla="*/ 377887 w 1163406"/>
                <a:gd name="connsiteY34" fmla="*/ 1242708 h 1384435"/>
                <a:gd name="connsiteX35" fmla="*/ 443938 w 1163406"/>
                <a:gd name="connsiteY35" fmla="*/ 1287784 h 1384435"/>
                <a:gd name="connsiteX36" fmla="*/ 568311 w 1163406"/>
                <a:gd name="connsiteY36" fmla="*/ 1314278 h 1384435"/>
                <a:gd name="connsiteX37" fmla="*/ 750272 w 1163406"/>
                <a:gd name="connsiteY37" fmla="*/ 1384192 h 1384435"/>
                <a:gd name="connsiteX38" fmla="*/ 856431 w 1163406"/>
                <a:gd name="connsiteY38" fmla="*/ 1328445 h 1384435"/>
                <a:gd name="connsiteX39" fmla="*/ 1011346 w 1163406"/>
                <a:gd name="connsiteY39" fmla="*/ 1209959 h 1384435"/>
                <a:gd name="connsiteX40" fmla="*/ 1019074 w 1163406"/>
                <a:gd name="connsiteY40" fmla="*/ 895713 h 138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63406" h="1384435">
                  <a:moveTo>
                    <a:pt x="1019074" y="895713"/>
                  </a:moveTo>
                  <a:cubicBezTo>
                    <a:pt x="980621" y="805192"/>
                    <a:pt x="910339" y="767292"/>
                    <a:pt x="796268" y="729391"/>
                  </a:cubicBezTo>
                  <a:cubicBezTo>
                    <a:pt x="682198" y="691490"/>
                    <a:pt x="606580" y="757540"/>
                    <a:pt x="606580" y="757540"/>
                  </a:cubicBezTo>
                  <a:cubicBezTo>
                    <a:pt x="606580" y="757540"/>
                    <a:pt x="599773" y="741534"/>
                    <a:pt x="582478" y="719088"/>
                  </a:cubicBezTo>
                  <a:cubicBezTo>
                    <a:pt x="565367" y="696641"/>
                    <a:pt x="514404" y="684315"/>
                    <a:pt x="514404" y="684315"/>
                  </a:cubicBezTo>
                  <a:cubicBezTo>
                    <a:pt x="514404" y="684315"/>
                    <a:pt x="538690" y="661684"/>
                    <a:pt x="545681" y="616792"/>
                  </a:cubicBezTo>
                  <a:cubicBezTo>
                    <a:pt x="547521" y="605017"/>
                    <a:pt x="546417" y="591586"/>
                    <a:pt x="544025" y="577787"/>
                  </a:cubicBezTo>
                  <a:cubicBezTo>
                    <a:pt x="555616" y="570796"/>
                    <a:pt x="572359" y="562517"/>
                    <a:pt x="592229" y="560309"/>
                  </a:cubicBezTo>
                  <a:cubicBezTo>
                    <a:pt x="628842" y="556261"/>
                    <a:pt x="628842" y="556261"/>
                    <a:pt x="628842" y="556261"/>
                  </a:cubicBezTo>
                  <a:cubicBezTo>
                    <a:pt x="628842" y="556261"/>
                    <a:pt x="621299" y="616976"/>
                    <a:pt x="728010" y="654509"/>
                  </a:cubicBezTo>
                  <a:cubicBezTo>
                    <a:pt x="834721" y="692042"/>
                    <a:pt x="883477" y="656533"/>
                    <a:pt x="924138" y="662420"/>
                  </a:cubicBezTo>
                  <a:cubicBezTo>
                    <a:pt x="964798" y="668308"/>
                    <a:pt x="1032505" y="683579"/>
                    <a:pt x="1100395" y="577051"/>
                  </a:cubicBezTo>
                  <a:cubicBezTo>
                    <a:pt x="1168469" y="470524"/>
                    <a:pt x="1163318" y="412201"/>
                    <a:pt x="1163318" y="412201"/>
                  </a:cubicBezTo>
                  <a:cubicBezTo>
                    <a:pt x="1163318" y="412201"/>
                    <a:pt x="1134064" y="271453"/>
                    <a:pt x="1077581" y="229872"/>
                  </a:cubicBezTo>
                  <a:cubicBezTo>
                    <a:pt x="1020914" y="188292"/>
                    <a:pt x="993868" y="178725"/>
                    <a:pt x="982645" y="151311"/>
                  </a:cubicBezTo>
                  <a:cubicBezTo>
                    <a:pt x="971422" y="123897"/>
                    <a:pt x="951183" y="108074"/>
                    <a:pt x="939224" y="99979"/>
                  </a:cubicBezTo>
                  <a:cubicBezTo>
                    <a:pt x="906107" y="77717"/>
                    <a:pt x="893412" y="79741"/>
                    <a:pt x="858823" y="56375"/>
                  </a:cubicBezTo>
                  <a:cubicBezTo>
                    <a:pt x="824234" y="33009"/>
                    <a:pt x="763519" y="-14827"/>
                    <a:pt x="649449" y="4491"/>
                  </a:cubicBezTo>
                  <a:cubicBezTo>
                    <a:pt x="535378" y="23809"/>
                    <a:pt x="519371" y="58767"/>
                    <a:pt x="486806" y="69070"/>
                  </a:cubicBezTo>
                  <a:cubicBezTo>
                    <a:pt x="454241" y="79373"/>
                    <a:pt x="393342" y="79189"/>
                    <a:pt x="358385" y="106971"/>
                  </a:cubicBezTo>
                  <a:cubicBezTo>
                    <a:pt x="323428" y="134936"/>
                    <a:pt x="332443" y="136960"/>
                    <a:pt x="298958" y="161246"/>
                  </a:cubicBezTo>
                  <a:cubicBezTo>
                    <a:pt x="265472" y="185532"/>
                    <a:pt x="242842" y="182956"/>
                    <a:pt x="223340" y="213866"/>
                  </a:cubicBezTo>
                  <a:cubicBezTo>
                    <a:pt x="203837" y="244775"/>
                    <a:pt x="206413" y="253974"/>
                    <a:pt x="159497" y="282676"/>
                  </a:cubicBezTo>
                  <a:cubicBezTo>
                    <a:pt x="112581" y="311562"/>
                    <a:pt x="74680" y="365101"/>
                    <a:pt x="72472" y="404658"/>
                  </a:cubicBezTo>
                  <a:cubicBezTo>
                    <a:pt x="70449" y="444214"/>
                    <a:pt x="73208" y="438143"/>
                    <a:pt x="59961" y="465005"/>
                  </a:cubicBezTo>
                  <a:cubicBezTo>
                    <a:pt x="59226" y="466661"/>
                    <a:pt x="60329" y="468316"/>
                    <a:pt x="62721" y="470340"/>
                  </a:cubicBezTo>
                  <a:cubicBezTo>
                    <a:pt x="55730" y="482483"/>
                    <a:pt x="49106" y="495914"/>
                    <a:pt x="44323" y="509529"/>
                  </a:cubicBezTo>
                  <a:cubicBezTo>
                    <a:pt x="28684" y="554053"/>
                    <a:pt x="41747" y="588275"/>
                    <a:pt x="41747" y="588275"/>
                  </a:cubicBezTo>
                  <a:cubicBezTo>
                    <a:pt x="41747" y="588275"/>
                    <a:pt x="24452" y="591770"/>
                    <a:pt x="11573" y="611273"/>
                  </a:cubicBezTo>
                  <a:cubicBezTo>
                    <a:pt x="-1305" y="630775"/>
                    <a:pt x="27764" y="656717"/>
                    <a:pt x="20589" y="680635"/>
                  </a:cubicBezTo>
                  <a:cubicBezTo>
                    <a:pt x="13413" y="704553"/>
                    <a:pt x="-7929" y="712832"/>
                    <a:pt x="3110" y="774467"/>
                  </a:cubicBezTo>
                  <a:cubicBezTo>
                    <a:pt x="13965" y="836102"/>
                    <a:pt x="36963" y="839414"/>
                    <a:pt x="52234" y="894609"/>
                  </a:cubicBezTo>
                  <a:cubicBezTo>
                    <a:pt x="67505" y="949804"/>
                    <a:pt x="109453" y="1035173"/>
                    <a:pt x="151034" y="1066451"/>
                  </a:cubicBezTo>
                  <a:cubicBezTo>
                    <a:pt x="192614" y="1097544"/>
                    <a:pt x="194270" y="1108215"/>
                    <a:pt x="246706" y="1174082"/>
                  </a:cubicBezTo>
                  <a:cubicBezTo>
                    <a:pt x="299142" y="1240132"/>
                    <a:pt x="377887" y="1242708"/>
                    <a:pt x="377887" y="1242708"/>
                  </a:cubicBezTo>
                  <a:cubicBezTo>
                    <a:pt x="377887" y="1242708"/>
                    <a:pt x="406221" y="1270306"/>
                    <a:pt x="443938" y="1287784"/>
                  </a:cubicBezTo>
                  <a:cubicBezTo>
                    <a:pt x="481654" y="1305447"/>
                    <a:pt x="541633" y="1297352"/>
                    <a:pt x="568311" y="1314278"/>
                  </a:cubicBezTo>
                  <a:cubicBezTo>
                    <a:pt x="594989" y="1331205"/>
                    <a:pt x="691397" y="1380144"/>
                    <a:pt x="750272" y="1384192"/>
                  </a:cubicBezTo>
                  <a:cubicBezTo>
                    <a:pt x="809147" y="1388240"/>
                    <a:pt x="817059" y="1340588"/>
                    <a:pt x="856431" y="1328445"/>
                  </a:cubicBezTo>
                  <a:cubicBezTo>
                    <a:pt x="895804" y="1316302"/>
                    <a:pt x="934993" y="1321269"/>
                    <a:pt x="1011346" y="1209959"/>
                  </a:cubicBezTo>
                  <a:cubicBezTo>
                    <a:pt x="1087332" y="1098832"/>
                    <a:pt x="1057527" y="986417"/>
                    <a:pt x="1019074" y="895713"/>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5" name="Freeform: Shape 38">
              <a:extLst>
                <a:ext uri="{FF2B5EF4-FFF2-40B4-BE49-F238E27FC236}">
                  <a16:creationId xmlns:a16="http://schemas.microsoft.com/office/drawing/2014/main" id="{1C30D79C-2A55-7E47-811F-11CECEC0AC40}"/>
                </a:ext>
              </a:extLst>
            </p:cNvPr>
            <p:cNvSpPr/>
            <p:nvPr/>
          </p:nvSpPr>
          <p:spPr>
            <a:xfrm rot="20018510">
              <a:off x="4926541" y="5725891"/>
              <a:ext cx="1144944" cy="1194921"/>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6" name="Freeform: Shape 39">
              <a:extLst>
                <a:ext uri="{FF2B5EF4-FFF2-40B4-BE49-F238E27FC236}">
                  <a16:creationId xmlns:a16="http://schemas.microsoft.com/office/drawing/2014/main" id="{E89AA130-33D1-1036-408E-F39133A31102}"/>
                </a:ext>
              </a:extLst>
            </p:cNvPr>
            <p:cNvSpPr/>
            <p:nvPr/>
          </p:nvSpPr>
          <p:spPr>
            <a:xfrm rot="20018510">
              <a:off x="4068661" y="4551489"/>
              <a:ext cx="1314392" cy="1282656"/>
            </a:xfrm>
            <a:custGeom>
              <a:avLst/>
              <a:gdLst>
                <a:gd name="connsiteX0" fmla="*/ 1289211 w 1314392"/>
                <a:gd name="connsiteY0" fmla="*/ 506242 h 1282656"/>
                <a:gd name="connsiteX1" fmla="*/ 1274125 w 1314392"/>
                <a:gd name="connsiteY1" fmla="*/ 436695 h 1282656"/>
                <a:gd name="connsiteX2" fmla="*/ 1268605 w 1314392"/>
                <a:gd name="connsiteY2" fmla="*/ 410386 h 1282656"/>
                <a:gd name="connsiteX3" fmla="*/ 1266213 w 1314392"/>
                <a:gd name="connsiteY3" fmla="*/ 375981 h 1282656"/>
                <a:gd name="connsiteX4" fmla="*/ 1218561 w 1314392"/>
                <a:gd name="connsiteY4" fmla="*/ 209106 h 1282656"/>
                <a:gd name="connsiteX5" fmla="*/ 1091612 w 1314392"/>
                <a:gd name="connsiteY5" fmla="*/ 103683 h 1282656"/>
                <a:gd name="connsiteX6" fmla="*/ 1065854 w 1314392"/>
                <a:gd name="connsiteY6" fmla="*/ 87125 h 1282656"/>
                <a:gd name="connsiteX7" fmla="*/ 797236 w 1314392"/>
                <a:gd name="connsiteY7" fmla="*/ 18498 h 1282656"/>
                <a:gd name="connsiteX8" fmla="*/ 648025 w 1314392"/>
                <a:gd name="connsiteY8" fmla="*/ 113434 h 1282656"/>
                <a:gd name="connsiteX9" fmla="*/ 591725 w 1314392"/>
                <a:gd name="connsiteY9" fmla="*/ 191260 h 1282656"/>
                <a:gd name="connsiteX10" fmla="*/ 619323 w 1314392"/>
                <a:gd name="connsiteY10" fmla="*/ 385548 h 1282656"/>
                <a:gd name="connsiteX11" fmla="*/ 714627 w 1314392"/>
                <a:gd name="connsiteY11" fmla="*/ 491155 h 1282656"/>
                <a:gd name="connsiteX12" fmla="*/ 728610 w 1314392"/>
                <a:gd name="connsiteY12" fmla="*/ 596026 h 1282656"/>
                <a:gd name="connsiteX13" fmla="*/ 760255 w 1314392"/>
                <a:gd name="connsiteY13" fmla="*/ 656189 h 1282656"/>
                <a:gd name="connsiteX14" fmla="*/ 703220 w 1314392"/>
                <a:gd name="connsiteY14" fmla="*/ 687099 h 1282656"/>
                <a:gd name="connsiteX15" fmla="*/ 683534 w 1314392"/>
                <a:gd name="connsiteY15" fmla="*/ 703841 h 1282656"/>
                <a:gd name="connsiteX16" fmla="*/ 654464 w 1314392"/>
                <a:gd name="connsiteY16" fmla="*/ 711753 h 1282656"/>
                <a:gd name="connsiteX17" fmla="*/ 622819 w 1314392"/>
                <a:gd name="connsiteY17" fmla="*/ 680107 h 1282656"/>
                <a:gd name="connsiteX18" fmla="*/ 563392 w 1314392"/>
                <a:gd name="connsiteY18" fmla="*/ 651406 h 1282656"/>
                <a:gd name="connsiteX19" fmla="*/ 539658 w 1314392"/>
                <a:gd name="connsiteY19" fmla="*/ 582779 h 1282656"/>
                <a:gd name="connsiteX20" fmla="*/ 538554 w 1314392"/>
                <a:gd name="connsiteY20" fmla="*/ 580755 h 1282656"/>
                <a:gd name="connsiteX21" fmla="*/ 550329 w 1314392"/>
                <a:gd name="connsiteY21" fmla="*/ 510657 h 1282656"/>
                <a:gd name="connsiteX22" fmla="*/ 531194 w 1314392"/>
                <a:gd name="connsiteY22" fmla="*/ 438903 h 1282656"/>
                <a:gd name="connsiteX23" fmla="*/ 491454 w 1314392"/>
                <a:gd name="connsiteY23" fmla="*/ 276629 h 1282656"/>
                <a:gd name="connsiteX24" fmla="*/ 305445 w 1314392"/>
                <a:gd name="connsiteY24" fmla="*/ 209106 h 1282656"/>
                <a:gd name="connsiteX25" fmla="*/ 56330 w 1314392"/>
                <a:gd name="connsiteY25" fmla="*/ 327961 h 1282656"/>
                <a:gd name="connsiteX26" fmla="*/ 1686 w 1314392"/>
                <a:gd name="connsiteY26" fmla="*/ 501090 h 1282656"/>
                <a:gd name="connsiteX27" fmla="*/ 26892 w 1314392"/>
                <a:gd name="connsiteY27" fmla="*/ 572844 h 1282656"/>
                <a:gd name="connsiteX28" fmla="*/ 18797 w 1314392"/>
                <a:gd name="connsiteY28" fmla="*/ 714880 h 1282656"/>
                <a:gd name="connsiteX29" fmla="*/ 106742 w 1314392"/>
                <a:gd name="connsiteY29" fmla="*/ 880283 h 1282656"/>
                <a:gd name="connsiteX30" fmla="*/ 110053 w 1314392"/>
                <a:gd name="connsiteY30" fmla="*/ 884514 h 1282656"/>
                <a:gd name="connsiteX31" fmla="*/ 114469 w 1314392"/>
                <a:gd name="connsiteY31" fmla="*/ 919655 h 1282656"/>
                <a:gd name="connsiteX32" fmla="*/ 160097 w 1314392"/>
                <a:gd name="connsiteY32" fmla="*/ 1052308 h 1282656"/>
                <a:gd name="connsiteX33" fmla="*/ 342058 w 1314392"/>
                <a:gd name="connsiteY33" fmla="*/ 1218630 h 1282656"/>
                <a:gd name="connsiteX34" fmla="*/ 456497 w 1314392"/>
                <a:gd name="connsiteY34" fmla="*/ 1236661 h 1282656"/>
                <a:gd name="connsiteX35" fmla="*/ 509668 w 1314392"/>
                <a:gd name="connsiteY35" fmla="*/ 1242364 h 1282656"/>
                <a:gd name="connsiteX36" fmla="*/ 530642 w 1314392"/>
                <a:gd name="connsiteY36" fmla="*/ 1252668 h 1282656"/>
                <a:gd name="connsiteX37" fmla="*/ 624107 w 1314392"/>
                <a:gd name="connsiteY37" fmla="*/ 1282657 h 1282656"/>
                <a:gd name="connsiteX38" fmla="*/ 651152 w 1314392"/>
                <a:gd name="connsiteY38" fmla="*/ 1279713 h 1282656"/>
                <a:gd name="connsiteX39" fmla="*/ 768351 w 1314392"/>
                <a:gd name="connsiteY39" fmla="*/ 1217343 h 1282656"/>
                <a:gd name="connsiteX40" fmla="*/ 813611 w 1314392"/>
                <a:gd name="connsiteY40" fmla="*/ 1212559 h 1282656"/>
                <a:gd name="connsiteX41" fmla="*/ 882789 w 1314392"/>
                <a:gd name="connsiteY41" fmla="*/ 1173738 h 1282656"/>
                <a:gd name="connsiteX42" fmla="*/ 996860 w 1314392"/>
                <a:gd name="connsiteY42" fmla="*/ 1138597 h 1282656"/>
                <a:gd name="connsiteX43" fmla="*/ 1076893 w 1314392"/>
                <a:gd name="connsiteY43" fmla="*/ 1068315 h 1282656"/>
                <a:gd name="connsiteX44" fmla="*/ 1189860 w 1314392"/>
                <a:gd name="connsiteY44" fmla="*/ 965467 h 1282656"/>
                <a:gd name="connsiteX45" fmla="*/ 1204394 w 1314392"/>
                <a:gd name="connsiteY45" fmla="*/ 932534 h 1282656"/>
                <a:gd name="connsiteX46" fmla="*/ 1229232 w 1314392"/>
                <a:gd name="connsiteY46" fmla="*/ 889666 h 1282656"/>
                <a:gd name="connsiteX47" fmla="*/ 1239351 w 1314392"/>
                <a:gd name="connsiteY47" fmla="*/ 874947 h 1282656"/>
                <a:gd name="connsiteX48" fmla="*/ 1279644 w 1314392"/>
                <a:gd name="connsiteY48" fmla="*/ 719296 h 1282656"/>
                <a:gd name="connsiteX49" fmla="*/ 1313681 w 1314392"/>
                <a:gd name="connsiteY49" fmla="*/ 631167 h 1282656"/>
                <a:gd name="connsiteX50" fmla="*/ 1289211 w 1314392"/>
                <a:gd name="connsiteY50" fmla="*/ 506242 h 1282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14392" h="1282656">
                  <a:moveTo>
                    <a:pt x="1289211" y="506242"/>
                  </a:moveTo>
                  <a:cubicBezTo>
                    <a:pt x="1289395" y="493547"/>
                    <a:pt x="1288475" y="459510"/>
                    <a:pt x="1274125" y="436695"/>
                  </a:cubicBezTo>
                  <a:cubicBezTo>
                    <a:pt x="1269709" y="429520"/>
                    <a:pt x="1269341" y="427128"/>
                    <a:pt x="1268605" y="410386"/>
                  </a:cubicBezTo>
                  <a:cubicBezTo>
                    <a:pt x="1268237" y="401922"/>
                    <a:pt x="1267685" y="391067"/>
                    <a:pt x="1266213" y="375981"/>
                  </a:cubicBezTo>
                  <a:cubicBezTo>
                    <a:pt x="1258486" y="296315"/>
                    <a:pt x="1254622" y="256390"/>
                    <a:pt x="1218561" y="209106"/>
                  </a:cubicBezTo>
                  <a:cubicBezTo>
                    <a:pt x="1174773" y="151519"/>
                    <a:pt x="1124729" y="122634"/>
                    <a:pt x="1091612" y="103683"/>
                  </a:cubicBezTo>
                  <a:cubicBezTo>
                    <a:pt x="1081125" y="97612"/>
                    <a:pt x="1068246" y="90252"/>
                    <a:pt x="1065854" y="87125"/>
                  </a:cubicBezTo>
                  <a:cubicBezTo>
                    <a:pt x="1032737" y="31745"/>
                    <a:pt x="933937" y="-32281"/>
                    <a:pt x="797236" y="18498"/>
                  </a:cubicBezTo>
                  <a:cubicBezTo>
                    <a:pt x="760623" y="32113"/>
                    <a:pt x="705244" y="59343"/>
                    <a:pt x="648025" y="113434"/>
                  </a:cubicBezTo>
                  <a:cubicBezTo>
                    <a:pt x="631834" y="129073"/>
                    <a:pt x="606260" y="162190"/>
                    <a:pt x="591725" y="191260"/>
                  </a:cubicBezTo>
                  <a:cubicBezTo>
                    <a:pt x="575535" y="223457"/>
                    <a:pt x="568543" y="304778"/>
                    <a:pt x="619323" y="385548"/>
                  </a:cubicBezTo>
                  <a:cubicBezTo>
                    <a:pt x="652992" y="439087"/>
                    <a:pt x="696781" y="476804"/>
                    <a:pt x="714627" y="491155"/>
                  </a:cubicBezTo>
                  <a:cubicBezTo>
                    <a:pt x="714075" y="512313"/>
                    <a:pt x="714259" y="561989"/>
                    <a:pt x="728610" y="596026"/>
                  </a:cubicBezTo>
                  <a:cubicBezTo>
                    <a:pt x="736521" y="614977"/>
                    <a:pt x="748664" y="637055"/>
                    <a:pt x="760255" y="656189"/>
                  </a:cubicBezTo>
                  <a:cubicBezTo>
                    <a:pt x="736521" y="665388"/>
                    <a:pt x="717387" y="675876"/>
                    <a:pt x="703220" y="687099"/>
                  </a:cubicBezTo>
                  <a:cubicBezTo>
                    <a:pt x="697149" y="691882"/>
                    <a:pt x="690709" y="697402"/>
                    <a:pt x="683534" y="703841"/>
                  </a:cubicBezTo>
                  <a:cubicBezTo>
                    <a:pt x="673782" y="704577"/>
                    <a:pt x="662927" y="708257"/>
                    <a:pt x="654464" y="711753"/>
                  </a:cubicBezTo>
                  <a:cubicBezTo>
                    <a:pt x="647657" y="704209"/>
                    <a:pt x="637354" y="693354"/>
                    <a:pt x="622819" y="680107"/>
                  </a:cubicBezTo>
                  <a:cubicBezTo>
                    <a:pt x="606444" y="665021"/>
                    <a:pt x="583078" y="656373"/>
                    <a:pt x="563392" y="651406"/>
                  </a:cubicBezTo>
                  <a:cubicBezTo>
                    <a:pt x="556768" y="628224"/>
                    <a:pt x="546649" y="595474"/>
                    <a:pt x="539658" y="582779"/>
                  </a:cubicBezTo>
                  <a:lnTo>
                    <a:pt x="538554" y="580755"/>
                  </a:lnTo>
                  <a:cubicBezTo>
                    <a:pt x="546281" y="568612"/>
                    <a:pt x="554008" y="546902"/>
                    <a:pt x="550329" y="510657"/>
                  </a:cubicBezTo>
                  <a:cubicBezTo>
                    <a:pt x="546281" y="472572"/>
                    <a:pt x="537266" y="449942"/>
                    <a:pt x="531194" y="438903"/>
                  </a:cubicBezTo>
                  <a:cubicBezTo>
                    <a:pt x="537082" y="412961"/>
                    <a:pt x="549225" y="332376"/>
                    <a:pt x="491454" y="276629"/>
                  </a:cubicBezTo>
                  <a:cubicBezTo>
                    <a:pt x="440122" y="227137"/>
                    <a:pt x="377567" y="204507"/>
                    <a:pt x="305445" y="209106"/>
                  </a:cubicBezTo>
                  <a:cubicBezTo>
                    <a:pt x="189167" y="216834"/>
                    <a:pt x="81536" y="296131"/>
                    <a:pt x="56330" y="327961"/>
                  </a:cubicBezTo>
                  <a:cubicBezTo>
                    <a:pt x="18613" y="375429"/>
                    <a:pt x="-6961" y="456382"/>
                    <a:pt x="1686" y="501090"/>
                  </a:cubicBezTo>
                  <a:cubicBezTo>
                    <a:pt x="7758" y="532736"/>
                    <a:pt x="20453" y="560149"/>
                    <a:pt x="26892" y="572844"/>
                  </a:cubicBezTo>
                  <a:cubicBezTo>
                    <a:pt x="20269" y="594738"/>
                    <a:pt x="4446" y="657293"/>
                    <a:pt x="18797" y="714880"/>
                  </a:cubicBezTo>
                  <a:cubicBezTo>
                    <a:pt x="39219" y="796202"/>
                    <a:pt x="83192" y="850845"/>
                    <a:pt x="106742" y="880283"/>
                  </a:cubicBezTo>
                  <a:lnTo>
                    <a:pt x="110053" y="884514"/>
                  </a:lnTo>
                  <a:cubicBezTo>
                    <a:pt x="112261" y="896473"/>
                    <a:pt x="113365" y="907696"/>
                    <a:pt x="114469" y="919655"/>
                  </a:cubicBezTo>
                  <a:cubicBezTo>
                    <a:pt x="117965" y="956452"/>
                    <a:pt x="121644" y="994353"/>
                    <a:pt x="160097" y="1052308"/>
                  </a:cubicBezTo>
                  <a:cubicBezTo>
                    <a:pt x="220260" y="1142645"/>
                    <a:pt x="274536" y="1192321"/>
                    <a:pt x="342058" y="1218630"/>
                  </a:cubicBezTo>
                  <a:cubicBezTo>
                    <a:pt x="376831" y="1232245"/>
                    <a:pt x="420987" y="1234637"/>
                    <a:pt x="456497" y="1236661"/>
                  </a:cubicBezTo>
                  <a:cubicBezTo>
                    <a:pt x="478207" y="1237949"/>
                    <a:pt x="498813" y="1239053"/>
                    <a:pt x="509668" y="1242364"/>
                  </a:cubicBezTo>
                  <a:cubicBezTo>
                    <a:pt x="514452" y="1243836"/>
                    <a:pt x="522363" y="1248068"/>
                    <a:pt x="530642" y="1252668"/>
                  </a:cubicBezTo>
                  <a:cubicBezTo>
                    <a:pt x="553273" y="1265179"/>
                    <a:pt x="585470" y="1282657"/>
                    <a:pt x="624107" y="1282657"/>
                  </a:cubicBezTo>
                  <a:cubicBezTo>
                    <a:pt x="632754" y="1282657"/>
                    <a:pt x="641953" y="1281737"/>
                    <a:pt x="651152" y="1279713"/>
                  </a:cubicBezTo>
                  <a:cubicBezTo>
                    <a:pt x="681142" y="1273090"/>
                    <a:pt x="729714" y="1251012"/>
                    <a:pt x="768351" y="1217343"/>
                  </a:cubicBezTo>
                  <a:cubicBezTo>
                    <a:pt x="780678" y="1218079"/>
                    <a:pt x="796500" y="1218446"/>
                    <a:pt x="813611" y="1212559"/>
                  </a:cubicBezTo>
                  <a:cubicBezTo>
                    <a:pt x="836977" y="1204280"/>
                    <a:pt x="870278" y="1182385"/>
                    <a:pt x="882789" y="1173738"/>
                  </a:cubicBezTo>
                  <a:cubicBezTo>
                    <a:pt x="900636" y="1173738"/>
                    <a:pt x="949944" y="1170426"/>
                    <a:pt x="996860" y="1138597"/>
                  </a:cubicBezTo>
                  <a:cubicBezTo>
                    <a:pt x="1042672" y="1107872"/>
                    <a:pt x="1068246" y="1078986"/>
                    <a:pt x="1076893" y="1068315"/>
                  </a:cubicBezTo>
                  <a:cubicBezTo>
                    <a:pt x="1095292" y="1059852"/>
                    <a:pt x="1162814" y="1025262"/>
                    <a:pt x="1189860" y="965467"/>
                  </a:cubicBezTo>
                  <a:cubicBezTo>
                    <a:pt x="1196851" y="950013"/>
                    <a:pt x="1201267" y="939894"/>
                    <a:pt x="1204394" y="932534"/>
                  </a:cubicBezTo>
                  <a:cubicBezTo>
                    <a:pt x="1211938" y="914872"/>
                    <a:pt x="1211938" y="914872"/>
                    <a:pt x="1229232" y="889666"/>
                  </a:cubicBezTo>
                  <a:lnTo>
                    <a:pt x="1239351" y="874947"/>
                  </a:lnTo>
                  <a:cubicBezTo>
                    <a:pt x="1274309" y="823983"/>
                    <a:pt x="1279092" y="743950"/>
                    <a:pt x="1279644" y="719296"/>
                  </a:cubicBezTo>
                  <a:cubicBezTo>
                    <a:pt x="1289579" y="707337"/>
                    <a:pt x="1309082" y="678267"/>
                    <a:pt x="1313681" y="631167"/>
                  </a:cubicBezTo>
                  <a:cubicBezTo>
                    <a:pt x="1318649" y="578548"/>
                    <a:pt x="1296203" y="522064"/>
                    <a:pt x="1289211" y="506242"/>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pic>
        <p:nvPicPr>
          <p:cNvPr id="6" name="Graphic 5">
            <a:extLst>
              <a:ext uri="{FF2B5EF4-FFF2-40B4-BE49-F238E27FC236}">
                <a16:creationId xmlns:a16="http://schemas.microsoft.com/office/drawing/2014/main" id="{34FDF57F-073C-F503-ED64-8A60737106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5132851" flipH="1">
            <a:off x="7718713" y="1632640"/>
            <a:ext cx="2702583" cy="3005458"/>
          </a:xfrm>
          <a:prstGeom prst="rect">
            <a:avLst/>
          </a:prstGeom>
        </p:spPr>
      </p:pic>
      <p:sp>
        <p:nvSpPr>
          <p:cNvPr id="7" name="Freeform: Shape 137">
            <a:extLst>
              <a:ext uri="{FF2B5EF4-FFF2-40B4-BE49-F238E27FC236}">
                <a16:creationId xmlns:a16="http://schemas.microsoft.com/office/drawing/2014/main" id="{0C41417B-0E8B-E37D-8888-24E8BD169E31}"/>
              </a:ext>
            </a:extLst>
          </p:cNvPr>
          <p:cNvSpPr/>
          <p:nvPr/>
        </p:nvSpPr>
        <p:spPr>
          <a:xfrm rot="1800000" flipH="1">
            <a:off x="10994656" y="5787781"/>
            <a:ext cx="1309415" cy="1421085"/>
          </a:xfrm>
          <a:custGeom>
            <a:avLst/>
            <a:gdLst>
              <a:gd name="connsiteX0" fmla="*/ 725293 w 1307003"/>
              <a:gd name="connsiteY0" fmla="*/ 85508 h 1418468"/>
              <a:gd name="connsiteX1" fmla="*/ 848480 w 1307003"/>
              <a:gd name="connsiteY1" fmla="*/ 216611 h 1418468"/>
              <a:gd name="connsiteX2" fmla="*/ 880142 w 1307003"/>
              <a:gd name="connsiteY2" fmla="*/ 244317 h 1418468"/>
              <a:gd name="connsiteX3" fmla="*/ 1208644 w 1307003"/>
              <a:gd name="connsiteY3" fmla="*/ 549071 h 1418468"/>
              <a:gd name="connsiteX4" fmla="*/ 1252179 w 1307003"/>
              <a:gd name="connsiteY4" fmla="*/ 640101 h 1418468"/>
              <a:gd name="connsiteX5" fmla="*/ 1268010 w 1307003"/>
              <a:gd name="connsiteY5" fmla="*/ 1202113 h 1418468"/>
              <a:gd name="connsiteX6" fmla="*/ 1244264 w 1307003"/>
              <a:gd name="connsiteY6" fmla="*/ 1249606 h 1418468"/>
              <a:gd name="connsiteX7" fmla="*/ 1165107 w 1307003"/>
              <a:gd name="connsiteY7" fmla="*/ 1249606 h 1418468"/>
              <a:gd name="connsiteX8" fmla="*/ 1162138 w 1307003"/>
              <a:gd name="connsiteY8" fmla="*/ 1386647 h 1418468"/>
              <a:gd name="connsiteX9" fmla="*/ 1137707 w 1307003"/>
              <a:gd name="connsiteY9" fmla="*/ 1418468 h 1418468"/>
              <a:gd name="connsiteX10" fmla="*/ 359691 w 1307003"/>
              <a:gd name="connsiteY10" fmla="*/ 969280 h 1418468"/>
              <a:gd name="connsiteX11" fmla="*/ 361668 w 1307003"/>
              <a:gd name="connsiteY11" fmla="*/ 964642 h 1418468"/>
              <a:gd name="connsiteX12" fmla="*/ 346467 w 1307003"/>
              <a:gd name="connsiteY12" fmla="*/ 961645 h 1418468"/>
              <a:gd name="connsiteX13" fmla="*/ 0 w 1307003"/>
              <a:gd name="connsiteY13" fmla="*/ 761612 h 1418468"/>
              <a:gd name="connsiteX14" fmla="*/ 439717 w 1307003"/>
              <a:gd name="connsiteY14" fmla="*/ 0 h 1418468"/>
              <a:gd name="connsiteX15" fmla="*/ 452698 w 1307003"/>
              <a:gd name="connsiteY15" fmla="*/ 6846 h 1418468"/>
              <a:gd name="connsiteX16" fmla="*/ 551643 w 1307003"/>
              <a:gd name="connsiteY16" fmla="*/ 46425 h 1418468"/>
              <a:gd name="connsiteX17" fmla="*/ 725293 w 1307003"/>
              <a:gd name="connsiteY17" fmla="*/ 85508 h 141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7003" h="1418468">
                <a:moveTo>
                  <a:pt x="725293" y="85508"/>
                </a:moveTo>
                <a:cubicBezTo>
                  <a:pt x="776251" y="111729"/>
                  <a:pt x="818797" y="153286"/>
                  <a:pt x="848480" y="216611"/>
                </a:cubicBezTo>
                <a:cubicBezTo>
                  <a:pt x="856397" y="228486"/>
                  <a:pt x="868270" y="236401"/>
                  <a:pt x="880142" y="244317"/>
                </a:cubicBezTo>
                <a:cubicBezTo>
                  <a:pt x="1018666" y="315558"/>
                  <a:pt x="1117613" y="426378"/>
                  <a:pt x="1208644" y="549071"/>
                </a:cubicBezTo>
                <a:cubicBezTo>
                  <a:pt x="1228431" y="576774"/>
                  <a:pt x="1248221" y="608437"/>
                  <a:pt x="1252179" y="640101"/>
                </a:cubicBezTo>
                <a:cubicBezTo>
                  <a:pt x="1271968" y="826118"/>
                  <a:pt x="1355082" y="1012137"/>
                  <a:pt x="1268010" y="1202113"/>
                </a:cubicBezTo>
                <a:cubicBezTo>
                  <a:pt x="1260096" y="1217944"/>
                  <a:pt x="1256137" y="1237734"/>
                  <a:pt x="1244264" y="1249606"/>
                </a:cubicBezTo>
                <a:cubicBezTo>
                  <a:pt x="1220517" y="1281268"/>
                  <a:pt x="1200727" y="1305016"/>
                  <a:pt x="1165107" y="1249606"/>
                </a:cubicBezTo>
                <a:cubicBezTo>
                  <a:pt x="1178959" y="1303037"/>
                  <a:pt x="1176980" y="1347563"/>
                  <a:pt x="1162138" y="1386647"/>
                </a:cubicBezTo>
                <a:lnTo>
                  <a:pt x="1137707" y="1418468"/>
                </a:lnTo>
                <a:lnTo>
                  <a:pt x="359691" y="969280"/>
                </a:lnTo>
                <a:lnTo>
                  <a:pt x="361668" y="964642"/>
                </a:lnTo>
                <a:lnTo>
                  <a:pt x="346467" y="961645"/>
                </a:lnTo>
                <a:lnTo>
                  <a:pt x="0" y="761612"/>
                </a:lnTo>
                <a:lnTo>
                  <a:pt x="439717" y="0"/>
                </a:lnTo>
                <a:lnTo>
                  <a:pt x="452698" y="6846"/>
                </a:lnTo>
                <a:cubicBezTo>
                  <a:pt x="484360" y="34552"/>
                  <a:pt x="516022" y="46425"/>
                  <a:pt x="551643" y="46425"/>
                </a:cubicBezTo>
                <a:cubicBezTo>
                  <a:pt x="614969" y="48404"/>
                  <a:pt x="674336" y="59288"/>
                  <a:pt x="725293" y="85508"/>
                </a:cubicBezTo>
                <a:close/>
              </a:path>
            </a:pathLst>
          </a:custGeom>
          <a:solidFill>
            <a:schemeClr val="accent5">
              <a:alpha val="77000"/>
            </a:schemeClr>
          </a:solidFill>
          <a:ln w="2322"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sz="1799" b="0" i="0" u="none" strike="noStrike" cap="none" spc="0" normalizeH="0" baseline="0" noProof="0">
              <a:ln>
                <a:noFill/>
              </a:ln>
              <a:solidFill>
                <a:srgbClr val="3F000B"/>
              </a:solidFill>
              <a:effectLst/>
              <a:uLnTx/>
              <a:uFillTx/>
              <a:latin typeface="TT Norms Pro" panose="02000503030000020003" pitchFamily="2" charset="0"/>
            </a:endParaRPr>
          </a:p>
        </p:txBody>
      </p:sp>
      <p:sp>
        <p:nvSpPr>
          <p:cNvPr id="8" name="Freeform: Shape 131">
            <a:extLst>
              <a:ext uri="{FF2B5EF4-FFF2-40B4-BE49-F238E27FC236}">
                <a16:creationId xmlns:a16="http://schemas.microsoft.com/office/drawing/2014/main" id="{81A6CC49-775C-84D3-EF5E-E1A9653AC534}"/>
              </a:ext>
            </a:extLst>
          </p:cNvPr>
          <p:cNvSpPr/>
          <p:nvPr/>
        </p:nvSpPr>
        <p:spPr>
          <a:xfrm flipH="1">
            <a:off x="9021330" y="-7871"/>
            <a:ext cx="1541047" cy="781134"/>
          </a:xfrm>
          <a:custGeom>
            <a:avLst/>
            <a:gdLst>
              <a:gd name="connsiteX0" fmla="*/ 11655 w 1538209"/>
              <a:gd name="connsiteY0" fmla="*/ 0 h 779695"/>
              <a:gd name="connsiteX1" fmla="*/ 1492424 w 1538209"/>
              <a:gd name="connsiteY1" fmla="*/ 0 h 779695"/>
              <a:gd name="connsiteX2" fmla="*/ 1474929 w 1538209"/>
              <a:gd name="connsiteY2" fmla="*/ 26748 h 779695"/>
              <a:gd name="connsiteX3" fmla="*/ 1427135 w 1538209"/>
              <a:gd name="connsiteY3" fmla="*/ 77327 h 779695"/>
              <a:gd name="connsiteX4" fmla="*/ 1512809 w 1538209"/>
              <a:gd name="connsiteY4" fmla="*/ 429283 h 779695"/>
              <a:gd name="connsiteX5" fmla="*/ 1052796 w 1538209"/>
              <a:gd name="connsiteY5" fmla="*/ 779695 h 779695"/>
              <a:gd name="connsiteX6" fmla="*/ 1048165 w 1538209"/>
              <a:gd name="connsiteY6" fmla="*/ 779695 h 779695"/>
              <a:gd name="connsiteX7" fmla="*/ 788057 w 1538209"/>
              <a:gd name="connsiteY7" fmla="*/ 575159 h 779695"/>
              <a:gd name="connsiteX8" fmla="*/ 371267 w 1538209"/>
              <a:gd name="connsiteY8" fmla="*/ 765030 h 779695"/>
              <a:gd name="connsiteX9" fmla="*/ 203008 w 1538209"/>
              <a:gd name="connsiteY9" fmla="*/ 708686 h 779695"/>
              <a:gd name="connsiteX10" fmla="*/ 787 w 1538209"/>
              <a:gd name="connsiteY10" fmla="*/ 179981 h 779695"/>
              <a:gd name="connsiteX11" fmla="*/ 5454 w 1538209"/>
              <a:gd name="connsiteY11" fmla="*/ 32658 h 77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209" h="779695">
                <a:moveTo>
                  <a:pt x="11655" y="0"/>
                </a:moveTo>
                <a:lnTo>
                  <a:pt x="1492424" y="0"/>
                </a:lnTo>
                <a:lnTo>
                  <a:pt x="1474929" y="26748"/>
                </a:lnTo>
                <a:cubicBezTo>
                  <a:pt x="1458925" y="46550"/>
                  <a:pt x="1442379" y="63434"/>
                  <a:pt x="1427135" y="77327"/>
                </a:cubicBezTo>
                <a:cubicBezTo>
                  <a:pt x="1505090" y="141389"/>
                  <a:pt x="1578414" y="261024"/>
                  <a:pt x="1512809" y="429283"/>
                </a:cubicBezTo>
                <a:cubicBezTo>
                  <a:pt x="1418645" y="671638"/>
                  <a:pt x="1281259" y="776608"/>
                  <a:pt x="1052796" y="779695"/>
                </a:cubicBezTo>
                <a:lnTo>
                  <a:pt x="1048165" y="779695"/>
                </a:lnTo>
                <a:cubicBezTo>
                  <a:pt x="904604" y="779695"/>
                  <a:pt x="825105" y="670867"/>
                  <a:pt x="788057" y="575159"/>
                </a:cubicBezTo>
                <a:cubicBezTo>
                  <a:pt x="699296" y="646940"/>
                  <a:pt x="529493" y="765030"/>
                  <a:pt x="371267" y="765030"/>
                </a:cubicBezTo>
                <a:cubicBezTo>
                  <a:pt x="307205" y="765030"/>
                  <a:pt x="250861" y="745734"/>
                  <a:pt x="203008" y="708686"/>
                </a:cubicBezTo>
                <a:cubicBezTo>
                  <a:pt x="64078" y="599086"/>
                  <a:pt x="7734" y="363677"/>
                  <a:pt x="787" y="179981"/>
                </a:cubicBezTo>
                <a:cubicBezTo>
                  <a:pt x="-1143" y="128461"/>
                  <a:pt x="498" y="79064"/>
                  <a:pt x="5454" y="32658"/>
                </a:cubicBezTo>
                <a:close/>
              </a:path>
            </a:pathLst>
          </a:custGeom>
          <a:solidFill>
            <a:schemeClr val="accent5">
              <a:alpha val="77000"/>
            </a:schemeClr>
          </a:solidFill>
          <a:ln w="76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9" name="Freeform 799">
            <a:extLst>
              <a:ext uri="{FF2B5EF4-FFF2-40B4-BE49-F238E27FC236}">
                <a16:creationId xmlns:a16="http://schemas.microsoft.com/office/drawing/2014/main" id="{D51E2119-EFC2-0DF4-0794-888A71798319}"/>
              </a:ext>
            </a:extLst>
          </p:cNvPr>
          <p:cNvSpPr/>
          <p:nvPr/>
        </p:nvSpPr>
        <p:spPr>
          <a:xfrm rot="3306600" flipH="1">
            <a:off x="9314718" y="4552997"/>
            <a:ext cx="1688834" cy="1887411"/>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chemeClr val="accent5">
              <a:alpha val="77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804">
            <a:extLst>
              <a:ext uri="{FF2B5EF4-FFF2-40B4-BE49-F238E27FC236}">
                <a16:creationId xmlns:a16="http://schemas.microsoft.com/office/drawing/2014/main" id="{494F3F2D-203F-D977-47AD-C4318244A040}"/>
              </a:ext>
            </a:extLst>
          </p:cNvPr>
          <p:cNvSpPr/>
          <p:nvPr/>
        </p:nvSpPr>
        <p:spPr>
          <a:xfrm rot="1059384" flipH="1">
            <a:off x="7279782" y="1727095"/>
            <a:ext cx="1038220" cy="481805"/>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solidFill>
            <a:schemeClr val="accent5">
              <a:alpha val="77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1" name="Freeform: Shape 141">
            <a:extLst>
              <a:ext uri="{FF2B5EF4-FFF2-40B4-BE49-F238E27FC236}">
                <a16:creationId xmlns:a16="http://schemas.microsoft.com/office/drawing/2014/main" id="{FD6CBDAA-7F56-7BCB-739D-6A2414A9441B}"/>
              </a:ext>
            </a:extLst>
          </p:cNvPr>
          <p:cNvSpPr/>
          <p:nvPr/>
        </p:nvSpPr>
        <p:spPr>
          <a:xfrm rot="20198272" flipH="1">
            <a:off x="8998964" y="6348763"/>
            <a:ext cx="588142" cy="666282"/>
          </a:xfrm>
          <a:custGeom>
            <a:avLst/>
            <a:gdLst>
              <a:gd name="connsiteX0" fmla="*/ 399962 w 587059"/>
              <a:gd name="connsiteY0" fmla="*/ 0 h 665055"/>
              <a:gd name="connsiteX1" fmla="*/ 535659 w 587059"/>
              <a:gd name="connsiteY1" fmla="*/ 40628 h 665055"/>
              <a:gd name="connsiteX2" fmla="*/ 542856 w 587059"/>
              <a:gd name="connsiteY2" fmla="*/ 28648 h 665055"/>
              <a:gd name="connsiteX3" fmla="*/ 587059 w 587059"/>
              <a:gd name="connsiteY3" fmla="*/ 55230 h 665055"/>
              <a:gd name="connsiteX4" fmla="*/ 297623 w 587059"/>
              <a:gd name="connsiteY4" fmla="*/ 536495 h 665055"/>
              <a:gd name="connsiteX5" fmla="*/ 0 w 587059"/>
              <a:gd name="connsiteY5" fmla="*/ 665055 h 66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059" h="665055">
                <a:moveTo>
                  <a:pt x="399962" y="0"/>
                </a:moveTo>
                <a:lnTo>
                  <a:pt x="535659" y="40628"/>
                </a:lnTo>
                <a:lnTo>
                  <a:pt x="542856" y="28648"/>
                </a:lnTo>
                <a:lnTo>
                  <a:pt x="587059" y="55230"/>
                </a:lnTo>
                <a:lnTo>
                  <a:pt x="297623" y="536495"/>
                </a:lnTo>
                <a:lnTo>
                  <a:pt x="0" y="665055"/>
                </a:lnTo>
                <a:close/>
              </a:path>
            </a:pathLst>
          </a:custGeom>
          <a:solidFill>
            <a:schemeClr val="accent5">
              <a:alpha val="77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nvGrpSpPr>
          <p:cNvPr id="12" name="Group 11">
            <a:extLst>
              <a:ext uri="{FF2B5EF4-FFF2-40B4-BE49-F238E27FC236}">
                <a16:creationId xmlns:a16="http://schemas.microsoft.com/office/drawing/2014/main" id="{02B7FFB0-A3B6-4965-C8D6-68F609CC0A59}"/>
              </a:ext>
            </a:extLst>
          </p:cNvPr>
          <p:cNvGrpSpPr/>
          <p:nvPr/>
        </p:nvGrpSpPr>
        <p:grpSpPr>
          <a:xfrm rot="13154511" flipH="1">
            <a:off x="9785235" y="1474729"/>
            <a:ext cx="1039358" cy="977946"/>
            <a:chOff x="1099539" y="1183824"/>
            <a:chExt cx="993348" cy="934655"/>
          </a:xfrm>
          <a:solidFill>
            <a:schemeClr val="accent5">
              <a:alpha val="77000"/>
            </a:schemeClr>
          </a:solidFill>
        </p:grpSpPr>
        <p:pic>
          <p:nvPicPr>
            <p:cNvPr id="21" name="Graphic 20">
              <a:extLst>
                <a:ext uri="{FF2B5EF4-FFF2-40B4-BE49-F238E27FC236}">
                  <a16:creationId xmlns:a16="http://schemas.microsoft.com/office/drawing/2014/main" id="{36674755-6DA2-3769-53F2-CFE4493388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642075" y="1435654"/>
              <a:ext cx="426892" cy="474733"/>
            </a:xfrm>
            <a:prstGeom prst="rect">
              <a:avLst/>
            </a:prstGeom>
          </p:spPr>
        </p:pic>
        <p:pic>
          <p:nvPicPr>
            <p:cNvPr id="22" name="Graphic 21">
              <a:extLst>
                <a:ext uri="{FF2B5EF4-FFF2-40B4-BE49-F238E27FC236}">
                  <a16:creationId xmlns:a16="http://schemas.microsoft.com/office/drawing/2014/main" id="{D098390A-7CC8-2FDD-58AD-0FE4CA20301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164161" y="1159903"/>
              <a:ext cx="426892" cy="474733"/>
            </a:xfrm>
            <a:prstGeom prst="rect">
              <a:avLst/>
            </a:prstGeom>
          </p:spPr>
        </p:pic>
        <p:pic>
          <p:nvPicPr>
            <p:cNvPr id="23" name="Graphic 22">
              <a:extLst>
                <a:ext uri="{FF2B5EF4-FFF2-40B4-BE49-F238E27FC236}">
                  <a16:creationId xmlns:a16="http://schemas.microsoft.com/office/drawing/2014/main" id="{B805B314-7083-2EE8-5E1F-330EB43DB02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123460" y="1667666"/>
              <a:ext cx="426892" cy="474733"/>
            </a:xfrm>
            <a:prstGeom prst="rect">
              <a:avLst/>
            </a:prstGeom>
          </p:spPr>
        </p:pic>
      </p:grpSp>
      <p:sp>
        <p:nvSpPr>
          <p:cNvPr id="13" name="Freeform: Shape 139">
            <a:extLst>
              <a:ext uri="{FF2B5EF4-FFF2-40B4-BE49-F238E27FC236}">
                <a16:creationId xmlns:a16="http://schemas.microsoft.com/office/drawing/2014/main" id="{15975D46-C1F9-8991-BEA0-F28D0CAA4B0E}"/>
              </a:ext>
            </a:extLst>
          </p:cNvPr>
          <p:cNvSpPr/>
          <p:nvPr/>
        </p:nvSpPr>
        <p:spPr>
          <a:xfrm rot="20198272" flipH="1">
            <a:off x="9247192" y="6014083"/>
            <a:ext cx="827824" cy="1064821"/>
          </a:xfrm>
          <a:custGeom>
            <a:avLst/>
            <a:gdLst>
              <a:gd name="connsiteX0" fmla="*/ 639202 w 826299"/>
              <a:gd name="connsiteY0" fmla="*/ 0 h 1062860"/>
              <a:gd name="connsiteX1" fmla="*/ 774899 w 826299"/>
              <a:gd name="connsiteY1" fmla="*/ 40628 h 1062860"/>
              <a:gd name="connsiteX2" fmla="*/ 782096 w 826299"/>
              <a:gd name="connsiteY2" fmla="*/ 28648 h 1062860"/>
              <a:gd name="connsiteX3" fmla="*/ 826299 w 826299"/>
              <a:gd name="connsiteY3" fmla="*/ 55230 h 1062860"/>
              <a:gd name="connsiteX4" fmla="*/ 297618 w 826299"/>
              <a:gd name="connsiteY4" fmla="*/ 934303 h 1062860"/>
              <a:gd name="connsiteX5" fmla="*/ 0 w 826299"/>
              <a:gd name="connsiteY5" fmla="*/ 1062860 h 106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9" h="1062860">
                <a:moveTo>
                  <a:pt x="639202" y="0"/>
                </a:moveTo>
                <a:lnTo>
                  <a:pt x="774899" y="40628"/>
                </a:lnTo>
                <a:lnTo>
                  <a:pt x="782096" y="28648"/>
                </a:lnTo>
                <a:lnTo>
                  <a:pt x="826299" y="55230"/>
                </a:lnTo>
                <a:lnTo>
                  <a:pt x="297618" y="934303"/>
                </a:lnTo>
                <a:lnTo>
                  <a:pt x="0" y="1062860"/>
                </a:lnTo>
                <a:close/>
              </a:path>
            </a:pathLst>
          </a:custGeom>
          <a:solidFill>
            <a:schemeClr val="accent5">
              <a:alpha val="77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4" name="Freeform: Shape 133">
            <a:extLst>
              <a:ext uri="{FF2B5EF4-FFF2-40B4-BE49-F238E27FC236}">
                <a16:creationId xmlns:a16="http://schemas.microsoft.com/office/drawing/2014/main" id="{AD5BEA61-1CD3-F098-3FDE-1055C3788C0B}"/>
              </a:ext>
            </a:extLst>
          </p:cNvPr>
          <p:cNvSpPr/>
          <p:nvPr/>
        </p:nvSpPr>
        <p:spPr>
          <a:xfrm rot="15072588" flipH="1">
            <a:off x="10798639" y="-226712"/>
            <a:ext cx="1443268" cy="1662971"/>
          </a:xfrm>
          <a:custGeom>
            <a:avLst/>
            <a:gdLst>
              <a:gd name="connsiteX0" fmla="*/ 356742 w 1440610"/>
              <a:gd name="connsiteY0" fmla="*/ 1659908 h 1659908"/>
              <a:gd name="connsiteX1" fmla="*/ 0 w 1440610"/>
              <a:gd name="connsiteY1" fmla="*/ 611396 h 1659908"/>
              <a:gd name="connsiteX2" fmla="*/ 2674 w 1440610"/>
              <a:gd name="connsiteY2" fmla="*/ 610219 h 1659908"/>
              <a:gd name="connsiteX3" fmla="*/ 603020 w 1440610"/>
              <a:gd name="connsiteY3" fmla="*/ 437599 h 1659908"/>
              <a:gd name="connsiteX4" fmla="*/ 1314768 w 1440610"/>
              <a:gd name="connsiteY4" fmla="*/ 13273 h 1659908"/>
              <a:gd name="connsiteX5" fmla="*/ 1353969 w 1440610"/>
              <a:gd name="connsiteY5" fmla="*/ 3836 h 1659908"/>
              <a:gd name="connsiteX6" fmla="*/ 1364597 w 1440610"/>
              <a:gd name="connsiteY6" fmla="*/ 42524 h 1659908"/>
              <a:gd name="connsiteX7" fmla="*/ 1340446 w 1440610"/>
              <a:gd name="connsiteY7" fmla="*/ 870854 h 1659908"/>
              <a:gd name="connsiteX8" fmla="*/ 1414683 w 1440610"/>
              <a:gd name="connsiteY8" fmla="*/ 1173324 h 1659908"/>
              <a:gd name="connsiteX9" fmla="*/ 1440610 w 1440610"/>
              <a:gd name="connsiteY9" fmla="*/ 1291137 h 16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610" h="1659908">
                <a:moveTo>
                  <a:pt x="356742" y="1659908"/>
                </a:moveTo>
                <a:lnTo>
                  <a:pt x="0" y="611396"/>
                </a:lnTo>
                <a:lnTo>
                  <a:pt x="2674" y="610219"/>
                </a:lnTo>
                <a:cubicBezTo>
                  <a:pt x="198679" y="540577"/>
                  <a:pt x="406590" y="496869"/>
                  <a:pt x="603020" y="437599"/>
                </a:cubicBezTo>
                <a:cubicBezTo>
                  <a:pt x="978451" y="324927"/>
                  <a:pt x="1163236" y="172121"/>
                  <a:pt x="1314768" y="13273"/>
                </a:cubicBezTo>
                <a:cubicBezTo>
                  <a:pt x="1323609" y="3836"/>
                  <a:pt x="1338150" y="-5434"/>
                  <a:pt x="1353969" y="3836"/>
                </a:cubicBezTo>
                <a:cubicBezTo>
                  <a:pt x="1369616" y="13017"/>
                  <a:pt x="1368510" y="30194"/>
                  <a:pt x="1364597" y="42524"/>
                </a:cubicBezTo>
                <a:cubicBezTo>
                  <a:pt x="1299630" y="252306"/>
                  <a:pt x="1256263" y="488109"/>
                  <a:pt x="1340446" y="870854"/>
                </a:cubicBezTo>
                <a:cubicBezTo>
                  <a:pt x="1362386" y="971068"/>
                  <a:pt x="1389109" y="1071898"/>
                  <a:pt x="1414683" y="1173324"/>
                </a:cubicBezTo>
                <a:lnTo>
                  <a:pt x="1440610" y="1291137"/>
                </a:lnTo>
                <a:close/>
              </a:path>
            </a:pathLst>
          </a:custGeom>
          <a:solidFill>
            <a:schemeClr val="accent5">
              <a:alpha val="77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5" name="Freeform: Shape 123">
            <a:extLst>
              <a:ext uri="{FF2B5EF4-FFF2-40B4-BE49-F238E27FC236}">
                <a16:creationId xmlns:a16="http://schemas.microsoft.com/office/drawing/2014/main" id="{01655576-3F52-3197-78ED-95FE7F3F7A69}"/>
              </a:ext>
            </a:extLst>
          </p:cNvPr>
          <p:cNvSpPr/>
          <p:nvPr/>
        </p:nvSpPr>
        <p:spPr>
          <a:xfrm rot="7444483" flipH="1">
            <a:off x="11433129" y="4101984"/>
            <a:ext cx="247712" cy="1585642"/>
          </a:xfrm>
          <a:custGeom>
            <a:avLst/>
            <a:gdLst>
              <a:gd name="connsiteX0" fmla="*/ 169695 w 247256"/>
              <a:gd name="connsiteY0" fmla="*/ 1582722 h 1582722"/>
              <a:gd name="connsiteX1" fmla="*/ 21845 w 247256"/>
              <a:gd name="connsiteY1" fmla="*/ 1582722 h 1582722"/>
              <a:gd name="connsiteX2" fmla="*/ 24226 w 247256"/>
              <a:gd name="connsiteY2" fmla="*/ 1566309 h 1582722"/>
              <a:gd name="connsiteX3" fmla="*/ 23046 w 247256"/>
              <a:gd name="connsiteY3" fmla="*/ 1549238 h 1582722"/>
              <a:gd name="connsiteX4" fmla="*/ 18328 w 247256"/>
              <a:gd name="connsiteY4" fmla="*/ 1533480 h 1582722"/>
              <a:gd name="connsiteX5" fmla="*/ 10736 w 247256"/>
              <a:gd name="connsiteY5" fmla="*/ 1504301 h 1582722"/>
              <a:gd name="connsiteX6" fmla="*/ 4771 w 247256"/>
              <a:gd name="connsiteY6" fmla="*/ 1471029 h 1582722"/>
              <a:gd name="connsiteX7" fmla="*/ 1002 w 247256"/>
              <a:gd name="connsiteY7" fmla="*/ 1433039 h 1582722"/>
              <a:gd name="connsiteX8" fmla="*/ 0 w 247256"/>
              <a:gd name="connsiteY8" fmla="*/ 1389705 h 1582722"/>
              <a:gd name="connsiteX9" fmla="*/ 2069 w 247256"/>
              <a:gd name="connsiteY9" fmla="*/ 1346431 h 1582722"/>
              <a:gd name="connsiteX10" fmla="*/ 6769 w 247256"/>
              <a:gd name="connsiteY10" fmla="*/ 1308608 h 1582722"/>
              <a:gd name="connsiteX11" fmla="*/ 13553 w 247256"/>
              <a:gd name="connsiteY11" fmla="*/ 1275580 h 1582722"/>
              <a:gd name="connsiteX12" fmla="*/ 21867 w 247256"/>
              <a:gd name="connsiteY12" fmla="*/ 1246693 h 1582722"/>
              <a:gd name="connsiteX13" fmla="*/ 25808 w 247256"/>
              <a:gd name="connsiteY13" fmla="*/ 1230713 h 1582722"/>
              <a:gd name="connsiteX14" fmla="*/ 27387 w 247256"/>
              <a:gd name="connsiteY14" fmla="*/ 1214192 h 1582722"/>
              <a:gd name="connsiteX15" fmla="*/ 26594 w 247256"/>
              <a:gd name="connsiteY15" fmla="*/ 1197568 h 1582722"/>
              <a:gd name="connsiteX16" fmla="*/ 23426 w 247256"/>
              <a:gd name="connsiteY16" fmla="*/ 1181282 h 1582722"/>
              <a:gd name="connsiteX17" fmla="*/ 16512 w 247256"/>
              <a:gd name="connsiteY17" fmla="*/ 1151787 h 1582722"/>
              <a:gd name="connsiteX18" fmla="*/ 11323 w 247256"/>
              <a:gd name="connsiteY18" fmla="*/ 1118275 h 1582722"/>
              <a:gd name="connsiteX19" fmla="*/ 8442 w 247256"/>
              <a:gd name="connsiteY19" fmla="*/ 1080132 h 1582722"/>
              <a:gd name="connsiteX20" fmla="*/ 8447 w 247256"/>
              <a:gd name="connsiteY20" fmla="*/ 1036742 h 1582722"/>
              <a:gd name="connsiteX21" fmla="*/ 11522 w 247256"/>
              <a:gd name="connsiteY21" fmla="*/ 993526 h 1582722"/>
              <a:gd name="connsiteX22" fmla="*/ 17101 w 247256"/>
              <a:gd name="connsiteY22" fmla="*/ 955865 h 1582722"/>
              <a:gd name="connsiteX23" fmla="*/ 24647 w 247256"/>
              <a:gd name="connsiteY23" fmla="*/ 923079 h 1582722"/>
              <a:gd name="connsiteX24" fmla="*/ 33623 w 247256"/>
              <a:gd name="connsiteY24" fmla="*/ 894494 h 1582722"/>
              <a:gd name="connsiteX25" fmla="*/ 37928 w 247256"/>
              <a:gd name="connsiteY25" fmla="*/ 878654 h 1582722"/>
              <a:gd name="connsiteX26" fmla="*/ 39893 w 247256"/>
              <a:gd name="connsiteY26" fmla="*/ 862181 h 1582722"/>
              <a:gd name="connsiteX27" fmla="*/ 39492 w 247256"/>
              <a:gd name="connsiteY27" fmla="*/ 845518 h 1582722"/>
              <a:gd name="connsiteX28" fmla="*/ 36698 w 247256"/>
              <a:gd name="connsiteY28" fmla="*/ 829111 h 1582722"/>
              <a:gd name="connsiteX29" fmla="*/ 30484 w 247256"/>
              <a:gd name="connsiteY29" fmla="*/ 799328 h 1582722"/>
              <a:gd name="connsiteX30" fmla="*/ 26084 w 247256"/>
              <a:gd name="connsiteY30" fmla="*/ 765587 h 1582722"/>
              <a:gd name="connsiteX31" fmla="*/ 24086 w 247256"/>
              <a:gd name="connsiteY31" fmla="*/ 727294 h 1582722"/>
              <a:gd name="connsiteX32" fmla="*/ 25090 w 247256"/>
              <a:gd name="connsiteY32" fmla="*/ 683863 h 1582722"/>
              <a:gd name="connsiteX33" fmla="*/ 29179 w 247256"/>
              <a:gd name="connsiteY33" fmla="*/ 640742 h 1582722"/>
              <a:gd name="connsiteX34" fmla="*/ 35635 w 247256"/>
              <a:gd name="connsiteY34" fmla="*/ 603271 h 1582722"/>
              <a:gd name="connsiteX35" fmla="*/ 43937 w 247256"/>
              <a:gd name="connsiteY35" fmla="*/ 570758 h 1582722"/>
              <a:gd name="connsiteX36" fmla="*/ 53573 w 247256"/>
              <a:gd name="connsiteY36" fmla="*/ 542515 h 1582722"/>
              <a:gd name="connsiteX37" fmla="*/ 58248 w 247256"/>
              <a:gd name="connsiteY37" fmla="*/ 526827 h 1582722"/>
              <a:gd name="connsiteX38" fmla="*/ 60595 w 247256"/>
              <a:gd name="connsiteY38" fmla="*/ 510411 h 1582722"/>
              <a:gd name="connsiteX39" fmla="*/ 60585 w 247256"/>
              <a:gd name="connsiteY39" fmla="*/ 493714 h 1582722"/>
              <a:gd name="connsiteX40" fmla="*/ 58187 w 247256"/>
              <a:gd name="connsiteY40" fmla="*/ 477185 h 1582722"/>
              <a:gd name="connsiteX41" fmla="*/ 52663 w 247256"/>
              <a:gd name="connsiteY41" fmla="*/ 447126 h 1582722"/>
              <a:gd name="connsiteX42" fmla="*/ 49046 w 247256"/>
              <a:gd name="connsiteY42" fmla="*/ 413180 h 1582722"/>
              <a:gd name="connsiteX43" fmla="*/ 47945 w 247256"/>
              <a:gd name="connsiteY43" fmla="*/ 374782 h 1582722"/>
              <a:gd name="connsiteX44" fmla="*/ 49971 w 247256"/>
              <a:gd name="connsiteY44" fmla="*/ 331364 h 1582722"/>
              <a:gd name="connsiteX45" fmla="*/ 55065 w 247256"/>
              <a:gd name="connsiteY45" fmla="*/ 288346 h 1582722"/>
              <a:gd name="connsiteX46" fmla="*/ 62395 w 247256"/>
              <a:gd name="connsiteY46" fmla="*/ 251086 h 1582722"/>
              <a:gd name="connsiteX47" fmla="*/ 71456 w 247256"/>
              <a:gd name="connsiteY47" fmla="*/ 218866 h 1582722"/>
              <a:gd name="connsiteX48" fmla="*/ 81741 w 247256"/>
              <a:gd name="connsiteY48" fmla="*/ 190971 h 1582722"/>
              <a:gd name="connsiteX49" fmla="*/ 86780 w 247256"/>
              <a:gd name="connsiteY49" fmla="*/ 175446 h 1582722"/>
              <a:gd name="connsiteX50" fmla="*/ 89514 w 247256"/>
              <a:gd name="connsiteY50" fmla="*/ 159106 h 1582722"/>
              <a:gd name="connsiteX51" fmla="*/ 89892 w 247256"/>
              <a:gd name="connsiteY51" fmla="*/ 142394 h 1582722"/>
              <a:gd name="connsiteX52" fmla="*/ 87870 w 247256"/>
              <a:gd name="connsiteY52" fmla="*/ 125749 h 1582722"/>
              <a:gd name="connsiteX53" fmla="*/ 83064 w 247256"/>
              <a:gd name="connsiteY53" fmla="*/ 95451 h 1582722"/>
              <a:gd name="connsiteX54" fmla="*/ 80249 w 247256"/>
              <a:gd name="connsiteY54" fmla="*/ 61325 h 1582722"/>
              <a:gd name="connsiteX55" fmla="*/ 80049 w 247256"/>
              <a:gd name="connsiteY55" fmla="*/ 22837 h 1582722"/>
              <a:gd name="connsiteX56" fmla="*/ 81648 w 247256"/>
              <a:gd name="connsiteY56" fmla="*/ 0 h 1582722"/>
              <a:gd name="connsiteX57" fmla="*/ 247256 w 247256"/>
              <a:gd name="connsiteY57" fmla="*/ 112018 h 1582722"/>
              <a:gd name="connsiteX58" fmla="*/ 239364 w 247256"/>
              <a:gd name="connsiteY58" fmla="*/ 132621 h 1582722"/>
              <a:gd name="connsiteX59" fmla="*/ 234279 w 247256"/>
              <a:gd name="connsiteY59" fmla="*/ 147841 h 1582722"/>
              <a:gd name="connsiteX60" fmla="*/ 231537 w 247256"/>
              <a:gd name="connsiteY60" fmla="*/ 163909 h 1582722"/>
              <a:gd name="connsiteX61" fmla="*/ 231181 w 247256"/>
              <a:gd name="connsiteY61" fmla="*/ 180365 h 1582722"/>
              <a:gd name="connsiteX62" fmla="*/ 233254 w 247256"/>
              <a:gd name="connsiteY62" fmla="*/ 196751 h 1582722"/>
              <a:gd name="connsiteX63" fmla="*/ 238274 w 247256"/>
              <a:gd name="connsiteY63" fmla="*/ 226479 h 1582722"/>
              <a:gd name="connsiteX64" fmla="*/ 241462 w 247256"/>
              <a:gd name="connsiteY64" fmla="*/ 259892 h 1582722"/>
              <a:gd name="connsiteX65" fmla="*/ 242270 w 247256"/>
              <a:gd name="connsiteY65" fmla="*/ 297571 h 1582722"/>
              <a:gd name="connsiteX66" fmla="*/ 240143 w 247256"/>
              <a:gd name="connsiteY66" fmla="*/ 340090 h 1582722"/>
              <a:gd name="connsiteX67" fmla="*/ 235192 w 247256"/>
              <a:gd name="connsiteY67" fmla="*/ 382219 h 1582722"/>
              <a:gd name="connsiteX68" fmla="*/ 228185 w 247256"/>
              <a:gd name="connsiteY68" fmla="*/ 418790 h 1582722"/>
              <a:gd name="connsiteX69" fmla="*/ 219562 w 247256"/>
              <a:gd name="connsiteY69" fmla="*/ 450529 h 1582722"/>
              <a:gd name="connsiteX70" fmla="*/ 209764 w 247256"/>
              <a:gd name="connsiteY70" fmla="*/ 478166 h 1582722"/>
              <a:gd name="connsiteX71" fmla="*/ 205029 w 247256"/>
              <a:gd name="connsiteY71" fmla="*/ 493564 h 1582722"/>
              <a:gd name="connsiteX72" fmla="*/ 202662 w 247256"/>
              <a:gd name="connsiteY72" fmla="*/ 509714 h 1582722"/>
              <a:gd name="connsiteX73" fmla="*/ 202692 w 247256"/>
              <a:gd name="connsiteY73" fmla="*/ 526148 h 1582722"/>
              <a:gd name="connsiteX74" fmla="*/ 205150 w 247256"/>
              <a:gd name="connsiteY74" fmla="*/ 542405 h 1582722"/>
              <a:gd name="connsiteX75" fmla="*/ 210857 w 247256"/>
              <a:gd name="connsiteY75" fmla="*/ 571891 h 1582722"/>
              <a:gd name="connsiteX76" fmla="*/ 214818 w 247256"/>
              <a:gd name="connsiteY76" fmla="*/ 605124 h 1582722"/>
              <a:gd name="connsiteX77" fmla="*/ 216500 w 247256"/>
              <a:gd name="connsiteY77" fmla="*/ 642704 h 1582722"/>
              <a:gd name="connsiteX78" fmla="*/ 215369 w 247256"/>
              <a:gd name="connsiteY78" fmla="*/ 685227 h 1582722"/>
              <a:gd name="connsiteX79" fmla="*/ 211416 w 247256"/>
              <a:gd name="connsiteY79" fmla="*/ 727470 h 1582722"/>
              <a:gd name="connsiteX80" fmla="*/ 205270 w 247256"/>
              <a:gd name="connsiteY80" fmla="*/ 764247 h 1582722"/>
              <a:gd name="connsiteX81" fmla="*/ 197389 w 247256"/>
              <a:gd name="connsiteY81" fmla="*/ 796265 h 1582722"/>
              <a:gd name="connsiteX82" fmla="*/ 188234 w 247256"/>
              <a:gd name="connsiteY82" fmla="*/ 824229 h 1582722"/>
              <a:gd name="connsiteX83" fmla="*/ 183859 w 247256"/>
              <a:gd name="connsiteY83" fmla="*/ 839781 h 1582722"/>
              <a:gd name="connsiteX84" fmla="*/ 181872 w 247256"/>
              <a:gd name="connsiteY84" fmla="*/ 855989 h 1582722"/>
              <a:gd name="connsiteX85" fmla="*/ 182285 w 247256"/>
              <a:gd name="connsiteY85" fmla="*/ 872389 h 1582722"/>
              <a:gd name="connsiteX86" fmla="*/ 185115 w 247256"/>
              <a:gd name="connsiteY86" fmla="*/ 888523 h 1582722"/>
              <a:gd name="connsiteX87" fmla="*/ 191510 w 247256"/>
              <a:gd name="connsiteY87" fmla="*/ 917743 h 1582722"/>
              <a:gd name="connsiteX88" fmla="*/ 196249 w 247256"/>
              <a:gd name="connsiteY88" fmla="*/ 950766 h 1582722"/>
              <a:gd name="connsiteX89" fmla="*/ 198809 w 247256"/>
              <a:gd name="connsiteY89" fmla="*/ 988215 h 1582722"/>
              <a:gd name="connsiteX90" fmla="*/ 198663 w 247256"/>
              <a:gd name="connsiteY90" fmla="*/ 1030716 h 1582722"/>
              <a:gd name="connsiteX91" fmla="*/ 195697 w 247256"/>
              <a:gd name="connsiteY91" fmla="*/ 1073039 h 1582722"/>
              <a:gd name="connsiteX92" fmla="*/ 190407 w 247256"/>
              <a:gd name="connsiteY92" fmla="*/ 1109994 h 1582722"/>
              <a:gd name="connsiteX93" fmla="*/ 183272 w 247256"/>
              <a:gd name="connsiteY93" fmla="*/ 1142265 h 1582722"/>
              <a:gd name="connsiteX94" fmla="*/ 174772 w 247256"/>
              <a:gd name="connsiteY94" fmla="*/ 1170538 h 1582722"/>
              <a:gd name="connsiteX95" fmla="*/ 170768 w 247256"/>
              <a:gd name="connsiteY95" fmla="*/ 1186232 h 1582722"/>
              <a:gd name="connsiteX96" fmla="*/ 169157 w 247256"/>
              <a:gd name="connsiteY96" fmla="*/ 1202493 h 1582722"/>
              <a:gd name="connsiteX97" fmla="*/ 169949 w 247256"/>
              <a:gd name="connsiteY97" fmla="*/ 1218858 h 1582722"/>
              <a:gd name="connsiteX98" fmla="*/ 173150 w 247256"/>
              <a:gd name="connsiteY98" fmla="*/ 1234858 h 1582722"/>
              <a:gd name="connsiteX99" fmla="*/ 180218 w 247256"/>
              <a:gd name="connsiteY99" fmla="*/ 1263780 h 1582722"/>
              <a:gd name="connsiteX100" fmla="*/ 185724 w 247256"/>
              <a:gd name="connsiteY100" fmla="*/ 1296571 h 1582722"/>
              <a:gd name="connsiteX101" fmla="*/ 189156 w 247256"/>
              <a:gd name="connsiteY101" fmla="*/ 1333870 h 1582722"/>
              <a:gd name="connsiteX102" fmla="*/ 190004 w 247256"/>
              <a:gd name="connsiteY102" fmla="*/ 1376317 h 1582722"/>
              <a:gd name="connsiteX103" fmla="*/ 188006 w 247256"/>
              <a:gd name="connsiteY103" fmla="*/ 1418693 h 1582722"/>
              <a:gd name="connsiteX104" fmla="*/ 183576 w 247256"/>
              <a:gd name="connsiteY104" fmla="*/ 1455797 h 1582722"/>
              <a:gd name="connsiteX105" fmla="*/ 177196 w 247256"/>
              <a:gd name="connsiteY105" fmla="*/ 1488302 h 1582722"/>
              <a:gd name="connsiteX106" fmla="*/ 169358 w 247256"/>
              <a:gd name="connsiteY106" fmla="*/ 1516873 h 1582722"/>
              <a:gd name="connsiteX107" fmla="*/ 165712 w 247256"/>
              <a:gd name="connsiteY107" fmla="*/ 1532703 h 1582722"/>
              <a:gd name="connsiteX108" fmla="*/ 164476 w 247256"/>
              <a:gd name="connsiteY108" fmla="*/ 1549000 h 1582722"/>
              <a:gd name="connsiteX109" fmla="*/ 165649 w 247256"/>
              <a:gd name="connsiteY109" fmla="*/ 1565308 h 158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47256" h="1582722">
                <a:moveTo>
                  <a:pt x="169695" y="1582722"/>
                </a:moveTo>
                <a:lnTo>
                  <a:pt x="21845" y="1582722"/>
                </a:lnTo>
                <a:lnTo>
                  <a:pt x="24226" y="1566309"/>
                </a:lnTo>
                <a:lnTo>
                  <a:pt x="23046" y="1549238"/>
                </a:lnTo>
                <a:lnTo>
                  <a:pt x="18328" y="1533480"/>
                </a:lnTo>
                <a:lnTo>
                  <a:pt x="10736" y="1504301"/>
                </a:lnTo>
                <a:lnTo>
                  <a:pt x="4771" y="1471029"/>
                </a:lnTo>
                <a:lnTo>
                  <a:pt x="1002" y="1433039"/>
                </a:lnTo>
                <a:lnTo>
                  <a:pt x="0" y="1389705"/>
                </a:lnTo>
                <a:lnTo>
                  <a:pt x="2069" y="1346431"/>
                </a:lnTo>
                <a:lnTo>
                  <a:pt x="6769" y="1308608"/>
                </a:lnTo>
                <a:lnTo>
                  <a:pt x="13553" y="1275580"/>
                </a:lnTo>
                <a:lnTo>
                  <a:pt x="21867" y="1246693"/>
                </a:lnTo>
                <a:lnTo>
                  <a:pt x="25808" y="1230713"/>
                </a:lnTo>
                <a:lnTo>
                  <a:pt x="27387" y="1214192"/>
                </a:lnTo>
                <a:lnTo>
                  <a:pt x="26594" y="1197568"/>
                </a:lnTo>
                <a:lnTo>
                  <a:pt x="23426" y="1181282"/>
                </a:lnTo>
                <a:lnTo>
                  <a:pt x="16512" y="1151787"/>
                </a:lnTo>
                <a:lnTo>
                  <a:pt x="11323" y="1118275"/>
                </a:lnTo>
                <a:lnTo>
                  <a:pt x="8442" y="1080132"/>
                </a:lnTo>
                <a:lnTo>
                  <a:pt x="8447" y="1036742"/>
                </a:lnTo>
                <a:lnTo>
                  <a:pt x="11522" y="993526"/>
                </a:lnTo>
                <a:lnTo>
                  <a:pt x="17101" y="955865"/>
                </a:lnTo>
                <a:lnTo>
                  <a:pt x="24647" y="923079"/>
                </a:lnTo>
                <a:lnTo>
                  <a:pt x="33623" y="894494"/>
                </a:lnTo>
                <a:lnTo>
                  <a:pt x="37928" y="878654"/>
                </a:lnTo>
                <a:lnTo>
                  <a:pt x="39893" y="862181"/>
                </a:lnTo>
                <a:lnTo>
                  <a:pt x="39492" y="845518"/>
                </a:lnTo>
                <a:lnTo>
                  <a:pt x="36698" y="829111"/>
                </a:lnTo>
                <a:lnTo>
                  <a:pt x="30484" y="799328"/>
                </a:lnTo>
                <a:lnTo>
                  <a:pt x="26084" y="765587"/>
                </a:lnTo>
                <a:lnTo>
                  <a:pt x="24086" y="727294"/>
                </a:lnTo>
                <a:lnTo>
                  <a:pt x="25090" y="683863"/>
                </a:lnTo>
                <a:lnTo>
                  <a:pt x="29179" y="640742"/>
                </a:lnTo>
                <a:lnTo>
                  <a:pt x="35635" y="603271"/>
                </a:lnTo>
                <a:lnTo>
                  <a:pt x="43937" y="570758"/>
                </a:lnTo>
                <a:lnTo>
                  <a:pt x="53573" y="542515"/>
                </a:lnTo>
                <a:lnTo>
                  <a:pt x="58248" y="526827"/>
                </a:lnTo>
                <a:lnTo>
                  <a:pt x="60595" y="510411"/>
                </a:lnTo>
                <a:lnTo>
                  <a:pt x="60585" y="493714"/>
                </a:lnTo>
                <a:lnTo>
                  <a:pt x="58187" y="477185"/>
                </a:lnTo>
                <a:lnTo>
                  <a:pt x="52663" y="447126"/>
                </a:lnTo>
                <a:lnTo>
                  <a:pt x="49046" y="413180"/>
                </a:lnTo>
                <a:lnTo>
                  <a:pt x="47945" y="374782"/>
                </a:lnTo>
                <a:lnTo>
                  <a:pt x="49971" y="331364"/>
                </a:lnTo>
                <a:lnTo>
                  <a:pt x="55065" y="288346"/>
                </a:lnTo>
                <a:lnTo>
                  <a:pt x="62395" y="251086"/>
                </a:lnTo>
                <a:lnTo>
                  <a:pt x="71456" y="218866"/>
                </a:lnTo>
                <a:lnTo>
                  <a:pt x="81741" y="190971"/>
                </a:lnTo>
                <a:lnTo>
                  <a:pt x="86780" y="175446"/>
                </a:lnTo>
                <a:lnTo>
                  <a:pt x="89514" y="159106"/>
                </a:lnTo>
                <a:lnTo>
                  <a:pt x="89892" y="142394"/>
                </a:lnTo>
                <a:lnTo>
                  <a:pt x="87870" y="125749"/>
                </a:lnTo>
                <a:lnTo>
                  <a:pt x="83064" y="95451"/>
                </a:lnTo>
                <a:lnTo>
                  <a:pt x="80249" y="61325"/>
                </a:lnTo>
                <a:lnTo>
                  <a:pt x="80049" y="22837"/>
                </a:lnTo>
                <a:lnTo>
                  <a:pt x="81648" y="0"/>
                </a:lnTo>
                <a:lnTo>
                  <a:pt x="247256" y="112018"/>
                </a:lnTo>
                <a:lnTo>
                  <a:pt x="239364" y="132621"/>
                </a:lnTo>
                <a:lnTo>
                  <a:pt x="234279" y="147841"/>
                </a:lnTo>
                <a:lnTo>
                  <a:pt x="231537" y="163909"/>
                </a:lnTo>
                <a:lnTo>
                  <a:pt x="231181" y="180365"/>
                </a:lnTo>
                <a:lnTo>
                  <a:pt x="233254" y="196751"/>
                </a:lnTo>
                <a:lnTo>
                  <a:pt x="238274" y="226479"/>
                </a:lnTo>
                <a:lnTo>
                  <a:pt x="241462" y="259892"/>
                </a:lnTo>
                <a:lnTo>
                  <a:pt x="242270" y="297571"/>
                </a:lnTo>
                <a:lnTo>
                  <a:pt x="240143" y="340090"/>
                </a:lnTo>
                <a:lnTo>
                  <a:pt x="235192" y="382219"/>
                </a:lnTo>
                <a:lnTo>
                  <a:pt x="228185" y="418790"/>
                </a:lnTo>
                <a:lnTo>
                  <a:pt x="219562" y="450529"/>
                </a:lnTo>
                <a:lnTo>
                  <a:pt x="209764" y="478166"/>
                </a:lnTo>
                <a:lnTo>
                  <a:pt x="205029" y="493564"/>
                </a:lnTo>
                <a:lnTo>
                  <a:pt x="202662" y="509714"/>
                </a:lnTo>
                <a:lnTo>
                  <a:pt x="202692" y="526148"/>
                </a:lnTo>
                <a:lnTo>
                  <a:pt x="205150" y="542405"/>
                </a:lnTo>
                <a:lnTo>
                  <a:pt x="210857" y="571891"/>
                </a:lnTo>
                <a:lnTo>
                  <a:pt x="214818" y="605124"/>
                </a:lnTo>
                <a:lnTo>
                  <a:pt x="216500" y="642704"/>
                </a:lnTo>
                <a:lnTo>
                  <a:pt x="215369" y="685227"/>
                </a:lnTo>
                <a:lnTo>
                  <a:pt x="211416" y="727470"/>
                </a:lnTo>
                <a:lnTo>
                  <a:pt x="205270" y="764247"/>
                </a:lnTo>
                <a:lnTo>
                  <a:pt x="197389" y="796265"/>
                </a:lnTo>
                <a:lnTo>
                  <a:pt x="188234" y="824229"/>
                </a:lnTo>
                <a:lnTo>
                  <a:pt x="183859" y="839781"/>
                </a:lnTo>
                <a:lnTo>
                  <a:pt x="181872" y="855989"/>
                </a:lnTo>
                <a:lnTo>
                  <a:pt x="182285" y="872389"/>
                </a:lnTo>
                <a:lnTo>
                  <a:pt x="185115" y="888523"/>
                </a:lnTo>
                <a:lnTo>
                  <a:pt x="191510" y="917743"/>
                </a:lnTo>
                <a:lnTo>
                  <a:pt x="196249" y="950766"/>
                </a:lnTo>
                <a:lnTo>
                  <a:pt x="198809" y="988215"/>
                </a:lnTo>
                <a:lnTo>
                  <a:pt x="198663" y="1030716"/>
                </a:lnTo>
                <a:lnTo>
                  <a:pt x="195697" y="1073039"/>
                </a:lnTo>
                <a:lnTo>
                  <a:pt x="190407" y="1109994"/>
                </a:lnTo>
                <a:lnTo>
                  <a:pt x="183272" y="1142265"/>
                </a:lnTo>
                <a:lnTo>
                  <a:pt x="174772" y="1170538"/>
                </a:lnTo>
                <a:lnTo>
                  <a:pt x="170768" y="1186232"/>
                </a:lnTo>
                <a:lnTo>
                  <a:pt x="169157" y="1202493"/>
                </a:lnTo>
                <a:lnTo>
                  <a:pt x="169949" y="1218858"/>
                </a:lnTo>
                <a:lnTo>
                  <a:pt x="173150" y="1234858"/>
                </a:lnTo>
                <a:lnTo>
                  <a:pt x="180218" y="1263780"/>
                </a:lnTo>
                <a:lnTo>
                  <a:pt x="185724" y="1296571"/>
                </a:lnTo>
                <a:lnTo>
                  <a:pt x="189156" y="1333870"/>
                </a:lnTo>
                <a:lnTo>
                  <a:pt x="190004" y="1376317"/>
                </a:lnTo>
                <a:lnTo>
                  <a:pt x="188006" y="1418693"/>
                </a:lnTo>
                <a:lnTo>
                  <a:pt x="183576" y="1455797"/>
                </a:lnTo>
                <a:lnTo>
                  <a:pt x="177196" y="1488302"/>
                </a:lnTo>
                <a:lnTo>
                  <a:pt x="169358" y="1516873"/>
                </a:lnTo>
                <a:lnTo>
                  <a:pt x="165712" y="1532703"/>
                </a:lnTo>
                <a:lnTo>
                  <a:pt x="164476" y="1549000"/>
                </a:lnTo>
                <a:lnTo>
                  <a:pt x="165649" y="1565308"/>
                </a:lnTo>
                <a:close/>
              </a:path>
            </a:pathLst>
          </a:custGeom>
          <a:solidFill>
            <a:schemeClr val="accent5">
              <a:alpha val="77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6" name="Freeform: Shape 121">
            <a:extLst>
              <a:ext uri="{FF2B5EF4-FFF2-40B4-BE49-F238E27FC236}">
                <a16:creationId xmlns:a16="http://schemas.microsoft.com/office/drawing/2014/main" id="{A453E4B1-BBDF-54DC-E6D8-9D2FB123DA7F}"/>
              </a:ext>
            </a:extLst>
          </p:cNvPr>
          <p:cNvSpPr/>
          <p:nvPr/>
        </p:nvSpPr>
        <p:spPr>
          <a:xfrm rot="18745647" flipH="1">
            <a:off x="11329869" y="3683190"/>
            <a:ext cx="439901" cy="1604380"/>
          </a:xfrm>
          <a:custGeom>
            <a:avLst/>
            <a:gdLst>
              <a:gd name="connsiteX0" fmla="*/ 253217 w 439091"/>
              <a:gd name="connsiteY0" fmla="*/ 0 h 1601425"/>
              <a:gd name="connsiteX1" fmla="*/ 328532 w 439091"/>
              <a:gd name="connsiteY1" fmla="*/ 28874 h 1601425"/>
              <a:gd name="connsiteX2" fmla="*/ 363819 w 439091"/>
              <a:gd name="connsiteY2" fmla="*/ 23857 h 1601425"/>
              <a:gd name="connsiteX3" fmla="*/ 439091 w 439091"/>
              <a:gd name="connsiteY3" fmla="*/ 52869 h 1601425"/>
              <a:gd name="connsiteX4" fmla="*/ 428218 w 439091"/>
              <a:gd name="connsiteY4" fmla="*/ 93712 h 1601425"/>
              <a:gd name="connsiteX5" fmla="*/ 416105 w 439091"/>
              <a:gd name="connsiteY5" fmla="*/ 128531 h 1601425"/>
              <a:gd name="connsiteX6" fmla="*/ 403088 w 439091"/>
              <a:gd name="connsiteY6" fmla="*/ 158159 h 1601425"/>
              <a:gd name="connsiteX7" fmla="*/ 389499 w 439091"/>
              <a:gd name="connsiteY7" fmla="*/ 183418 h 1601425"/>
              <a:gd name="connsiteX8" fmla="*/ 382658 w 439091"/>
              <a:gd name="connsiteY8" fmla="*/ 197652 h 1601425"/>
              <a:gd name="connsiteX9" fmla="*/ 378033 w 439091"/>
              <a:gd name="connsiteY9" fmla="*/ 213183 h 1601425"/>
              <a:gd name="connsiteX10" fmla="*/ 375724 w 439091"/>
              <a:gd name="connsiteY10" fmla="*/ 229558 h 1601425"/>
              <a:gd name="connsiteX11" fmla="*/ 375827 w 439091"/>
              <a:gd name="connsiteY11" fmla="*/ 246322 h 1601425"/>
              <a:gd name="connsiteX12" fmla="*/ 377247 w 439091"/>
              <a:gd name="connsiteY12" fmla="*/ 277025 h 1601425"/>
              <a:gd name="connsiteX13" fmla="*/ 372737 w 439091"/>
              <a:gd name="connsiteY13" fmla="*/ 348860 h 1601425"/>
              <a:gd name="connsiteX14" fmla="*/ 344455 w 439091"/>
              <a:gd name="connsiteY14" fmla="*/ 467241 h 1601425"/>
              <a:gd name="connsiteX15" fmla="*/ 332168 w 439091"/>
              <a:gd name="connsiteY15" fmla="*/ 497268 h 1601425"/>
              <a:gd name="connsiteX16" fmla="*/ 319200 w 439091"/>
              <a:gd name="connsiteY16" fmla="*/ 522965 h 1601425"/>
              <a:gd name="connsiteX17" fmla="*/ 312696 w 439091"/>
              <a:gd name="connsiteY17" fmla="*/ 537420 h 1601425"/>
              <a:gd name="connsiteX18" fmla="*/ 308444 w 439091"/>
              <a:gd name="connsiteY18" fmla="*/ 553082 h 1601425"/>
              <a:gd name="connsiteX19" fmla="*/ 306531 w 439091"/>
              <a:gd name="connsiteY19" fmla="*/ 569500 h 1601425"/>
              <a:gd name="connsiteX20" fmla="*/ 307044 w 439091"/>
              <a:gd name="connsiteY20" fmla="*/ 586222 h 1601425"/>
              <a:gd name="connsiteX21" fmla="*/ 309199 w 439091"/>
              <a:gd name="connsiteY21" fmla="*/ 616761 h 1601425"/>
              <a:gd name="connsiteX22" fmla="*/ 306422 w 439091"/>
              <a:gd name="connsiteY22" fmla="*/ 688538 h 1601425"/>
              <a:gd name="connsiteX23" fmla="*/ 280972 w 439091"/>
              <a:gd name="connsiteY23" fmla="*/ 807642 h 1601425"/>
              <a:gd name="connsiteX24" fmla="*/ 269405 w 439091"/>
              <a:gd name="connsiteY24" fmla="*/ 838057 h 1601425"/>
              <a:gd name="connsiteX25" fmla="*/ 257052 w 439091"/>
              <a:gd name="connsiteY25" fmla="*/ 864175 h 1601425"/>
              <a:gd name="connsiteX26" fmla="*/ 250906 w 439091"/>
              <a:gd name="connsiteY26" fmla="*/ 878849 h 1601425"/>
              <a:gd name="connsiteX27" fmla="*/ 247031 w 439091"/>
              <a:gd name="connsiteY27" fmla="*/ 894632 h 1601425"/>
              <a:gd name="connsiteX28" fmla="*/ 245507 w 439091"/>
              <a:gd name="connsiteY28" fmla="*/ 911069 h 1601425"/>
              <a:gd name="connsiteX29" fmla="*/ 246412 w 439091"/>
              <a:gd name="connsiteY29" fmla="*/ 927705 h 1601425"/>
              <a:gd name="connsiteX30" fmla="*/ 249297 w 439091"/>
              <a:gd name="connsiteY30" fmla="*/ 958083 h 1601425"/>
              <a:gd name="connsiteX31" fmla="*/ 250098 w 439091"/>
              <a:gd name="connsiteY31" fmla="*/ 991931 h 1601425"/>
              <a:gd name="connsiteX32" fmla="*/ 248232 w 439091"/>
              <a:gd name="connsiteY32" fmla="*/ 1029767 h 1601425"/>
              <a:gd name="connsiteX33" fmla="*/ 243105 w 439091"/>
              <a:gd name="connsiteY33" fmla="*/ 1072107 h 1601425"/>
              <a:gd name="connsiteX34" fmla="*/ 235204 w 439091"/>
              <a:gd name="connsiteY34" fmla="*/ 1113715 h 1601425"/>
              <a:gd name="connsiteX35" fmla="*/ 225635 w 439091"/>
              <a:gd name="connsiteY35" fmla="*/ 1149520 h 1601425"/>
              <a:gd name="connsiteX36" fmla="*/ 214795 w 439091"/>
              <a:gd name="connsiteY36" fmla="*/ 1180300 h 1601425"/>
              <a:gd name="connsiteX37" fmla="*/ 203077 w 439091"/>
              <a:gd name="connsiteY37" fmla="*/ 1206830 h 1601425"/>
              <a:gd name="connsiteX38" fmla="*/ 197273 w 439091"/>
              <a:gd name="connsiteY38" fmla="*/ 1221705 h 1601425"/>
              <a:gd name="connsiteX39" fmla="*/ 193776 w 439091"/>
              <a:gd name="connsiteY39" fmla="*/ 1237594 h 1601425"/>
              <a:gd name="connsiteX40" fmla="*/ 192649 w 439091"/>
              <a:gd name="connsiteY40" fmla="*/ 1254046 h 1601425"/>
              <a:gd name="connsiteX41" fmla="*/ 193955 w 439091"/>
              <a:gd name="connsiteY41" fmla="*/ 1270605 h 1601425"/>
              <a:gd name="connsiteX42" fmla="*/ 197556 w 439091"/>
              <a:gd name="connsiteY42" fmla="*/ 1300791 h 1601425"/>
              <a:gd name="connsiteX43" fmla="*/ 199159 w 439091"/>
              <a:gd name="connsiteY43" fmla="*/ 1334524 h 1601425"/>
              <a:gd name="connsiteX44" fmla="*/ 198185 w 439091"/>
              <a:gd name="connsiteY44" fmla="*/ 1372339 h 1601425"/>
              <a:gd name="connsiteX45" fmla="*/ 194061 w 439091"/>
              <a:gd name="connsiteY45" fmla="*/ 1414762 h 1601425"/>
              <a:gd name="connsiteX46" fmla="*/ 187146 w 439091"/>
              <a:gd name="connsiteY46" fmla="*/ 1456576 h 1601425"/>
              <a:gd name="connsiteX47" fmla="*/ 178429 w 439091"/>
              <a:gd name="connsiteY47" fmla="*/ 1492662 h 1601425"/>
              <a:gd name="connsiteX48" fmla="*/ 168321 w 439091"/>
              <a:gd name="connsiteY48" fmla="*/ 1523780 h 1601425"/>
              <a:gd name="connsiteX49" fmla="*/ 157235 w 439091"/>
              <a:gd name="connsiteY49" fmla="*/ 1550686 h 1601425"/>
              <a:gd name="connsiteX50" fmla="*/ 151790 w 439091"/>
              <a:gd name="connsiteY50" fmla="*/ 1565742 h 1601425"/>
              <a:gd name="connsiteX51" fmla="*/ 148669 w 439091"/>
              <a:gd name="connsiteY51" fmla="*/ 1581731 h 1601425"/>
              <a:gd name="connsiteX52" fmla="*/ 147930 w 439091"/>
              <a:gd name="connsiteY52" fmla="*/ 1598196 h 1601425"/>
              <a:gd name="connsiteX53" fmla="*/ 148263 w 439091"/>
              <a:gd name="connsiteY53" fmla="*/ 1601425 h 1601425"/>
              <a:gd name="connsiteX54" fmla="*/ 0 w 439091"/>
              <a:gd name="connsiteY54" fmla="*/ 1465912 h 1601425"/>
              <a:gd name="connsiteX55" fmla="*/ 579 w 439091"/>
              <a:gd name="connsiteY55" fmla="*/ 1434598 h 1601425"/>
              <a:gd name="connsiteX56" fmla="*/ 4647 w 439091"/>
              <a:gd name="connsiteY56" fmla="*/ 1391260 h 1601425"/>
              <a:gd name="connsiteX57" fmla="*/ 11753 w 439091"/>
              <a:gd name="connsiteY57" fmla="*/ 1348568 h 1601425"/>
              <a:gd name="connsiteX58" fmla="*/ 20820 w 439091"/>
              <a:gd name="connsiteY58" fmla="*/ 1311810 h 1601425"/>
              <a:gd name="connsiteX59" fmla="*/ 31380 w 439091"/>
              <a:gd name="connsiteY59" fmla="*/ 1280230 h 1601425"/>
              <a:gd name="connsiteX60" fmla="*/ 42967 w 439091"/>
              <a:gd name="connsiteY60" fmla="*/ 1253073 h 1601425"/>
              <a:gd name="connsiteX61" fmla="*/ 48740 w 439091"/>
              <a:gd name="connsiteY61" fmla="*/ 1237911 h 1601425"/>
              <a:gd name="connsiteX62" fmla="*/ 52240 w 439091"/>
              <a:gd name="connsiteY62" fmla="*/ 1221756 h 1601425"/>
              <a:gd name="connsiteX63" fmla="*/ 53405 w 439091"/>
              <a:gd name="connsiteY63" fmla="*/ 1205042 h 1601425"/>
              <a:gd name="connsiteX64" fmla="*/ 52174 w 439091"/>
              <a:gd name="connsiteY64" fmla="*/ 1188207 h 1601425"/>
              <a:gd name="connsiteX65" fmla="*/ 48798 w 439091"/>
              <a:gd name="connsiteY65" fmla="*/ 1157476 h 1601425"/>
              <a:gd name="connsiteX66" fmla="*/ 47600 w 439091"/>
              <a:gd name="connsiteY66" fmla="*/ 1123069 h 1601425"/>
              <a:gd name="connsiteX67" fmla="*/ 49226 w 439091"/>
              <a:gd name="connsiteY67" fmla="*/ 1084488 h 1601425"/>
              <a:gd name="connsiteX68" fmla="*/ 54322 w 439091"/>
              <a:gd name="connsiteY68" fmla="*/ 1041243 h 1601425"/>
              <a:gd name="connsiteX69" fmla="*/ 62435 w 439091"/>
              <a:gd name="connsiteY69" fmla="*/ 998763 h 1601425"/>
              <a:gd name="connsiteX70" fmla="*/ 72375 w 439091"/>
              <a:gd name="connsiteY70" fmla="*/ 962297 h 1601425"/>
              <a:gd name="connsiteX71" fmla="*/ 83685 w 439091"/>
              <a:gd name="connsiteY71" fmla="*/ 931072 h 1601425"/>
              <a:gd name="connsiteX72" fmla="*/ 95909 w 439091"/>
              <a:gd name="connsiteY72" fmla="*/ 904312 h 1601425"/>
              <a:gd name="connsiteX73" fmla="*/ 102035 w 439091"/>
              <a:gd name="connsiteY73" fmla="*/ 889348 h 1601425"/>
              <a:gd name="connsiteX74" fmla="*/ 105918 w 439091"/>
              <a:gd name="connsiteY74" fmla="*/ 873300 h 1601425"/>
              <a:gd name="connsiteX75" fmla="*/ 107484 w 439091"/>
              <a:gd name="connsiteY75" fmla="*/ 856600 h 1601425"/>
              <a:gd name="connsiteX76" fmla="*/ 106653 w 439091"/>
              <a:gd name="connsiteY76" fmla="*/ 839691 h 1601425"/>
              <a:gd name="connsiteX77" fmla="*/ 104010 w 439091"/>
              <a:gd name="connsiteY77" fmla="*/ 808769 h 1601425"/>
              <a:gd name="connsiteX78" fmla="*/ 103630 w 439091"/>
              <a:gd name="connsiteY78" fmla="*/ 774252 h 1601425"/>
              <a:gd name="connsiteX79" fmla="*/ 106173 w 439091"/>
              <a:gd name="connsiteY79" fmla="*/ 735665 h 1601425"/>
              <a:gd name="connsiteX80" fmla="*/ 112300 w 439091"/>
              <a:gd name="connsiteY80" fmla="*/ 692535 h 1601425"/>
              <a:gd name="connsiteX81" fmla="*/ 121421 w 439091"/>
              <a:gd name="connsiteY81" fmla="*/ 650285 h 1601425"/>
              <a:gd name="connsiteX82" fmla="*/ 132225 w 439091"/>
              <a:gd name="connsiteY82" fmla="*/ 614135 h 1601425"/>
              <a:gd name="connsiteX83" fmla="*/ 144273 w 439091"/>
              <a:gd name="connsiteY83" fmla="*/ 583283 h 1601425"/>
              <a:gd name="connsiteX84" fmla="*/ 157129 w 439091"/>
              <a:gd name="connsiteY84" fmla="*/ 556940 h 1601425"/>
              <a:gd name="connsiteX85" fmla="*/ 163617 w 439091"/>
              <a:gd name="connsiteY85" fmla="*/ 542180 h 1601425"/>
              <a:gd name="connsiteX86" fmla="*/ 167887 w 439091"/>
              <a:gd name="connsiteY86" fmla="*/ 526252 h 1601425"/>
              <a:gd name="connsiteX87" fmla="*/ 169854 w 439091"/>
              <a:gd name="connsiteY87" fmla="*/ 509585 h 1601425"/>
              <a:gd name="connsiteX88" fmla="*/ 169433 w 439091"/>
              <a:gd name="connsiteY88" fmla="*/ 492617 h 1601425"/>
              <a:gd name="connsiteX89" fmla="*/ 167527 w 439091"/>
              <a:gd name="connsiteY89" fmla="*/ 461538 h 1601425"/>
              <a:gd name="connsiteX90" fmla="*/ 167971 w 439091"/>
              <a:gd name="connsiteY90" fmla="*/ 426934 h 1601425"/>
              <a:gd name="connsiteX91" fmla="*/ 178598 w 439091"/>
              <a:gd name="connsiteY91" fmla="*/ 345380 h 1601425"/>
              <a:gd name="connsiteX92" fmla="*/ 200400 w 439091"/>
              <a:gd name="connsiteY92" fmla="*/ 267570 h 1601425"/>
              <a:gd name="connsiteX93" fmla="*/ 213186 w 439091"/>
              <a:gd name="connsiteY93" fmla="*/ 237122 h 1601425"/>
              <a:gd name="connsiteX94" fmla="*/ 226672 w 439091"/>
              <a:gd name="connsiteY94" fmla="*/ 211230 h 1601425"/>
              <a:gd name="connsiteX95" fmla="*/ 233510 w 439091"/>
              <a:gd name="connsiteY95" fmla="*/ 196691 h 1601425"/>
              <a:gd name="connsiteX96" fmla="*/ 238160 w 439091"/>
              <a:gd name="connsiteY96" fmla="*/ 180887 h 1601425"/>
              <a:gd name="connsiteX97" fmla="*/ 240525 w 439091"/>
              <a:gd name="connsiteY97" fmla="*/ 164248 h 1601425"/>
              <a:gd name="connsiteX98" fmla="*/ 240513 w 439091"/>
              <a:gd name="connsiteY98" fmla="*/ 147210 h 1601425"/>
              <a:gd name="connsiteX99" fmla="*/ 239364 w 439091"/>
              <a:gd name="connsiteY99" fmla="*/ 115997 h 1601425"/>
              <a:gd name="connsiteX100" fmla="*/ 240639 w 439091"/>
              <a:gd name="connsiteY100" fmla="*/ 81344 h 1601425"/>
              <a:gd name="connsiteX101" fmla="*/ 245029 w 439091"/>
              <a:gd name="connsiteY101" fmla="*/ 42821 h 160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39091" h="1601425">
                <a:moveTo>
                  <a:pt x="253217" y="0"/>
                </a:moveTo>
                <a:lnTo>
                  <a:pt x="328532" y="28874"/>
                </a:lnTo>
                <a:lnTo>
                  <a:pt x="363819" y="23857"/>
                </a:lnTo>
                <a:lnTo>
                  <a:pt x="439091" y="52869"/>
                </a:lnTo>
                <a:lnTo>
                  <a:pt x="428218" y="93712"/>
                </a:lnTo>
                <a:lnTo>
                  <a:pt x="416105" y="128531"/>
                </a:lnTo>
                <a:lnTo>
                  <a:pt x="403088" y="158159"/>
                </a:lnTo>
                <a:lnTo>
                  <a:pt x="389499" y="183418"/>
                </a:lnTo>
                <a:lnTo>
                  <a:pt x="382658" y="197652"/>
                </a:lnTo>
                <a:lnTo>
                  <a:pt x="378033" y="213183"/>
                </a:lnTo>
                <a:lnTo>
                  <a:pt x="375724" y="229558"/>
                </a:lnTo>
                <a:lnTo>
                  <a:pt x="375827" y="246322"/>
                </a:lnTo>
                <a:lnTo>
                  <a:pt x="377247" y="277025"/>
                </a:lnTo>
                <a:lnTo>
                  <a:pt x="372737" y="348860"/>
                </a:lnTo>
                <a:lnTo>
                  <a:pt x="344455" y="467241"/>
                </a:lnTo>
                <a:lnTo>
                  <a:pt x="332168" y="497268"/>
                </a:lnTo>
                <a:lnTo>
                  <a:pt x="319200" y="522965"/>
                </a:lnTo>
                <a:lnTo>
                  <a:pt x="312696" y="537420"/>
                </a:lnTo>
                <a:lnTo>
                  <a:pt x="308444" y="553082"/>
                </a:lnTo>
                <a:lnTo>
                  <a:pt x="306531" y="569500"/>
                </a:lnTo>
                <a:lnTo>
                  <a:pt x="307044" y="586222"/>
                </a:lnTo>
                <a:lnTo>
                  <a:pt x="309199" y="616761"/>
                </a:lnTo>
                <a:lnTo>
                  <a:pt x="306422" y="688538"/>
                </a:lnTo>
                <a:lnTo>
                  <a:pt x="280972" y="807642"/>
                </a:lnTo>
                <a:lnTo>
                  <a:pt x="269405" y="838057"/>
                </a:lnTo>
                <a:lnTo>
                  <a:pt x="257052" y="864175"/>
                </a:lnTo>
                <a:lnTo>
                  <a:pt x="250906" y="878849"/>
                </a:lnTo>
                <a:lnTo>
                  <a:pt x="247031" y="894632"/>
                </a:lnTo>
                <a:lnTo>
                  <a:pt x="245507" y="911069"/>
                </a:lnTo>
                <a:lnTo>
                  <a:pt x="246412" y="927705"/>
                </a:lnTo>
                <a:lnTo>
                  <a:pt x="249297" y="958083"/>
                </a:lnTo>
                <a:lnTo>
                  <a:pt x="250098" y="991931"/>
                </a:lnTo>
                <a:lnTo>
                  <a:pt x="248232" y="1029767"/>
                </a:lnTo>
                <a:lnTo>
                  <a:pt x="243105" y="1072107"/>
                </a:lnTo>
                <a:lnTo>
                  <a:pt x="235204" y="1113715"/>
                </a:lnTo>
                <a:lnTo>
                  <a:pt x="225635" y="1149520"/>
                </a:lnTo>
                <a:lnTo>
                  <a:pt x="214795" y="1180300"/>
                </a:lnTo>
                <a:lnTo>
                  <a:pt x="203077" y="1206830"/>
                </a:lnTo>
                <a:lnTo>
                  <a:pt x="197273" y="1221705"/>
                </a:lnTo>
                <a:lnTo>
                  <a:pt x="193776" y="1237594"/>
                </a:lnTo>
                <a:lnTo>
                  <a:pt x="192649" y="1254046"/>
                </a:lnTo>
                <a:lnTo>
                  <a:pt x="193955" y="1270605"/>
                </a:lnTo>
                <a:lnTo>
                  <a:pt x="197556" y="1300791"/>
                </a:lnTo>
                <a:lnTo>
                  <a:pt x="199159" y="1334524"/>
                </a:lnTo>
                <a:lnTo>
                  <a:pt x="198185" y="1372339"/>
                </a:lnTo>
                <a:lnTo>
                  <a:pt x="194061" y="1414762"/>
                </a:lnTo>
                <a:lnTo>
                  <a:pt x="187146" y="1456576"/>
                </a:lnTo>
                <a:lnTo>
                  <a:pt x="178429" y="1492662"/>
                </a:lnTo>
                <a:lnTo>
                  <a:pt x="168321" y="1523780"/>
                </a:lnTo>
                <a:lnTo>
                  <a:pt x="157235" y="1550686"/>
                </a:lnTo>
                <a:lnTo>
                  <a:pt x="151790" y="1565742"/>
                </a:lnTo>
                <a:lnTo>
                  <a:pt x="148669" y="1581731"/>
                </a:lnTo>
                <a:lnTo>
                  <a:pt x="147930" y="1598196"/>
                </a:lnTo>
                <a:lnTo>
                  <a:pt x="148263" y="1601425"/>
                </a:lnTo>
                <a:lnTo>
                  <a:pt x="0" y="1465912"/>
                </a:lnTo>
                <a:lnTo>
                  <a:pt x="579" y="1434598"/>
                </a:lnTo>
                <a:lnTo>
                  <a:pt x="4647" y="1391260"/>
                </a:lnTo>
                <a:lnTo>
                  <a:pt x="11753" y="1348568"/>
                </a:lnTo>
                <a:lnTo>
                  <a:pt x="20820" y="1311810"/>
                </a:lnTo>
                <a:lnTo>
                  <a:pt x="31380" y="1280230"/>
                </a:lnTo>
                <a:lnTo>
                  <a:pt x="42967" y="1253073"/>
                </a:lnTo>
                <a:lnTo>
                  <a:pt x="48740" y="1237911"/>
                </a:lnTo>
                <a:lnTo>
                  <a:pt x="52240" y="1221756"/>
                </a:lnTo>
                <a:lnTo>
                  <a:pt x="53405" y="1205042"/>
                </a:lnTo>
                <a:lnTo>
                  <a:pt x="52174" y="1188207"/>
                </a:lnTo>
                <a:lnTo>
                  <a:pt x="48798" y="1157476"/>
                </a:lnTo>
                <a:lnTo>
                  <a:pt x="47600" y="1123069"/>
                </a:lnTo>
                <a:lnTo>
                  <a:pt x="49226" y="1084488"/>
                </a:lnTo>
                <a:lnTo>
                  <a:pt x="54322" y="1041243"/>
                </a:lnTo>
                <a:lnTo>
                  <a:pt x="62435" y="998763"/>
                </a:lnTo>
                <a:lnTo>
                  <a:pt x="72375" y="962297"/>
                </a:lnTo>
                <a:lnTo>
                  <a:pt x="83685" y="931072"/>
                </a:lnTo>
                <a:lnTo>
                  <a:pt x="95909" y="904312"/>
                </a:lnTo>
                <a:lnTo>
                  <a:pt x="102035" y="889348"/>
                </a:lnTo>
                <a:lnTo>
                  <a:pt x="105918" y="873300"/>
                </a:lnTo>
                <a:lnTo>
                  <a:pt x="107484" y="856600"/>
                </a:lnTo>
                <a:lnTo>
                  <a:pt x="106653" y="839691"/>
                </a:lnTo>
                <a:lnTo>
                  <a:pt x="104010" y="808769"/>
                </a:lnTo>
                <a:lnTo>
                  <a:pt x="103630" y="774252"/>
                </a:lnTo>
                <a:lnTo>
                  <a:pt x="106173" y="735665"/>
                </a:lnTo>
                <a:lnTo>
                  <a:pt x="112300" y="692535"/>
                </a:lnTo>
                <a:lnTo>
                  <a:pt x="121421" y="650285"/>
                </a:lnTo>
                <a:lnTo>
                  <a:pt x="132225" y="614135"/>
                </a:lnTo>
                <a:lnTo>
                  <a:pt x="144273" y="583283"/>
                </a:lnTo>
                <a:lnTo>
                  <a:pt x="157129" y="556940"/>
                </a:lnTo>
                <a:lnTo>
                  <a:pt x="163617" y="542180"/>
                </a:lnTo>
                <a:lnTo>
                  <a:pt x="167887" y="526252"/>
                </a:lnTo>
                <a:lnTo>
                  <a:pt x="169854" y="509585"/>
                </a:lnTo>
                <a:lnTo>
                  <a:pt x="169433" y="492617"/>
                </a:lnTo>
                <a:lnTo>
                  <a:pt x="167527" y="461538"/>
                </a:lnTo>
                <a:lnTo>
                  <a:pt x="167971" y="426934"/>
                </a:lnTo>
                <a:lnTo>
                  <a:pt x="178598" y="345380"/>
                </a:lnTo>
                <a:lnTo>
                  <a:pt x="200400" y="267570"/>
                </a:lnTo>
                <a:lnTo>
                  <a:pt x="213186" y="237122"/>
                </a:lnTo>
                <a:lnTo>
                  <a:pt x="226672" y="211230"/>
                </a:lnTo>
                <a:lnTo>
                  <a:pt x="233510" y="196691"/>
                </a:lnTo>
                <a:lnTo>
                  <a:pt x="238160" y="180887"/>
                </a:lnTo>
                <a:lnTo>
                  <a:pt x="240525" y="164248"/>
                </a:lnTo>
                <a:lnTo>
                  <a:pt x="240513" y="147210"/>
                </a:lnTo>
                <a:lnTo>
                  <a:pt x="239364" y="115997"/>
                </a:lnTo>
                <a:lnTo>
                  <a:pt x="240639" y="81344"/>
                </a:lnTo>
                <a:lnTo>
                  <a:pt x="245029" y="42821"/>
                </a:lnTo>
                <a:close/>
              </a:path>
            </a:pathLst>
          </a:custGeom>
          <a:solidFill>
            <a:schemeClr val="accent5">
              <a:alpha val="77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7" name="Freeform: Shape 119">
            <a:extLst>
              <a:ext uri="{FF2B5EF4-FFF2-40B4-BE49-F238E27FC236}">
                <a16:creationId xmlns:a16="http://schemas.microsoft.com/office/drawing/2014/main" id="{96F430D1-BA5F-3FE3-7492-937205C9FE44}"/>
              </a:ext>
            </a:extLst>
          </p:cNvPr>
          <p:cNvSpPr/>
          <p:nvPr/>
        </p:nvSpPr>
        <p:spPr>
          <a:xfrm rot="18383521">
            <a:off x="11360011" y="3018771"/>
            <a:ext cx="479765" cy="1819821"/>
          </a:xfrm>
          <a:custGeom>
            <a:avLst/>
            <a:gdLst>
              <a:gd name="connsiteX0" fmla="*/ 478881 w 478881"/>
              <a:gd name="connsiteY0" fmla="*/ 52869 h 1816469"/>
              <a:gd name="connsiteX1" fmla="*/ 403609 w 478881"/>
              <a:gd name="connsiteY1" fmla="*/ 23857 h 1816469"/>
              <a:gd name="connsiteX2" fmla="*/ 368322 w 478881"/>
              <a:gd name="connsiteY2" fmla="*/ 28875 h 1816469"/>
              <a:gd name="connsiteX3" fmla="*/ 293006 w 478881"/>
              <a:gd name="connsiteY3" fmla="*/ 0 h 1816469"/>
              <a:gd name="connsiteX4" fmla="*/ 284819 w 478881"/>
              <a:gd name="connsiteY4" fmla="*/ 42821 h 1816469"/>
              <a:gd name="connsiteX5" fmla="*/ 280429 w 478881"/>
              <a:gd name="connsiteY5" fmla="*/ 81344 h 1816469"/>
              <a:gd name="connsiteX6" fmla="*/ 279154 w 478881"/>
              <a:gd name="connsiteY6" fmla="*/ 115998 h 1816469"/>
              <a:gd name="connsiteX7" fmla="*/ 280303 w 478881"/>
              <a:gd name="connsiteY7" fmla="*/ 147210 h 1816469"/>
              <a:gd name="connsiteX8" fmla="*/ 280315 w 478881"/>
              <a:gd name="connsiteY8" fmla="*/ 164248 h 1816469"/>
              <a:gd name="connsiteX9" fmla="*/ 277949 w 478881"/>
              <a:gd name="connsiteY9" fmla="*/ 180887 h 1816469"/>
              <a:gd name="connsiteX10" fmla="*/ 273300 w 478881"/>
              <a:gd name="connsiteY10" fmla="*/ 196691 h 1816469"/>
              <a:gd name="connsiteX11" fmla="*/ 266462 w 478881"/>
              <a:gd name="connsiteY11" fmla="*/ 211230 h 1816469"/>
              <a:gd name="connsiteX12" fmla="*/ 252976 w 478881"/>
              <a:gd name="connsiteY12" fmla="*/ 237122 h 1816469"/>
              <a:gd name="connsiteX13" fmla="*/ 240190 w 478881"/>
              <a:gd name="connsiteY13" fmla="*/ 267570 h 1816469"/>
              <a:gd name="connsiteX14" fmla="*/ 218388 w 478881"/>
              <a:gd name="connsiteY14" fmla="*/ 345380 h 1816469"/>
              <a:gd name="connsiteX15" fmla="*/ 207761 w 478881"/>
              <a:gd name="connsiteY15" fmla="*/ 426934 h 1816469"/>
              <a:gd name="connsiteX16" fmla="*/ 207317 w 478881"/>
              <a:gd name="connsiteY16" fmla="*/ 461539 h 1816469"/>
              <a:gd name="connsiteX17" fmla="*/ 209223 w 478881"/>
              <a:gd name="connsiteY17" fmla="*/ 492618 h 1816469"/>
              <a:gd name="connsiteX18" fmla="*/ 209644 w 478881"/>
              <a:gd name="connsiteY18" fmla="*/ 509585 h 1816469"/>
              <a:gd name="connsiteX19" fmla="*/ 207677 w 478881"/>
              <a:gd name="connsiteY19" fmla="*/ 526252 h 1816469"/>
              <a:gd name="connsiteX20" fmla="*/ 203407 w 478881"/>
              <a:gd name="connsiteY20" fmla="*/ 542180 h 1816469"/>
              <a:gd name="connsiteX21" fmla="*/ 196919 w 478881"/>
              <a:gd name="connsiteY21" fmla="*/ 556940 h 1816469"/>
              <a:gd name="connsiteX22" fmla="*/ 184063 w 478881"/>
              <a:gd name="connsiteY22" fmla="*/ 583283 h 1816469"/>
              <a:gd name="connsiteX23" fmla="*/ 172015 w 478881"/>
              <a:gd name="connsiteY23" fmla="*/ 614135 h 1816469"/>
              <a:gd name="connsiteX24" fmla="*/ 161211 w 478881"/>
              <a:gd name="connsiteY24" fmla="*/ 650285 h 1816469"/>
              <a:gd name="connsiteX25" fmla="*/ 152089 w 478881"/>
              <a:gd name="connsiteY25" fmla="*/ 692535 h 1816469"/>
              <a:gd name="connsiteX26" fmla="*/ 145964 w 478881"/>
              <a:gd name="connsiteY26" fmla="*/ 735665 h 1816469"/>
              <a:gd name="connsiteX27" fmla="*/ 143420 w 478881"/>
              <a:gd name="connsiteY27" fmla="*/ 774253 h 1816469"/>
              <a:gd name="connsiteX28" fmla="*/ 143800 w 478881"/>
              <a:gd name="connsiteY28" fmla="*/ 808769 h 1816469"/>
              <a:gd name="connsiteX29" fmla="*/ 146443 w 478881"/>
              <a:gd name="connsiteY29" fmla="*/ 839691 h 1816469"/>
              <a:gd name="connsiteX30" fmla="*/ 147274 w 478881"/>
              <a:gd name="connsiteY30" fmla="*/ 856601 h 1816469"/>
              <a:gd name="connsiteX31" fmla="*/ 145708 w 478881"/>
              <a:gd name="connsiteY31" fmla="*/ 873300 h 1816469"/>
              <a:gd name="connsiteX32" fmla="*/ 141825 w 478881"/>
              <a:gd name="connsiteY32" fmla="*/ 889348 h 1816469"/>
              <a:gd name="connsiteX33" fmla="*/ 135699 w 478881"/>
              <a:gd name="connsiteY33" fmla="*/ 904312 h 1816469"/>
              <a:gd name="connsiteX34" fmla="*/ 123475 w 478881"/>
              <a:gd name="connsiteY34" fmla="*/ 931072 h 1816469"/>
              <a:gd name="connsiteX35" fmla="*/ 112165 w 478881"/>
              <a:gd name="connsiteY35" fmla="*/ 962297 h 1816469"/>
              <a:gd name="connsiteX36" fmla="*/ 102225 w 478881"/>
              <a:gd name="connsiteY36" fmla="*/ 998763 h 1816469"/>
              <a:gd name="connsiteX37" fmla="*/ 94112 w 478881"/>
              <a:gd name="connsiteY37" fmla="*/ 1041243 h 1816469"/>
              <a:gd name="connsiteX38" fmla="*/ 89016 w 478881"/>
              <a:gd name="connsiteY38" fmla="*/ 1084489 h 1816469"/>
              <a:gd name="connsiteX39" fmla="*/ 87390 w 478881"/>
              <a:gd name="connsiteY39" fmla="*/ 1123069 h 1816469"/>
              <a:gd name="connsiteX40" fmla="*/ 88588 w 478881"/>
              <a:gd name="connsiteY40" fmla="*/ 1157476 h 1816469"/>
              <a:gd name="connsiteX41" fmla="*/ 91964 w 478881"/>
              <a:gd name="connsiteY41" fmla="*/ 1188208 h 1816469"/>
              <a:gd name="connsiteX42" fmla="*/ 93195 w 478881"/>
              <a:gd name="connsiteY42" fmla="*/ 1205042 h 1816469"/>
              <a:gd name="connsiteX43" fmla="*/ 92030 w 478881"/>
              <a:gd name="connsiteY43" fmla="*/ 1221756 h 1816469"/>
              <a:gd name="connsiteX44" fmla="*/ 88530 w 478881"/>
              <a:gd name="connsiteY44" fmla="*/ 1237912 h 1816469"/>
              <a:gd name="connsiteX45" fmla="*/ 82757 w 478881"/>
              <a:gd name="connsiteY45" fmla="*/ 1253074 h 1816469"/>
              <a:gd name="connsiteX46" fmla="*/ 71170 w 478881"/>
              <a:gd name="connsiteY46" fmla="*/ 1280231 h 1816469"/>
              <a:gd name="connsiteX47" fmla="*/ 60610 w 478881"/>
              <a:gd name="connsiteY47" fmla="*/ 1311810 h 1816469"/>
              <a:gd name="connsiteX48" fmla="*/ 51543 w 478881"/>
              <a:gd name="connsiteY48" fmla="*/ 1348568 h 1816469"/>
              <a:gd name="connsiteX49" fmla="*/ 44437 w 478881"/>
              <a:gd name="connsiteY49" fmla="*/ 1391260 h 1816469"/>
              <a:gd name="connsiteX50" fmla="*/ 40369 w 478881"/>
              <a:gd name="connsiteY50" fmla="*/ 1434598 h 1816469"/>
              <a:gd name="connsiteX51" fmla="*/ 39656 w 478881"/>
              <a:gd name="connsiteY51" fmla="*/ 1473145 h 1816469"/>
              <a:gd name="connsiteX52" fmla="*/ 41667 w 478881"/>
              <a:gd name="connsiteY52" fmla="*/ 1507421 h 1816469"/>
              <a:gd name="connsiteX53" fmla="*/ 45764 w 478881"/>
              <a:gd name="connsiteY53" fmla="*/ 1537953 h 1816469"/>
              <a:gd name="connsiteX54" fmla="*/ 47391 w 478881"/>
              <a:gd name="connsiteY54" fmla="*/ 1554695 h 1816469"/>
              <a:gd name="connsiteX55" fmla="*/ 46622 w 478881"/>
              <a:gd name="connsiteY55" fmla="*/ 1571411 h 1816469"/>
              <a:gd name="connsiteX56" fmla="*/ 43506 w 478881"/>
              <a:gd name="connsiteY56" fmla="*/ 1587665 h 1816469"/>
              <a:gd name="connsiteX57" fmla="*/ 38095 w 478881"/>
              <a:gd name="connsiteY57" fmla="*/ 1603010 h 1816469"/>
              <a:gd name="connsiteX58" fmla="*/ 27152 w 478881"/>
              <a:gd name="connsiteY58" fmla="*/ 1630555 h 1816469"/>
              <a:gd name="connsiteX59" fmla="*/ 17336 w 478881"/>
              <a:gd name="connsiteY59" fmla="*/ 1662471 h 1816469"/>
              <a:gd name="connsiteX60" fmla="*/ 9137 w 478881"/>
              <a:gd name="connsiteY60" fmla="*/ 1699489 h 1816469"/>
              <a:gd name="connsiteX61" fmla="*/ 3039 w 478881"/>
              <a:gd name="connsiteY61" fmla="*/ 1742340 h 1816469"/>
              <a:gd name="connsiteX62" fmla="*/ 0 w 478881"/>
              <a:gd name="connsiteY62" fmla="*/ 1785739 h 1816469"/>
              <a:gd name="connsiteX63" fmla="*/ 160 w 478881"/>
              <a:gd name="connsiteY63" fmla="*/ 1816469 h 1816469"/>
              <a:gd name="connsiteX64" fmla="*/ 195710 w 478881"/>
              <a:gd name="connsiteY64" fmla="*/ 1672340 h 1816469"/>
              <a:gd name="connsiteX65" fmla="*/ 193734 w 478881"/>
              <a:gd name="connsiteY65" fmla="*/ 1644645 h 1816469"/>
              <a:gd name="connsiteX66" fmla="*/ 189420 w 478881"/>
              <a:gd name="connsiteY66" fmla="*/ 1614680 h 1816469"/>
              <a:gd name="connsiteX67" fmla="*/ 187719 w 478881"/>
              <a:gd name="connsiteY67" fmla="*/ 1598196 h 1816469"/>
              <a:gd name="connsiteX68" fmla="*/ 188459 w 478881"/>
              <a:gd name="connsiteY68" fmla="*/ 1581731 h 1816469"/>
              <a:gd name="connsiteX69" fmla="*/ 191580 w 478881"/>
              <a:gd name="connsiteY69" fmla="*/ 1565743 h 1816469"/>
              <a:gd name="connsiteX70" fmla="*/ 197025 w 478881"/>
              <a:gd name="connsiteY70" fmla="*/ 1550686 h 1816469"/>
              <a:gd name="connsiteX71" fmla="*/ 208111 w 478881"/>
              <a:gd name="connsiteY71" fmla="*/ 1523781 h 1816469"/>
              <a:gd name="connsiteX72" fmla="*/ 218218 w 478881"/>
              <a:gd name="connsiteY72" fmla="*/ 1492663 h 1816469"/>
              <a:gd name="connsiteX73" fmla="*/ 226935 w 478881"/>
              <a:gd name="connsiteY73" fmla="*/ 1456577 h 1816469"/>
              <a:gd name="connsiteX74" fmla="*/ 233851 w 478881"/>
              <a:gd name="connsiteY74" fmla="*/ 1414763 h 1816469"/>
              <a:gd name="connsiteX75" fmla="*/ 237975 w 478881"/>
              <a:gd name="connsiteY75" fmla="*/ 1372339 h 1816469"/>
              <a:gd name="connsiteX76" fmla="*/ 238949 w 478881"/>
              <a:gd name="connsiteY76" fmla="*/ 1334525 h 1816469"/>
              <a:gd name="connsiteX77" fmla="*/ 237347 w 478881"/>
              <a:gd name="connsiteY77" fmla="*/ 1300792 h 1816469"/>
              <a:gd name="connsiteX78" fmla="*/ 233745 w 478881"/>
              <a:gd name="connsiteY78" fmla="*/ 1270606 h 1816469"/>
              <a:gd name="connsiteX79" fmla="*/ 232440 w 478881"/>
              <a:gd name="connsiteY79" fmla="*/ 1254046 h 1816469"/>
              <a:gd name="connsiteX80" fmla="*/ 233566 w 478881"/>
              <a:gd name="connsiteY80" fmla="*/ 1237594 h 1816469"/>
              <a:gd name="connsiteX81" fmla="*/ 237063 w 478881"/>
              <a:gd name="connsiteY81" fmla="*/ 1221705 h 1816469"/>
              <a:gd name="connsiteX82" fmla="*/ 242867 w 478881"/>
              <a:gd name="connsiteY82" fmla="*/ 1206831 h 1816469"/>
              <a:gd name="connsiteX83" fmla="*/ 254585 w 478881"/>
              <a:gd name="connsiteY83" fmla="*/ 1180301 h 1816469"/>
              <a:gd name="connsiteX84" fmla="*/ 265425 w 478881"/>
              <a:gd name="connsiteY84" fmla="*/ 1149520 h 1816469"/>
              <a:gd name="connsiteX85" fmla="*/ 274994 w 478881"/>
              <a:gd name="connsiteY85" fmla="*/ 1113715 h 1816469"/>
              <a:gd name="connsiteX86" fmla="*/ 282894 w 478881"/>
              <a:gd name="connsiteY86" fmla="*/ 1072107 h 1816469"/>
              <a:gd name="connsiteX87" fmla="*/ 288022 w 478881"/>
              <a:gd name="connsiteY87" fmla="*/ 1029767 h 1816469"/>
              <a:gd name="connsiteX88" fmla="*/ 289888 w 478881"/>
              <a:gd name="connsiteY88" fmla="*/ 991932 h 1816469"/>
              <a:gd name="connsiteX89" fmla="*/ 289087 w 478881"/>
              <a:gd name="connsiteY89" fmla="*/ 958083 h 1816469"/>
              <a:gd name="connsiteX90" fmla="*/ 286202 w 478881"/>
              <a:gd name="connsiteY90" fmla="*/ 927706 h 1816469"/>
              <a:gd name="connsiteX91" fmla="*/ 285296 w 478881"/>
              <a:gd name="connsiteY91" fmla="*/ 911069 h 1816469"/>
              <a:gd name="connsiteX92" fmla="*/ 286821 w 478881"/>
              <a:gd name="connsiteY92" fmla="*/ 894632 h 1816469"/>
              <a:gd name="connsiteX93" fmla="*/ 290696 w 478881"/>
              <a:gd name="connsiteY93" fmla="*/ 878850 h 1816469"/>
              <a:gd name="connsiteX94" fmla="*/ 296842 w 478881"/>
              <a:gd name="connsiteY94" fmla="*/ 864175 h 1816469"/>
              <a:gd name="connsiteX95" fmla="*/ 309195 w 478881"/>
              <a:gd name="connsiteY95" fmla="*/ 838058 h 1816469"/>
              <a:gd name="connsiteX96" fmla="*/ 320762 w 478881"/>
              <a:gd name="connsiteY96" fmla="*/ 807642 h 1816469"/>
              <a:gd name="connsiteX97" fmla="*/ 346212 w 478881"/>
              <a:gd name="connsiteY97" fmla="*/ 688538 h 1816469"/>
              <a:gd name="connsiteX98" fmla="*/ 348988 w 478881"/>
              <a:gd name="connsiteY98" fmla="*/ 616761 h 1816469"/>
              <a:gd name="connsiteX99" fmla="*/ 346834 w 478881"/>
              <a:gd name="connsiteY99" fmla="*/ 586223 h 1816469"/>
              <a:gd name="connsiteX100" fmla="*/ 346321 w 478881"/>
              <a:gd name="connsiteY100" fmla="*/ 569500 h 1816469"/>
              <a:gd name="connsiteX101" fmla="*/ 348234 w 478881"/>
              <a:gd name="connsiteY101" fmla="*/ 553082 h 1816469"/>
              <a:gd name="connsiteX102" fmla="*/ 352485 w 478881"/>
              <a:gd name="connsiteY102" fmla="*/ 537420 h 1816469"/>
              <a:gd name="connsiteX103" fmla="*/ 358989 w 478881"/>
              <a:gd name="connsiteY103" fmla="*/ 522965 h 1816469"/>
              <a:gd name="connsiteX104" fmla="*/ 371958 w 478881"/>
              <a:gd name="connsiteY104" fmla="*/ 497268 h 1816469"/>
              <a:gd name="connsiteX105" fmla="*/ 384245 w 478881"/>
              <a:gd name="connsiteY105" fmla="*/ 467241 h 1816469"/>
              <a:gd name="connsiteX106" fmla="*/ 412527 w 478881"/>
              <a:gd name="connsiteY106" fmla="*/ 348860 h 1816469"/>
              <a:gd name="connsiteX107" fmla="*/ 417037 w 478881"/>
              <a:gd name="connsiteY107" fmla="*/ 277025 h 1816469"/>
              <a:gd name="connsiteX108" fmla="*/ 415617 w 478881"/>
              <a:gd name="connsiteY108" fmla="*/ 246322 h 1816469"/>
              <a:gd name="connsiteX109" fmla="*/ 415514 w 478881"/>
              <a:gd name="connsiteY109" fmla="*/ 229558 h 1816469"/>
              <a:gd name="connsiteX110" fmla="*/ 417823 w 478881"/>
              <a:gd name="connsiteY110" fmla="*/ 213184 h 1816469"/>
              <a:gd name="connsiteX111" fmla="*/ 422448 w 478881"/>
              <a:gd name="connsiteY111" fmla="*/ 197653 h 1816469"/>
              <a:gd name="connsiteX112" fmla="*/ 429289 w 478881"/>
              <a:gd name="connsiteY112" fmla="*/ 183418 h 1816469"/>
              <a:gd name="connsiteX113" fmla="*/ 442878 w 478881"/>
              <a:gd name="connsiteY113" fmla="*/ 158159 h 1816469"/>
              <a:gd name="connsiteX114" fmla="*/ 455895 w 478881"/>
              <a:gd name="connsiteY114" fmla="*/ 128531 h 1816469"/>
              <a:gd name="connsiteX115" fmla="*/ 468008 w 478881"/>
              <a:gd name="connsiteY115" fmla="*/ 93712 h 181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78881" h="1816469">
                <a:moveTo>
                  <a:pt x="478881" y="52869"/>
                </a:moveTo>
                <a:lnTo>
                  <a:pt x="403609" y="23857"/>
                </a:lnTo>
                <a:lnTo>
                  <a:pt x="368322" y="28875"/>
                </a:lnTo>
                <a:lnTo>
                  <a:pt x="293006" y="0"/>
                </a:lnTo>
                <a:lnTo>
                  <a:pt x="284819" y="42821"/>
                </a:lnTo>
                <a:lnTo>
                  <a:pt x="280429" y="81344"/>
                </a:lnTo>
                <a:lnTo>
                  <a:pt x="279154" y="115998"/>
                </a:lnTo>
                <a:lnTo>
                  <a:pt x="280303" y="147210"/>
                </a:lnTo>
                <a:lnTo>
                  <a:pt x="280315" y="164248"/>
                </a:lnTo>
                <a:lnTo>
                  <a:pt x="277949" y="180887"/>
                </a:lnTo>
                <a:lnTo>
                  <a:pt x="273300" y="196691"/>
                </a:lnTo>
                <a:lnTo>
                  <a:pt x="266462" y="211230"/>
                </a:lnTo>
                <a:lnTo>
                  <a:pt x="252976" y="237122"/>
                </a:lnTo>
                <a:lnTo>
                  <a:pt x="240190" y="267570"/>
                </a:lnTo>
                <a:lnTo>
                  <a:pt x="218388" y="345380"/>
                </a:lnTo>
                <a:lnTo>
                  <a:pt x="207761" y="426934"/>
                </a:lnTo>
                <a:lnTo>
                  <a:pt x="207317" y="461539"/>
                </a:lnTo>
                <a:lnTo>
                  <a:pt x="209223" y="492618"/>
                </a:lnTo>
                <a:lnTo>
                  <a:pt x="209644" y="509585"/>
                </a:lnTo>
                <a:lnTo>
                  <a:pt x="207677" y="526252"/>
                </a:lnTo>
                <a:lnTo>
                  <a:pt x="203407" y="542180"/>
                </a:lnTo>
                <a:lnTo>
                  <a:pt x="196919" y="556940"/>
                </a:lnTo>
                <a:lnTo>
                  <a:pt x="184063" y="583283"/>
                </a:lnTo>
                <a:lnTo>
                  <a:pt x="172015" y="614135"/>
                </a:lnTo>
                <a:lnTo>
                  <a:pt x="161211" y="650285"/>
                </a:lnTo>
                <a:lnTo>
                  <a:pt x="152089" y="692535"/>
                </a:lnTo>
                <a:lnTo>
                  <a:pt x="145964" y="735665"/>
                </a:lnTo>
                <a:lnTo>
                  <a:pt x="143420" y="774253"/>
                </a:lnTo>
                <a:lnTo>
                  <a:pt x="143800" y="808769"/>
                </a:lnTo>
                <a:lnTo>
                  <a:pt x="146443" y="839691"/>
                </a:lnTo>
                <a:lnTo>
                  <a:pt x="147274" y="856601"/>
                </a:lnTo>
                <a:lnTo>
                  <a:pt x="145708" y="873300"/>
                </a:lnTo>
                <a:lnTo>
                  <a:pt x="141825" y="889348"/>
                </a:lnTo>
                <a:lnTo>
                  <a:pt x="135699" y="904312"/>
                </a:lnTo>
                <a:lnTo>
                  <a:pt x="123475" y="931072"/>
                </a:lnTo>
                <a:lnTo>
                  <a:pt x="112165" y="962297"/>
                </a:lnTo>
                <a:lnTo>
                  <a:pt x="102225" y="998763"/>
                </a:lnTo>
                <a:lnTo>
                  <a:pt x="94112" y="1041243"/>
                </a:lnTo>
                <a:lnTo>
                  <a:pt x="89016" y="1084489"/>
                </a:lnTo>
                <a:lnTo>
                  <a:pt x="87390" y="1123069"/>
                </a:lnTo>
                <a:lnTo>
                  <a:pt x="88588" y="1157476"/>
                </a:lnTo>
                <a:lnTo>
                  <a:pt x="91964" y="1188208"/>
                </a:lnTo>
                <a:lnTo>
                  <a:pt x="93195" y="1205042"/>
                </a:lnTo>
                <a:lnTo>
                  <a:pt x="92030" y="1221756"/>
                </a:lnTo>
                <a:lnTo>
                  <a:pt x="88530" y="1237912"/>
                </a:lnTo>
                <a:lnTo>
                  <a:pt x="82757" y="1253074"/>
                </a:lnTo>
                <a:lnTo>
                  <a:pt x="71170" y="1280231"/>
                </a:lnTo>
                <a:lnTo>
                  <a:pt x="60610" y="1311810"/>
                </a:lnTo>
                <a:lnTo>
                  <a:pt x="51543" y="1348568"/>
                </a:lnTo>
                <a:lnTo>
                  <a:pt x="44437" y="1391260"/>
                </a:lnTo>
                <a:lnTo>
                  <a:pt x="40369" y="1434598"/>
                </a:lnTo>
                <a:lnTo>
                  <a:pt x="39656" y="1473145"/>
                </a:lnTo>
                <a:lnTo>
                  <a:pt x="41667" y="1507421"/>
                </a:lnTo>
                <a:lnTo>
                  <a:pt x="45764" y="1537953"/>
                </a:lnTo>
                <a:lnTo>
                  <a:pt x="47391" y="1554695"/>
                </a:lnTo>
                <a:lnTo>
                  <a:pt x="46622" y="1571411"/>
                </a:lnTo>
                <a:lnTo>
                  <a:pt x="43506" y="1587665"/>
                </a:lnTo>
                <a:lnTo>
                  <a:pt x="38095" y="1603010"/>
                </a:lnTo>
                <a:lnTo>
                  <a:pt x="27152" y="1630555"/>
                </a:lnTo>
                <a:lnTo>
                  <a:pt x="17336" y="1662471"/>
                </a:lnTo>
                <a:lnTo>
                  <a:pt x="9137" y="1699489"/>
                </a:lnTo>
                <a:lnTo>
                  <a:pt x="3039" y="1742340"/>
                </a:lnTo>
                <a:lnTo>
                  <a:pt x="0" y="1785739"/>
                </a:lnTo>
                <a:lnTo>
                  <a:pt x="160" y="1816469"/>
                </a:lnTo>
                <a:lnTo>
                  <a:pt x="195710" y="1672340"/>
                </a:lnTo>
                <a:lnTo>
                  <a:pt x="193734" y="1644645"/>
                </a:lnTo>
                <a:lnTo>
                  <a:pt x="189420" y="1614680"/>
                </a:lnTo>
                <a:lnTo>
                  <a:pt x="187719" y="1598196"/>
                </a:lnTo>
                <a:lnTo>
                  <a:pt x="188459" y="1581731"/>
                </a:lnTo>
                <a:lnTo>
                  <a:pt x="191580" y="1565743"/>
                </a:lnTo>
                <a:lnTo>
                  <a:pt x="197025" y="1550686"/>
                </a:lnTo>
                <a:lnTo>
                  <a:pt x="208111" y="1523781"/>
                </a:lnTo>
                <a:lnTo>
                  <a:pt x="218218" y="1492663"/>
                </a:lnTo>
                <a:lnTo>
                  <a:pt x="226935" y="1456577"/>
                </a:lnTo>
                <a:lnTo>
                  <a:pt x="233851" y="1414763"/>
                </a:lnTo>
                <a:lnTo>
                  <a:pt x="237975" y="1372339"/>
                </a:lnTo>
                <a:lnTo>
                  <a:pt x="238949" y="1334525"/>
                </a:lnTo>
                <a:lnTo>
                  <a:pt x="237347" y="1300792"/>
                </a:lnTo>
                <a:lnTo>
                  <a:pt x="233745" y="1270606"/>
                </a:lnTo>
                <a:lnTo>
                  <a:pt x="232440" y="1254046"/>
                </a:lnTo>
                <a:lnTo>
                  <a:pt x="233566" y="1237594"/>
                </a:lnTo>
                <a:lnTo>
                  <a:pt x="237063" y="1221705"/>
                </a:lnTo>
                <a:lnTo>
                  <a:pt x="242867" y="1206831"/>
                </a:lnTo>
                <a:lnTo>
                  <a:pt x="254585" y="1180301"/>
                </a:lnTo>
                <a:lnTo>
                  <a:pt x="265425" y="1149520"/>
                </a:lnTo>
                <a:lnTo>
                  <a:pt x="274994" y="1113715"/>
                </a:lnTo>
                <a:lnTo>
                  <a:pt x="282894" y="1072107"/>
                </a:lnTo>
                <a:lnTo>
                  <a:pt x="288022" y="1029767"/>
                </a:lnTo>
                <a:lnTo>
                  <a:pt x="289888" y="991932"/>
                </a:lnTo>
                <a:lnTo>
                  <a:pt x="289087" y="958083"/>
                </a:lnTo>
                <a:lnTo>
                  <a:pt x="286202" y="927706"/>
                </a:lnTo>
                <a:lnTo>
                  <a:pt x="285296" y="911069"/>
                </a:lnTo>
                <a:lnTo>
                  <a:pt x="286821" y="894632"/>
                </a:lnTo>
                <a:lnTo>
                  <a:pt x="290696" y="878850"/>
                </a:lnTo>
                <a:lnTo>
                  <a:pt x="296842" y="864175"/>
                </a:lnTo>
                <a:lnTo>
                  <a:pt x="309195" y="838058"/>
                </a:lnTo>
                <a:lnTo>
                  <a:pt x="320762" y="807642"/>
                </a:lnTo>
                <a:lnTo>
                  <a:pt x="346212" y="688538"/>
                </a:lnTo>
                <a:lnTo>
                  <a:pt x="348988" y="616761"/>
                </a:lnTo>
                <a:lnTo>
                  <a:pt x="346834" y="586223"/>
                </a:lnTo>
                <a:lnTo>
                  <a:pt x="346321" y="569500"/>
                </a:lnTo>
                <a:lnTo>
                  <a:pt x="348234" y="553082"/>
                </a:lnTo>
                <a:lnTo>
                  <a:pt x="352485" y="537420"/>
                </a:lnTo>
                <a:lnTo>
                  <a:pt x="358989" y="522965"/>
                </a:lnTo>
                <a:lnTo>
                  <a:pt x="371958" y="497268"/>
                </a:lnTo>
                <a:lnTo>
                  <a:pt x="384245" y="467241"/>
                </a:lnTo>
                <a:lnTo>
                  <a:pt x="412527" y="348860"/>
                </a:lnTo>
                <a:lnTo>
                  <a:pt x="417037" y="277025"/>
                </a:lnTo>
                <a:lnTo>
                  <a:pt x="415617" y="246322"/>
                </a:lnTo>
                <a:lnTo>
                  <a:pt x="415514" y="229558"/>
                </a:lnTo>
                <a:lnTo>
                  <a:pt x="417823" y="213184"/>
                </a:lnTo>
                <a:lnTo>
                  <a:pt x="422448" y="197653"/>
                </a:lnTo>
                <a:lnTo>
                  <a:pt x="429289" y="183418"/>
                </a:lnTo>
                <a:lnTo>
                  <a:pt x="442878" y="158159"/>
                </a:lnTo>
                <a:lnTo>
                  <a:pt x="455895" y="128531"/>
                </a:lnTo>
                <a:lnTo>
                  <a:pt x="468008" y="93712"/>
                </a:lnTo>
                <a:close/>
              </a:path>
            </a:pathLst>
          </a:custGeom>
          <a:solidFill>
            <a:schemeClr val="accent5">
              <a:alpha val="77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0" name="Freeform: Shape 129">
            <a:extLst>
              <a:ext uri="{FF2B5EF4-FFF2-40B4-BE49-F238E27FC236}">
                <a16:creationId xmlns:a16="http://schemas.microsoft.com/office/drawing/2014/main" id="{73E78902-D16C-A051-890E-46F71632D94F}"/>
              </a:ext>
            </a:extLst>
          </p:cNvPr>
          <p:cNvSpPr/>
          <p:nvPr/>
        </p:nvSpPr>
        <p:spPr>
          <a:xfrm rot="16200000" flipH="1">
            <a:off x="7586895" y="-257583"/>
            <a:ext cx="593956" cy="1046150"/>
          </a:xfrm>
          <a:custGeom>
            <a:avLst/>
            <a:gdLst>
              <a:gd name="connsiteX0" fmla="*/ 0 w 592862"/>
              <a:gd name="connsiteY0" fmla="*/ 1044223 h 1044223"/>
              <a:gd name="connsiteX1" fmla="*/ 0 w 592862"/>
              <a:gd name="connsiteY1" fmla="*/ 656675 h 1044223"/>
              <a:gd name="connsiteX2" fmla="*/ 394922 w 592862"/>
              <a:gd name="connsiteY2" fmla="*/ 0 h 1044223"/>
              <a:gd name="connsiteX3" fmla="*/ 538483 w 592862"/>
              <a:gd name="connsiteY3" fmla="*/ 42983 h 1044223"/>
              <a:gd name="connsiteX4" fmla="*/ 546097 w 592862"/>
              <a:gd name="connsiteY4" fmla="*/ 30309 h 1044223"/>
              <a:gd name="connsiteX5" fmla="*/ 592862 w 592862"/>
              <a:gd name="connsiteY5" fmla="*/ 58431 h 104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862" h="1044223">
                <a:moveTo>
                  <a:pt x="0" y="1044223"/>
                </a:moveTo>
                <a:lnTo>
                  <a:pt x="0" y="656675"/>
                </a:lnTo>
                <a:lnTo>
                  <a:pt x="394922" y="0"/>
                </a:lnTo>
                <a:lnTo>
                  <a:pt x="538483" y="42983"/>
                </a:lnTo>
                <a:lnTo>
                  <a:pt x="546097" y="30309"/>
                </a:lnTo>
                <a:lnTo>
                  <a:pt x="592862" y="58431"/>
                </a:lnTo>
                <a:close/>
              </a:path>
            </a:pathLst>
          </a:custGeom>
          <a:solidFill>
            <a:schemeClr val="accent5">
              <a:alpha val="77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4" name="Freeform 799">
            <a:extLst>
              <a:ext uri="{FF2B5EF4-FFF2-40B4-BE49-F238E27FC236}">
                <a16:creationId xmlns:a16="http://schemas.microsoft.com/office/drawing/2014/main" id="{A99C9CF2-F28E-262F-4907-74618A7A1100}"/>
              </a:ext>
            </a:extLst>
          </p:cNvPr>
          <p:cNvSpPr/>
          <p:nvPr/>
        </p:nvSpPr>
        <p:spPr>
          <a:xfrm rot="21439830" flipH="1">
            <a:off x="7997344" y="475246"/>
            <a:ext cx="1022705" cy="1142956"/>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chemeClr val="accent5">
              <a:alpha val="77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33" name="Graphic 32">
            <a:extLst>
              <a:ext uri="{FF2B5EF4-FFF2-40B4-BE49-F238E27FC236}">
                <a16:creationId xmlns:a16="http://schemas.microsoft.com/office/drawing/2014/main" id="{98C560BC-C268-0F49-67A3-0E1E7D836B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2247" y="816857"/>
            <a:ext cx="1728171" cy="487700"/>
          </a:xfrm>
          <a:prstGeom prst="rect">
            <a:avLst/>
          </a:prstGeom>
        </p:spPr>
      </p:pic>
      <p:sp>
        <p:nvSpPr>
          <p:cNvPr id="43" name="Text Placeholder 41">
            <a:extLst>
              <a:ext uri="{FF2B5EF4-FFF2-40B4-BE49-F238E27FC236}">
                <a16:creationId xmlns:a16="http://schemas.microsoft.com/office/drawing/2014/main" id="{71854B40-FBFB-6A60-7C66-15592ABF8106}"/>
              </a:ext>
            </a:extLst>
          </p:cNvPr>
          <p:cNvSpPr>
            <a:spLocks noGrp="1"/>
          </p:cNvSpPr>
          <p:nvPr>
            <p:ph type="body" sz="quarter" idx="12" hasCustomPrompt="1"/>
          </p:nvPr>
        </p:nvSpPr>
        <p:spPr>
          <a:xfrm>
            <a:off x="361368" y="4441873"/>
            <a:ext cx="6908404" cy="450759"/>
          </a:xfrm>
        </p:spPr>
        <p:txBody>
          <a:bodyPr>
            <a:noAutofit/>
          </a:bodyPr>
          <a:lstStyle>
            <a:lvl1pPr marL="0" indent="0">
              <a:buNone/>
              <a:defRPr sz="2400" b="0" i="0">
                <a:solidFill>
                  <a:schemeClr val="bg1"/>
                </a:solidFill>
                <a:latin typeface="TT Norms Pro" panose="02000503030000020003" pitchFamily="2" charset="0"/>
              </a:defRPr>
            </a:lvl1pPr>
            <a:lvl2pPr marL="456742" indent="0">
              <a:buNone/>
              <a:defRPr/>
            </a:lvl2pPr>
            <a:lvl3pPr marL="913486" indent="0">
              <a:buNone/>
              <a:defRPr/>
            </a:lvl3pPr>
            <a:lvl4pPr marL="1370228" indent="0">
              <a:buNone/>
              <a:defRPr/>
            </a:lvl4pPr>
            <a:lvl5pPr marL="1826971" indent="0">
              <a:buNone/>
              <a:defRPr/>
            </a:lvl5pPr>
          </a:lstStyle>
          <a:p>
            <a:pPr lvl="0"/>
            <a:r>
              <a:rPr lang="en-US"/>
              <a:t>Subtitle / Date</a:t>
            </a:r>
            <a:endParaRPr lang="en-IN"/>
          </a:p>
        </p:txBody>
      </p:sp>
      <p:sp>
        <p:nvSpPr>
          <p:cNvPr id="44" name="Freeform: Shape 43">
            <a:extLst>
              <a:ext uri="{FF2B5EF4-FFF2-40B4-BE49-F238E27FC236}">
                <a16:creationId xmlns:a16="http://schemas.microsoft.com/office/drawing/2014/main" id="{CB5A25B5-0FC4-C018-256D-533929E43EC7}"/>
              </a:ext>
            </a:extLst>
          </p:cNvPr>
          <p:cNvSpPr/>
          <p:nvPr/>
        </p:nvSpPr>
        <p:spPr>
          <a:xfrm rot="17966026">
            <a:off x="11419013" y="2012600"/>
            <a:ext cx="513448" cy="1305203"/>
          </a:xfrm>
          <a:custGeom>
            <a:avLst/>
            <a:gdLst>
              <a:gd name="connsiteX0" fmla="*/ 347516 w 513448"/>
              <a:gd name="connsiteY0" fmla="*/ 2293 h 1305203"/>
              <a:gd name="connsiteX1" fmla="*/ 355652 w 513448"/>
              <a:gd name="connsiteY1" fmla="*/ 17928 h 1305203"/>
              <a:gd name="connsiteX2" fmla="*/ 353179 w 513448"/>
              <a:gd name="connsiteY2" fmla="*/ 204704 h 1305203"/>
              <a:gd name="connsiteX3" fmla="*/ 330913 w 513448"/>
              <a:gd name="connsiteY3" fmla="*/ 311082 h 1305203"/>
              <a:gd name="connsiteX4" fmla="*/ 199799 w 513448"/>
              <a:gd name="connsiteY4" fmla="*/ 602998 h 1305203"/>
              <a:gd name="connsiteX5" fmla="*/ 182481 w 513448"/>
              <a:gd name="connsiteY5" fmla="*/ 729165 h 1305203"/>
              <a:gd name="connsiteX6" fmla="*/ 241855 w 513448"/>
              <a:gd name="connsiteY6" fmla="*/ 606709 h 1305203"/>
              <a:gd name="connsiteX7" fmla="*/ 354416 w 513448"/>
              <a:gd name="connsiteY7" fmla="*/ 442197 h 1305203"/>
              <a:gd name="connsiteX8" fmla="*/ 358126 w 513448"/>
              <a:gd name="connsiteY8" fmla="*/ 468171 h 1305203"/>
              <a:gd name="connsiteX9" fmla="*/ 510269 w 513448"/>
              <a:gd name="connsiteY9" fmla="*/ 1039635 h 1305203"/>
              <a:gd name="connsiteX10" fmla="*/ 513448 w 513448"/>
              <a:gd name="connsiteY10" fmla="*/ 1100522 h 1305203"/>
              <a:gd name="connsiteX11" fmla="*/ 150696 w 513448"/>
              <a:gd name="connsiteY11" fmla="*/ 1305203 h 1305203"/>
              <a:gd name="connsiteX12" fmla="*/ 134242 w 513448"/>
              <a:gd name="connsiteY12" fmla="*/ 1158380 h 1305203"/>
              <a:gd name="connsiteX13" fmla="*/ 130530 w 513448"/>
              <a:gd name="connsiteY13" fmla="*/ 630210 h 1305203"/>
              <a:gd name="connsiteX14" fmla="*/ 11786 w 513448"/>
              <a:gd name="connsiteY14" fmla="*/ 125541 h 1305203"/>
              <a:gd name="connsiteX15" fmla="*/ 26629 w 513448"/>
              <a:gd name="connsiteY15" fmla="*/ 48852 h 1305203"/>
              <a:gd name="connsiteX16" fmla="*/ 313597 w 513448"/>
              <a:gd name="connsiteY16" fmla="*/ 8032 h 1305203"/>
              <a:gd name="connsiteX17" fmla="*/ 347516 w 513448"/>
              <a:gd name="connsiteY17" fmla="*/ 2293 h 130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448" h="1305203">
                <a:moveTo>
                  <a:pt x="347516" y="2293"/>
                </a:moveTo>
                <a:cubicBezTo>
                  <a:pt x="351632" y="4786"/>
                  <a:pt x="354724" y="9579"/>
                  <a:pt x="355652" y="17928"/>
                </a:cubicBezTo>
                <a:cubicBezTo>
                  <a:pt x="356889" y="34007"/>
                  <a:pt x="354417" y="114409"/>
                  <a:pt x="353179" y="204704"/>
                </a:cubicBezTo>
                <a:cubicBezTo>
                  <a:pt x="349469" y="243049"/>
                  <a:pt x="338335" y="262841"/>
                  <a:pt x="330913" y="311082"/>
                </a:cubicBezTo>
                <a:cubicBezTo>
                  <a:pt x="309887" y="457039"/>
                  <a:pt x="236906" y="505280"/>
                  <a:pt x="199799" y="602998"/>
                </a:cubicBezTo>
                <a:cubicBezTo>
                  <a:pt x="177535" y="659897"/>
                  <a:pt x="182481" y="729165"/>
                  <a:pt x="182481" y="729165"/>
                </a:cubicBezTo>
                <a:cubicBezTo>
                  <a:pt x="182481" y="729165"/>
                  <a:pt x="180009" y="698242"/>
                  <a:pt x="241855" y="606709"/>
                </a:cubicBezTo>
                <a:cubicBezTo>
                  <a:pt x="267830" y="567126"/>
                  <a:pt x="318545" y="518885"/>
                  <a:pt x="354416" y="442197"/>
                </a:cubicBezTo>
                <a:cubicBezTo>
                  <a:pt x="355652" y="453328"/>
                  <a:pt x="356890" y="461987"/>
                  <a:pt x="358126" y="468171"/>
                </a:cubicBezTo>
                <a:cubicBezTo>
                  <a:pt x="374207" y="533730"/>
                  <a:pt x="495427" y="847911"/>
                  <a:pt x="510269" y="1039635"/>
                </a:cubicBezTo>
                <a:lnTo>
                  <a:pt x="513448" y="1100522"/>
                </a:lnTo>
                <a:lnTo>
                  <a:pt x="150696" y="1305203"/>
                </a:lnTo>
                <a:lnTo>
                  <a:pt x="134242" y="1158380"/>
                </a:lnTo>
                <a:cubicBezTo>
                  <a:pt x="116926" y="970365"/>
                  <a:pt x="165164" y="798433"/>
                  <a:pt x="130530" y="630210"/>
                </a:cubicBezTo>
                <a:cubicBezTo>
                  <a:pt x="100844" y="486726"/>
                  <a:pt x="11786" y="125541"/>
                  <a:pt x="11786" y="125541"/>
                </a:cubicBezTo>
                <a:cubicBezTo>
                  <a:pt x="11786" y="125541"/>
                  <a:pt x="-22849" y="66168"/>
                  <a:pt x="26629" y="48852"/>
                </a:cubicBezTo>
                <a:cubicBezTo>
                  <a:pt x="76106" y="31535"/>
                  <a:pt x="313597" y="8032"/>
                  <a:pt x="313597" y="8032"/>
                </a:cubicBezTo>
                <a:cubicBezTo>
                  <a:pt x="313597" y="8032"/>
                  <a:pt x="335166" y="-5187"/>
                  <a:pt x="347516" y="2293"/>
                </a:cubicBezTo>
                <a:close/>
              </a:path>
            </a:pathLst>
          </a:custGeom>
          <a:solidFill>
            <a:schemeClr val="accent5">
              <a:alpha val="77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41" name="Freeform: Shape 40">
            <a:extLst>
              <a:ext uri="{FF2B5EF4-FFF2-40B4-BE49-F238E27FC236}">
                <a16:creationId xmlns:a16="http://schemas.microsoft.com/office/drawing/2014/main" id="{588ED590-7225-2E9B-A5B0-5CB2EBECC23B}"/>
              </a:ext>
            </a:extLst>
          </p:cNvPr>
          <p:cNvSpPr/>
          <p:nvPr/>
        </p:nvSpPr>
        <p:spPr>
          <a:xfrm rot="17873927">
            <a:off x="11585177" y="1664989"/>
            <a:ext cx="584275" cy="1093123"/>
          </a:xfrm>
          <a:custGeom>
            <a:avLst/>
            <a:gdLst>
              <a:gd name="connsiteX0" fmla="*/ 66366 w 584275"/>
              <a:gd name="connsiteY0" fmla="*/ 1022165 h 1093123"/>
              <a:gd name="connsiteX1" fmla="*/ 62826 w 584275"/>
              <a:gd name="connsiteY1" fmla="*/ 1024039 h 1093123"/>
              <a:gd name="connsiteX2" fmla="*/ 86143 w 584275"/>
              <a:gd name="connsiteY2" fmla="*/ 1068080 h 1093123"/>
              <a:gd name="connsiteX3" fmla="*/ 0 w 584275"/>
              <a:gd name="connsiteY3" fmla="*/ 1093123 h 1093123"/>
              <a:gd name="connsiteX4" fmla="*/ 46181 w 584275"/>
              <a:gd name="connsiteY4" fmla="*/ 998309 h 1093123"/>
              <a:gd name="connsiteX5" fmla="*/ 578096 w 584275"/>
              <a:gd name="connsiteY5" fmla="*/ 110991 h 1093123"/>
              <a:gd name="connsiteX6" fmla="*/ 584247 w 584275"/>
              <a:gd name="connsiteY6" fmla="*/ 129982 h 1093123"/>
              <a:gd name="connsiteX7" fmla="*/ 496425 w 584275"/>
              <a:gd name="connsiteY7" fmla="*/ 293259 h 1093123"/>
              <a:gd name="connsiteX8" fmla="*/ 425919 w 584275"/>
              <a:gd name="connsiteY8" fmla="*/ 455295 h 1093123"/>
              <a:gd name="connsiteX9" fmla="*/ 408602 w 584275"/>
              <a:gd name="connsiteY9" fmla="*/ 754635 h 1093123"/>
              <a:gd name="connsiteX10" fmla="*/ 388519 w 584275"/>
              <a:gd name="connsiteY10" fmla="*/ 821398 h 1093123"/>
              <a:gd name="connsiteX11" fmla="*/ 377401 w 584275"/>
              <a:gd name="connsiteY11" fmla="*/ 857489 h 1093123"/>
              <a:gd name="connsiteX12" fmla="*/ 126165 w 584275"/>
              <a:gd name="connsiteY12" fmla="*/ 990505 h 1093123"/>
              <a:gd name="connsiteX13" fmla="*/ 112975 w 584275"/>
              <a:gd name="connsiteY13" fmla="*/ 967385 h 1093123"/>
              <a:gd name="connsiteX14" fmla="*/ 82051 w 584275"/>
              <a:gd name="connsiteY14" fmla="*/ 832561 h 1093123"/>
              <a:gd name="connsiteX15" fmla="*/ 114212 w 584275"/>
              <a:gd name="connsiteY15" fmla="*/ 444163 h 1093123"/>
              <a:gd name="connsiteX16" fmla="*/ 203271 w 584275"/>
              <a:gd name="connsiteY16" fmla="*/ 214093 h 1093123"/>
              <a:gd name="connsiteX17" fmla="*/ 268829 w 584275"/>
              <a:gd name="connsiteY17" fmla="*/ 266045 h 1093123"/>
              <a:gd name="connsiteX18" fmla="*/ 406128 w 584275"/>
              <a:gd name="connsiteY18" fmla="*/ 419425 h 1093123"/>
              <a:gd name="connsiteX19" fmla="*/ 377680 w 584275"/>
              <a:gd name="connsiteY19" fmla="*/ 334076 h 1093123"/>
              <a:gd name="connsiteX20" fmla="*/ 275013 w 584275"/>
              <a:gd name="connsiteY20" fmla="*/ 204198 h 1093123"/>
              <a:gd name="connsiteX21" fmla="*/ 235431 w 584275"/>
              <a:gd name="connsiteY21" fmla="*/ 61950 h 1093123"/>
              <a:gd name="connsiteX22" fmla="*/ 251434 w 584275"/>
              <a:gd name="connsiteY22" fmla="*/ 5592 h 1093123"/>
              <a:gd name="connsiteX23" fmla="*/ 276251 w 584275"/>
              <a:gd name="connsiteY23" fmla="*/ 104 h 1093123"/>
              <a:gd name="connsiteX24" fmla="*/ 422209 w 584275"/>
              <a:gd name="connsiteY24" fmla="*/ 43397 h 1093123"/>
              <a:gd name="connsiteX25" fmla="*/ 578096 w 584275"/>
              <a:gd name="connsiteY25" fmla="*/ 110991 h 109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4275" h="1093123">
                <a:moveTo>
                  <a:pt x="66366" y="1022165"/>
                </a:moveTo>
                <a:lnTo>
                  <a:pt x="62826" y="1024039"/>
                </a:lnTo>
                <a:lnTo>
                  <a:pt x="86143" y="1068080"/>
                </a:lnTo>
                <a:lnTo>
                  <a:pt x="0" y="1093123"/>
                </a:lnTo>
                <a:lnTo>
                  <a:pt x="46181" y="998309"/>
                </a:lnTo>
                <a:close/>
                <a:moveTo>
                  <a:pt x="578096" y="110991"/>
                </a:moveTo>
                <a:cubicBezTo>
                  <a:pt x="582295" y="116994"/>
                  <a:pt x="584556" y="123334"/>
                  <a:pt x="584247" y="129982"/>
                </a:cubicBezTo>
                <a:cubicBezTo>
                  <a:pt x="583010" y="149773"/>
                  <a:pt x="529821" y="231411"/>
                  <a:pt x="496425" y="293259"/>
                </a:cubicBezTo>
                <a:cubicBezTo>
                  <a:pt x="460553" y="360053"/>
                  <a:pt x="425919" y="455295"/>
                  <a:pt x="425919" y="455295"/>
                </a:cubicBezTo>
                <a:cubicBezTo>
                  <a:pt x="425919" y="455295"/>
                  <a:pt x="442000" y="639599"/>
                  <a:pt x="408602" y="754635"/>
                </a:cubicBezTo>
                <a:cubicBezTo>
                  <a:pt x="403191" y="773035"/>
                  <a:pt x="396349" y="795744"/>
                  <a:pt x="388519" y="821398"/>
                </a:cubicBezTo>
                <a:lnTo>
                  <a:pt x="377401" y="857489"/>
                </a:lnTo>
                <a:lnTo>
                  <a:pt x="126165" y="990505"/>
                </a:lnTo>
                <a:lnTo>
                  <a:pt x="112975" y="967385"/>
                </a:lnTo>
                <a:cubicBezTo>
                  <a:pt x="95659" y="938938"/>
                  <a:pt x="86999" y="889460"/>
                  <a:pt x="82051" y="832561"/>
                </a:cubicBezTo>
                <a:cubicBezTo>
                  <a:pt x="70920" y="611151"/>
                  <a:pt x="114212" y="444163"/>
                  <a:pt x="114212" y="444163"/>
                </a:cubicBezTo>
                <a:cubicBezTo>
                  <a:pt x="114212" y="444163"/>
                  <a:pt x="161215" y="298205"/>
                  <a:pt x="203271" y="214093"/>
                </a:cubicBezTo>
                <a:cubicBezTo>
                  <a:pt x="223063" y="232647"/>
                  <a:pt x="245327" y="251202"/>
                  <a:pt x="268829" y="266045"/>
                </a:cubicBezTo>
                <a:cubicBezTo>
                  <a:pt x="343045" y="313049"/>
                  <a:pt x="406128" y="419425"/>
                  <a:pt x="406128" y="419425"/>
                </a:cubicBezTo>
                <a:cubicBezTo>
                  <a:pt x="406128" y="419425"/>
                  <a:pt x="403654" y="378605"/>
                  <a:pt x="377680" y="334076"/>
                </a:cubicBezTo>
                <a:cubicBezTo>
                  <a:pt x="351703" y="289547"/>
                  <a:pt x="347993" y="289546"/>
                  <a:pt x="275013" y="204198"/>
                </a:cubicBezTo>
                <a:cubicBezTo>
                  <a:pt x="231720" y="152247"/>
                  <a:pt x="223063" y="107718"/>
                  <a:pt x="235431" y="61950"/>
                </a:cubicBezTo>
                <a:cubicBezTo>
                  <a:pt x="240070" y="45252"/>
                  <a:pt x="234967" y="17421"/>
                  <a:pt x="251434" y="5592"/>
                </a:cubicBezTo>
                <a:cubicBezTo>
                  <a:pt x="256924" y="1650"/>
                  <a:pt x="264809" y="-515"/>
                  <a:pt x="276251" y="104"/>
                </a:cubicBezTo>
                <a:cubicBezTo>
                  <a:pt x="322017" y="2578"/>
                  <a:pt x="422209" y="43397"/>
                  <a:pt x="422209" y="43397"/>
                </a:cubicBezTo>
                <a:cubicBezTo>
                  <a:pt x="424374" y="43398"/>
                  <a:pt x="548704" y="68967"/>
                  <a:pt x="578096" y="110991"/>
                </a:cubicBezTo>
                <a:close/>
              </a:path>
            </a:pathLst>
          </a:custGeom>
          <a:solidFill>
            <a:schemeClr val="accent5">
              <a:alpha val="77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18" name="Text Placeholder 38">
            <a:extLst>
              <a:ext uri="{FF2B5EF4-FFF2-40B4-BE49-F238E27FC236}">
                <a16:creationId xmlns:a16="http://schemas.microsoft.com/office/drawing/2014/main" id="{35C9F9B6-2A70-E9E2-4ED0-26911B2AB15C}"/>
              </a:ext>
            </a:extLst>
          </p:cNvPr>
          <p:cNvSpPr>
            <a:spLocks noGrp="1"/>
          </p:cNvSpPr>
          <p:nvPr>
            <p:ph type="body" sz="quarter" idx="11" hasCustomPrompt="1"/>
          </p:nvPr>
        </p:nvSpPr>
        <p:spPr>
          <a:xfrm>
            <a:off x="361368" y="3057729"/>
            <a:ext cx="6908404" cy="1309205"/>
          </a:xfrm>
        </p:spPr>
        <p:txBody>
          <a:bodyPr wrap="square" lIns="0" tIns="0" rIns="0" bIns="0" anchor="b">
            <a:spAutoFit/>
          </a:bodyPr>
          <a:lstStyle>
            <a:lvl1pPr marL="0" indent="0">
              <a:lnSpc>
                <a:spcPct val="87000"/>
              </a:lnSpc>
              <a:buNone/>
              <a:defRPr sz="4800">
                <a:solidFill>
                  <a:schemeClr val="bg1"/>
                </a:solidFill>
                <a:latin typeface="+mj-lt"/>
              </a:defRPr>
            </a:lvl1pPr>
            <a:lvl2pPr marL="456742" indent="0">
              <a:buNone/>
              <a:defRPr/>
            </a:lvl2pPr>
            <a:lvl3pPr marL="913486" indent="0">
              <a:buNone/>
              <a:defRPr/>
            </a:lvl3pPr>
            <a:lvl4pPr marL="1370228" indent="0">
              <a:buNone/>
              <a:defRPr/>
            </a:lvl4pPr>
            <a:lvl5pPr marL="1826971" indent="0">
              <a:buNone/>
              <a:defRPr/>
            </a:lvl5pPr>
          </a:lstStyle>
          <a:p>
            <a:pPr lvl="0"/>
            <a:r>
              <a:rPr lang="en-US"/>
              <a:t>Presenter or Presentation Name</a:t>
            </a:r>
          </a:p>
        </p:txBody>
      </p:sp>
      <p:pic>
        <p:nvPicPr>
          <p:cNvPr id="2" name="Graphic 1">
            <a:extLst>
              <a:ext uri="{FF2B5EF4-FFF2-40B4-BE49-F238E27FC236}">
                <a16:creationId xmlns:a16="http://schemas.microsoft.com/office/drawing/2014/main" id="{93344912-68B5-5E27-D017-C00A79CA0227}"/>
              </a:ext>
            </a:extLst>
          </p:cNvPr>
          <p:cNvPicPr>
            <a:picLocks noChangeAspect="1"/>
          </p:cNvPicPr>
          <p:nvPr userDrawn="1"/>
        </p:nvPicPr>
        <p:blipFill>
          <a:blip r:embed="rId4">
            <a:extLst>
              <a:ext uri="{96DAC541-7B7A-43D3-8B79-37D633B846F1}">
                <asvg:svgBlip xmlns:asvg="http://schemas.microsoft.com/office/drawing/2016/SVG/main" r:embed="rId6"/>
              </a:ext>
            </a:extLst>
          </a:blip>
          <a:stretch>
            <a:fillRect/>
          </a:stretch>
        </p:blipFill>
        <p:spPr>
          <a:xfrm>
            <a:off x="352247" y="816857"/>
            <a:ext cx="1728171" cy="487700"/>
          </a:xfrm>
          <a:prstGeom prst="rect">
            <a:avLst/>
          </a:prstGeom>
        </p:spPr>
      </p:pic>
      <p:sp>
        <p:nvSpPr>
          <p:cNvPr id="3" name="Freeform: Shape 2">
            <a:extLst>
              <a:ext uri="{FF2B5EF4-FFF2-40B4-BE49-F238E27FC236}">
                <a16:creationId xmlns:a16="http://schemas.microsoft.com/office/drawing/2014/main" id="{8F2091C9-9547-BB31-D4D0-36C8E1EFA09A}"/>
              </a:ext>
            </a:extLst>
          </p:cNvPr>
          <p:cNvSpPr/>
          <p:nvPr userDrawn="1"/>
        </p:nvSpPr>
        <p:spPr>
          <a:xfrm rot="17966026">
            <a:off x="11419013" y="2012600"/>
            <a:ext cx="513448" cy="1305203"/>
          </a:xfrm>
          <a:custGeom>
            <a:avLst/>
            <a:gdLst>
              <a:gd name="connsiteX0" fmla="*/ 347516 w 513448"/>
              <a:gd name="connsiteY0" fmla="*/ 2293 h 1305203"/>
              <a:gd name="connsiteX1" fmla="*/ 355652 w 513448"/>
              <a:gd name="connsiteY1" fmla="*/ 17928 h 1305203"/>
              <a:gd name="connsiteX2" fmla="*/ 353179 w 513448"/>
              <a:gd name="connsiteY2" fmla="*/ 204704 h 1305203"/>
              <a:gd name="connsiteX3" fmla="*/ 330913 w 513448"/>
              <a:gd name="connsiteY3" fmla="*/ 311082 h 1305203"/>
              <a:gd name="connsiteX4" fmla="*/ 199799 w 513448"/>
              <a:gd name="connsiteY4" fmla="*/ 602998 h 1305203"/>
              <a:gd name="connsiteX5" fmla="*/ 182481 w 513448"/>
              <a:gd name="connsiteY5" fmla="*/ 729165 h 1305203"/>
              <a:gd name="connsiteX6" fmla="*/ 241855 w 513448"/>
              <a:gd name="connsiteY6" fmla="*/ 606709 h 1305203"/>
              <a:gd name="connsiteX7" fmla="*/ 354416 w 513448"/>
              <a:gd name="connsiteY7" fmla="*/ 442197 h 1305203"/>
              <a:gd name="connsiteX8" fmla="*/ 358126 w 513448"/>
              <a:gd name="connsiteY8" fmla="*/ 468171 h 1305203"/>
              <a:gd name="connsiteX9" fmla="*/ 510269 w 513448"/>
              <a:gd name="connsiteY9" fmla="*/ 1039635 h 1305203"/>
              <a:gd name="connsiteX10" fmla="*/ 513448 w 513448"/>
              <a:gd name="connsiteY10" fmla="*/ 1100522 h 1305203"/>
              <a:gd name="connsiteX11" fmla="*/ 150696 w 513448"/>
              <a:gd name="connsiteY11" fmla="*/ 1305203 h 1305203"/>
              <a:gd name="connsiteX12" fmla="*/ 134242 w 513448"/>
              <a:gd name="connsiteY12" fmla="*/ 1158380 h 1305203"/>
              <a:gd name="connsiteX13" fmla="*/ 130530 w 513448"/>
              <a:gd name="connsiteY13" fmla="*/ 630210 h 1305203"/>
              <a:gd name="connsiteX14" fmla="*/ 11786 w 513448"/>
              <a:gd name="connsiteY14" fmla="*/ 125541 h 1305203"/>
              <a:gd name="connsiteX15" fmla="*/ 26629 w 513448"/>
              <a:gd name="connsiteY15" fmla="*/ 48852 h 1305203"/>
              <a:gd name="connsiteX16" fmla="*/ 313597 w 513448"/>
              <a:gd name="connsiteY16" fmla="*/ 8032 h 1305203"/>
              <a:gd name="connsiteX17" fmla="*/ 347516 w 513448"/>
              <a:gd name="connsiteY17" fmla="*/ 2293 h 130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448" h="1305203">
                <a:moveTo>
                  <a:pt x="347516" y="2293"/>
                </a:moveTo>
                <a:cubicBezTo>
                  <a:pt x="351632" y="4786"/>
                  <a:pt x="354724" y="9579"/>
                  <a:pt x="355652" y="17928"/>
                </a:cubicBezTo>
                <a:cubicBezTo>
                  <a:pt x="356889" y="34007"/>
                  <a:pt x="354417" y="114409"/>
                  <a:pt x="353179" y="204704"/>
                </a:cubicBezTo>
                <a:cubicBezTo>
                  <a:pt x="349469" y="243049"/>
                  <a:pt x="338335" y="262841"/>
                  <a:pt x="330913" y="311082"/>
                </a:cubicBezTo>
                <a:cubicBezTo>
                  <a:pt x="309887" y="457039"/>
                  <a:pt x="236906" y="505280"/>
                  <a:pt x="199799" y="602998"/>
                </a:cubicBezTo>
                <a:cubicBezTo>
                  <a:pt x="177535" y="659897"/>
                  <a:pt x="182481" y="729165"/>
                  <a:pt x="182481" y="729165"/>
                </a:cubicBezTo>
                <a:cubicBezTo>
                  <a:pt x="182481" y="729165"/>
                  <a:pt x="180009" y="698242"/>
                  <a:pt x="241855" y="606709"/>
                </a:cubicBezTo>
                <a:cubicBezTo>
                  <a:pt x="267830" y="567126"/>
                  <a:pt x="318545" y="518885"/>
                  <a:pt x="354416" y="442197"/>
                </a:cubicBezTo>
                <a:cubicBezTo>
                  <a:pt x="355652" y="453328"/>
                  <a:pt x="356890" y="461987"/>
                  <a:pt x="358126" y="468171"/>
                </a:cubicBezTo>
                <a:cubicBezTo>
                  <a:pt x="374207" y="533730"/>
                  <a:pt x="495427" y="847911"/>
                  <a:pt x="510269" y="1039635"/>
                </a:cubicBezTo>
                <a:lnTo>
                  <a:pt x="513448" y="1100522"/>
                </a:lnTo>
                <a:lnTo>
                  <a:pt x="150696" y="1305203"/>
                </a:lnTo>
                <a:lnTo>
                  <a:pt x="134242" y="1158380"/>
                </a:lnTo>
                <a:cubicBezTo>
                  <a:pt x="116926" y="970365"/>
                  <a:pt x="165164" y="798433"/>
                  <a:pt x="130530" y="630210"/>
                </a:cubicBezTo>
                <a:cubicBezTo>
                  <a:pt x="100844" y="486726"/>
                  <a:pt x="11786" y="125541"/>
                  <a:pt x="11786" y="125541"/>
                </a:cubicBezTo>
                <a:cubicBezTo>
                  <a:pt x="11786" y="125541"/>
                  <a:pt x="-22849" y="66168"/>
                  <a:pt x="26629" y="48852"/>
                </a:cubicBezTo>
                <a:cubicBezTo>
                  <a:pt x="76106" y="31535"/>
                  <a:pt x="313597" y="8032"/>
                  <a:pt x="313597" y="8032"/>
                </a:cubicBezTo>
                <a:cubicBezTo>
                  <a:pt x="313597" y="8032"/>
                  <a:pt x="335166" y="-5187"/>
                  <a:pt x="347516" y="2293"/>
                </a:cubicBezTo>
                <a:close/>
              </a:path>
            </a:pathLst>
          </a:custGeom>
          <a:solidFill>
            <a:schemeClr val="accent5">
              <a:alpha val="77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19" name="Freeform: Shape 18">
            <a:extLst>
              <a:ext uri="{FF2B5EF4-FFF2-40B4-BE49-F238E27FC236}">
                <a16:creationId xmlns:a16="http://schemas.microsoft.com/office/drawing/2014/main" id="{5A61686B-53D2-72B6-69B2-7181204FB92B}"/>
              </a:ext>
            </a:extLst>
          </p:cNvPr>
          <p:cNvSpPr/>
          <p:nvPr userDrawn="1"/>
        </p:nvSpPr>
        <p:spPr>
          <a:xfrm rot="17873927">
            <a:off x="11585177" y="1664989"/>
            <a:ext cx="584275" cy="1093123"/>
          </a:xfrm>
          <a:custGeom>
            <a:avLst/>
            <a:gdLst>
              <a:gd name="connsiteX0" fmla="*/ 66366 w 584275"/>
              <a:gd name="connsiteY0" fmla="*/ 1022165 h 1093123"/>
              <a:gd name="connsiteX1" fmla="*/ 62826 w 584275"/>
              <a:gd name="connsiteY1" fmla="*/ 1024039 h 1093123"/>
              <a:gd name="connsiteX2" fmla="*/ 86143 w 584275"/>
              <a:gd name="connsiteY2" fmla="*/ 1068080 h 1093123"/>
              <a:gd name="connsiteX3" fmla="*/ 0 w 584275"/>
              <a:gd name="connsiteY3" fmla="*/ 1093123 h 1093123"/>
              <a:gd name="connsiteX4" fmla="*/ 46181 w 584275"/>
              <a:gd name="connsiteY4" fmla="*/ 998309 h 1093123"/>
              <a:gd name="connsiteX5" fmla="*/ 578096 w 584275"/>
              <a:gd name="connsiteY5" fmla="*/ 110991 h 1093123"/>
              <a:gd name="connsiteX6" fmla="*/ 584247 w 584275"/>
              <a:gd name="connsiteY6" fmla="*/ 129982 h 1093123"/>
              <a:gd name="connsiteX7" fmla="*/ 496425 w 584275"/>
              <a:gd name="connsiteY7" fmla="*/ 293259 h 1093123"/>
              <a:gd name="connsiteX8" fmla="*/ 425919 w 584275"/>
              <a:gd name="connsiteY8" fmla="*/ 455295 h 1093123"/>
              <a:gd name="connsiteX9" fmla="*/ 408602 w 584275"/>
              <a:gd name="connsiteY9" fmla="*/ 754635 h 1093123"/>
              <a:gd name="connsiteX10" fmla="*/ 388519 w 584275"/>
              <a:gd name="connsiteY10" fmla="*/ 821398 h 1093123"/>
              <a:gd name="connsiteX11" fmla="*/ 377401 w 584275"/>
              <a:gd name="connsiteY11" fmla="*/ 857489 h 1093123"/>
              <a:gd name="connsiteX12" fmla="*/ 126165 w 584275"/>
              <a:gd name="connsiteY12" fmla="*/ 990505 h 1093123"/>
              <a:gd name="connsiteX13" fmla="*/ 112975 w 584275"/>
              <a:gd name="connsiteY13" fmla="*/ 967385 h 1093123"/>
              <a:gd name="connsiteX14" fmla="*/ 82051 w 584275"/>
              <a:gd name="connsiteY14" fmla="*/ 832561 h 1093123"/>
              <a:gd name="connsiteX15" fmla="*/ 114212 w 584275"/>
              <a:gd name="connsiteY15" fmla="*/ 444163 h 1093123"/>
              <a:gd name="connsiteX16" fmla="*/ 203271 w 584275"/>
              <a:gd name="connsiteY16" fmla="*/ 214093 h 1093123"/>
              <a:gd name="connsiteX17" fmla="*/ 268829 w 584275"/>
              <a:gd name="connsiteY17" fmla="*/ 266045 h 1093123"/>
              <a:gd name="connsiteX18" fmla="*/ 406128 w 584275"/>
              <a:gd name="connsiteY18" fmla="*/ 419425 h 1093123"/>
              <a:gd name="connsiteX19" fmla="*/ 377680 w 584275"/>
              <a:gd name="connsiteY19" fmla="*/ 334076 h 1093123"/>
              <a:gd name="connsiteX20" fmla="*/ 275013 w 584275"/>
              <a:gd name="connsiteY20" fmla="*/ 204198 h 1093123"/>
              <a:gd name="connsiteX21" fmla="*/ 235431 w 584275"/>
              <a:gd name="connsiteY21" fmla="*/ 61950 h 1093123"/>
              <a:gd name="connsiteX22" fmla="*/ 251434 w 584275"/>
              <a:gd name="connsiteY22" fmla="*/ 5592 h 1093123"/>
              <a:gd name="connsiteX23" fmla="*/ 276251 w 584275"/>
              <a:gd name="connsiteY23" fmla="*/ 104 h 1093123"/>
              <a:gd name="connsiteX24" fmla="*/ 422209 w 584275"/>
              <a:gd name="connsiteY24" fmla="*/ 43397 h 1093123"/>
              <a:gd name="connsiteX25" fmla="*/ 578096 w 584275"/>
              <a:gd name="connsiteY25" fmla="*/ 110991 h 109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4275" h="1093123">
                <a:moveTo>
                  <a:pt x="66366" y="1022165"/>
                </a:moveTo>
                <a:lnTo>
                  <a:pt x="62826" y="1024039"/>
                </a:lnTo>
                <a:lnTo>
                  <a:pt x="86143" y="1068080"/>
                </a:lnTo>
                <a:lnTo>
                  <a:pt x="0" y="1093123"/>
                </a:lnTo>
                <a:lnTo>
                  <a:pt x="46181" y="998309"/>
                </a:lnTo>
                <a:close/>
                <a:moveTo>
                  <a:pt x="578096" y="110991"/>
                </a:moveTo>
                <a:cubicBezTo>
                  <a:pt x="582295" y="116994"/>
                  <a:pt x="584556" y="123334"/>
                  <a:pt x="584247" y="129982"/>
                </a:cubicBezTo>
                <a:cubicBezTo>
                  <a:pt x="583010" y="149773"/>
                  <a:pt x="529821" y="231411"/>
                  <a:pt x="496425" y="293259"/>
                </a:cubicBezTo>
                <a:cubicBezTo>
                  <a:pt x="460553" y="360053"/>
                  <a:pt x="425919" y="455295"/>
                  <a:pt x="425919" y="455295"/>
                </a:cubicBezTo>
                <a:cubicBezTo>
                  <a:pt x="425919" y="455295"/>
                  <a:pt x="442000" y="639599"/>
                  <a:pt x="408602" y="754635"/>
                </a:cubicBezTo>
                <a:cubicBezTo>
                  <a:pt x="403191" y="773035"/>
                  <a:pt x="396349" y="795744"/>
                  <a:pt x="388519" y="821398"/>
                </a:cubicBezTo>
                <a:lnTo>
                  <a:pt x="377401" y="857489"/>
                </a:lnTo>
                <a:lnTo>
                  <a:pt x="126165" y="990505"/>
                </a:lnTo>
                <a:lnTo>
                  <a:pt x="112975" y="967385"/>
                </a:lnTo>
                <a:cubicBezTo>
                  <a:pt x="95659" y="938938"/>
                  <a:pt x="86999" y="889460"/>
                  <a:pt x="82051" y="832561"/>
                </a:cubicBezTo>
                <a:cubicBezTo>
                  <a:pt x="70920" y="611151"/>
                  <a:pt x="114212" y="444163"/>
                  <a:pt x="114212" y="444163"/>
                </a:cubicBezTo>
                <a:cubicBezTo>
                  <a:pt x="114212" y="444163"/>
                  <a:pt x="161215" y="298205"/>
                  <a:pt x="203271" y="214093"/>
                </a:cubicBezTo>
                <a:cubicBezTo>
                  <a:pt x="223063" y="232647"/>
                  <a:pt x="245327" y="251202"/>
                  <a:pt x="268829" y="266045"/>
                </a:cubicBezTo>
                <a:cubicBezTo>
                  <a:pt x="343045" y="313049"/>
                  <a:pt x="406128" y="419425"/>
                  <a:pt x="406128" y="419425"/>
                </a:cubicBezTo>
                <a:cubicBezTo>
                  <a:pt x="406128" y="419425"/>
                  <a:pt x="403654" y="378605"/>
                  <a:pt x="377680" y="334076"/>
                </a:cubicBezTo>
                <a:cubicBezTo>
                  <a:pt x="351703" y="289547"/>
                  <a:pt x="347993" y="289546"/>
                  <a:pt x="275013" y="204198"/>
                </a:cubicBezTo>
                <a:cubicBezTo>
                  <a:pt x="231720" y="152247"/>
                  <a:pt x="223063" y="107718"/>
                  <a:pt x="235431" y="61950"/>
                </a:cubicBezTo>
                <a:cubicBezTo>
                  <a:pt x="240070" y="45252"/>
                  <a:pt x="234967" y="17421"/>
                  <a:pt x="251434" y="5592"/>
                </a:cubicBezTo>
                <a:cubicBezTo>
                  <a:pt x="256924" y="1650"/>
                  <a:pt x="264809" y="-515"/>
                  <a:pt x="276251" y="104"/>
                </a:cubicBezTo>
                <a:cubicBezTo>
                  <a:pt x="322017" y="2578"/>
                  <a:pt x="422209" y="43397"/>
                  <a:pt x="422209" y="43397"/>
                </a:cubicBezTo>
                <a:cubicBezTo>
                  <a:pt x="424374" y="43398"/>
                  <a:pt x="548704" y="68967"/>
                  <a:pt x="578096" y="110991"/>
                </a:cubicBezTo>
                <a:close/>
              </a:path>
            </a:pathLst>
          </a:custGeom>
          <a:solidFill>
            <a:schemeClr val="accent5">
              <a:alpha val="77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Tree>
    <p:extLst>
      <p:ext uri="{BB962C8B-B14F-4D97-AF65-F5344CB8AC3E}">
        <p14:creationId xmlns:p14="http://schemas.microsoft.com/office/powerpoint/2010/main" val="3966465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over Slide 1 - Purple">
    <p:bg>
      <p:bgPr>
        <a:solidFill>
          <a:schemeClr val="bg2"/>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33E4284-51D7-8918-61F2-AF2A1AA04527}"/>
              </a:ext>
            </a:extLst>
          </p:cNvPr>
          <p:cNvGrpSpPr/>
          <p:nvPr/>
        </p:nvGrpSpPr>
        <p:grpSpPr>
          <a:xfrm flipH="1">
            <a:off x="6760464" y="4450296"/>
            <a:ext cx="1874961" cy="2088384"/>
            <a:chOff x="3544292" y="4551489"/>
            <a:chExt cx="2527193" cy="2814866"/>
          </a:xfrm>
          <a:solidFill>
            <a:schemeClr val="accent5">
              <a:alpha val="68000"/>
            </a:schemeClr>
          </a:solidFill>
        </p:grpSpPr>
        <p:sp>
          <p:nvSpPr>
            <p:cNvPr id="24" name="Freeform: Shape 34">
              <a:extLst>
                <a:ext uri="{FF2B5EF4-FFF2-40B4-BE49-F238E27FC236}">
                  <a16:creationId xmlns:a16="http://schemas.microsoft.com/office/drawing/2014/main" id="{D2CB58BE-A73B-3C76-A9EC-F322E5DAF496}"/>
                </a:ext>
              </a:extLst>
            </p:cNvPr>
            <p:cNvSpPr/>
            <p:nvPr/>
          </p:nvSpPr>
          <p:spPr>
            <a:xfrm rot="20018510">
              <a:off x="3544292" y="5981920"/>
              <a:ext cx="1163406" cy="1384435"/>
            </a:xfrm>
            <a:custGeom>
              <a:avLst/>
              <a:gdLst>
                <a:gd name="connsiteX0" fmla="*/ 1019074 w 1163406"/>
                <a:gd name="connsiteY0" fmla="*/ 895713 h 1384435"/>
                <a:gd name="connsiteX1" fmla="*/ 796268 w 1163406"/>
                <a:gd name="connsiteY1" fmla="*/ 729391 h 1384435"/>
                <a:gd name="connsiteX2" fmla="*/ 606580 w 1163406"/>
                <a:gd name="connsiteY2" fmla="*/ 757540 h 1384435"/>
                <a:gd name="connsiteX3" fmla="*/ 582478 w 1163406"/>
                <a:gd name="connsiteY3" fmla="*/ 719088 h 1384435"/>
                <a:gd name="connsiteX4" fmla="*/ 514404 w 1163406"/>
                <a:gd name="connsiteY4" fmla="*/ 684315 h 1384435"/>
                <a:gd name="connsiteX5" fmla="*/ 545681 w 1163406"/>
                <a:gd name="connsiteY5" fmla="*/ 616792 h 1384435"/>
                <a:gd name="connsiteX6" fmla="*/ 544025 w 1163406"/>
                <a:gd name="connsiteY6" fmla="*/ 577787 h 1384435"/>
                <a:gd name="connsiteX7" fmla="*/ 592229 w 1163406"/>
                <a:gd name="connsiteY7" fmla="*/ 560309 h 1384435"/>
                <a:gd name="connsiteX8" fmla="*/ 628842 w 1163406"/>
                <a:gd name="connsiteY8" fmla="*/ 556261 h 1384435"/>
                <a:gd name="connsiteX9" fmla="*/ 728010 w 1163406"/>
                <a:gd name="connsiteY9" fmla="*/ 654509 h 1384435"/>
                <a:gd name="connsiteX10" fmla="*/ 924138 w 1163406"/>
                <a:gd name="connsiteY10" fmla="*/ 662420 h 1384435"/>
                <a:gd name="connsiteX11" fmla="*/ 1100395 w 1163406"/>
                <a:gd name="connsiteY11" fmla="*/ 577051 h 1384435"/>
                <a:gd name="connsiteX12" fmla="*/ 1163318 w 1163406"/>
                <a:gd name="connsiteY12" fmla="*/ 412201 h 1384435"/>
                <a:gd name="connsiteX13" fmla="*/ 1077581 w 1163406"/>
                <a:gd name="connsiteY13" fmla="*/ 229872 h 1384435"/>
                <a:gd name="connsiteX14" fmla="*/ 982645 w 1163406"/>
                <a:gd name="connsiteY14" fmla="*/ 151311 h 1384435"/>
                <a:gd name="connsiteX15" fmla="*/ 939224 w 1163406"/>
                <a:gd name="connsiteY15" fmla="*/ 99979 h 1384435"/>
                <a:gd name="connsiteX16" fmla="*/ 858823 w 1163406"/>
                <a:gd name="connsiteY16" fmla="*/ 56375 h 1384435"/>
                <a:gd name="connsiteX17" fmla="*/ 649449 w 1163406"/>
                <a:gd name="connsiteY17" fmla="*/ 4491 h 1384435"/>
                <a:gd name="connsiteX18" fmla="*/ 486806 w 1163406"/>
                <a:gd name="connsiteY18" fmla="*/ 69070 h 1384435"/>
                <a:gd name="connsiteX19" fmla="*/ 358385 w 1163406"/>
                <a:gd name="connsiteY19" fmla="*/ 106971 h 1384435"/>
                <a:gd name="connsiteX20" fmla="*/ 298958 w 1163406"/>
                <a:gd name="connsiteY20" fmla="*/ 161246 h 1384435"/>
                <a:gd name="connsiteX21" fmla="*/ 223340 w 1163406"/>
                <a:gd name="connsiteY21" fmla="*/ 213866 h 1384435"/>
                <a:gd name="connsiteX22" fmla="*/ 159497 w 1163406"/>
                <a:gd name="connsiteY22" fmla="*/ 282676 h 1384435"/>
                <a:gd name="connsiteX23" fmla="*/ 72472 w 1163406"/>
                <a:gd name="connsiteY23" fmla="*/ 404658 h 1384435"/>
                <a:gd name="connsiteX24" fmla="*/ 59961 w 1163406"/>
                <a:gd name="connsiteY24" fmla="*/ 465005 h 1384435"/>
                <a:gd name="connsiteX25" fmla="*/ 62721 w 1163406"/>
                <a:gd name="connsiteY25" fmla="*/ 470340 h 1384435"/>
                <a:gd name="connsiteX26" fmla="*/ 44323 w 1163406"/>
                <a:gd name="connsiteY26" fmla="*/ 509529 h 1384435"/>
                <a:gd name="connsiteX27" fmla="*/ 41747 w 1163406"/>
                <a:gd name="connsiteY27" fmla="*/ 588275 h 1384435"/>
                <a:gd name="connsiteX28" fmla="*/ 11573 w 1163406"/>
                <a:gd name="connsiteY28" fmla="*/ 611273 h 1384435"/>
                <a:gd name="connsiteX29" fmla="*/ 20589 w 1163406"/>
                <a:gd name="connsiteY29" fmla="*/ 680635 h 1384435"/>
                <a:gd name="connsiteX30" fmla="*/ 3110 w 1163406"/>
                <a:gd name="connsiteY30" fmla="*/ 774467 h 1384435"/>
                <a:gd name="connsiteX31" fmla="*/ 52234 w 1163406"/>
                <a:gd name="connsiteY31" fmla="*/ 894609 h 1384435"/>
                <a:gd name="connsiteX32" fmla="*/ 151034 w 1163406"/>
                <a:gd name="connsiteY32" fmla="*/ 1066451 h 1384435"/>
                <a:gd name="connsiteX33" fmla="*/ 246706 w 1163406"/>
                <a:gd name="connsiteY33" fmla="*/ 1174082 h 1384435"/>
                <a:gd name="connsiteX34" fmla="*/ 377887 w 1163406"/>
                <a:gd name="connsiteY34" fmla="*/ 1242708 h 1384435"/>
                <a:gd name="connsiteX35" fmla="*/ 443938 w 1163406"/>
                <a:gd name="connsiteY35" fmla="*/ 1287784 h 1384435"/>
                <a:gd name="connsiteX36" fmla="*/ 568311 w 1163406"/>
                <a:gd name="connsiteY36" fmla="*/ 1314278 h 1384435"/>
                <a:gd name="connsiteX37" fmla="*/ 750272 w 1163406"/>
                <a:gd name="connsiteY37" fmla="*/ 1384192 h 1384435"/>
                <a:gd name="connsiteX38" fmla="*/ 856431 w 1163406"/>
                <a:gd name="connsiteY38" fmla="*/ 1328445 h 1384435"/>
                <a:gd name="connsiteX39" fmla="*/ 1011346 w 1163406"/>
                <a:gd name="connsiteY39" fmla="*/ 1209959 h 1384435"/>
                <a:gd name="connsiteX40" fmla="*/ 1019074 w 1163406"/>
                <a:gd name="connsiteY40" fmla="*/ 895713 h 138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63406" h="1384435">
                  <a:moveTo>
                    <a:pt x="1019074" y="895713"/>
                  </a:moveTo>
                  <a:cubicBezTo>
                    <a:pt x="980621" y="805192"/>
                    <a:pt x="910339" y="767292"/>
                    <a:pt x="796268" y="729391"/>
                  </a:cubicBezTo>
                  <a:cubicBezTo>
                    <a:pt x="682198" y="691490"/>
                    <a:pt x="606580" y="757540"/>
                    <a:pt x="606580" y="757540"/>
                  </a:cubicBezTo>
                  <a:cubicBezTo>
                    <a:pt x="606580" y="757540"/>
                    <a:pt x="599773" y="741534"/>
                    <a:pt x="582478" y="719088"/>
                  </a:cubicBezTo>
                  <a:cubicBezTo>
                    <a:pt x="565367" y="696641"/>
                    <a:pt x="514404" y="684315"/>
                    <a:pt x="514404" y="684315"/>
                  </a:cubicBezTo>
                  <a:cubicBezTo>
                    <a:pt x="514404" y="684315"/>
                    <a:pt x="538690" y="661684"/>
                    <a:pt x="545681" y="616792"/>
                  </a:cubicBezTo>
                  <a:cubicBezTo>
                    <a:pt x="547521" y="605017"/>
                    <a:pt x="546417" y="591586"/>
                    <a:pt x="544025" y="577787"/>
                  </a:cubicBezTo>
                  <a:cubicBezTo>
                    <a:pt x="555616" y="570796"/>
                    <a:pt x="572359" y="562517"/>
                    <a:pt x="592229" y="560309"/>
                  </a:cubicBezTo>
                  <a:cubicBezTo>
                    <a:pt x="628842" y="556261"/>
                    <a:pt x="628842" y="556261"/>
                    <a:pt x="628842" y="556261"/>
                  </a:cubicBezTo>
                  <a:cubicBezTo>
                    <a:pt x="628842" y="556261"/>
                    <a:pt x="621299" y="616976"/>
                    <a:pt x="728010" y="654509"/>
                  </a:cubicBezTo>
                  <a:cubicBezTo>
                    <a:pt x="834721" y="692042"/>
                    <a:pt x="883477" y="656533"/>
                    <a:pt x="924138" y="662420"/>
                  </a:cubicBezTo>
                  <a:cubicBezTo>
                    <a:pt x="964798" y="668308"/>
                    <a:pt x="1032505" y="683579"/>
                    <a:pt x="1100395" y="577051"/>
                  </a:cubicBezTo>
                  <a:cubicBezTo>
                    <a:pt x="1168469" y="470524"/>
                    <a:pt x="1163318" y="412201"/>
                    <a:pt x="1163318" y="412201"/>
                  </a:cubicBezTo>
                  <a:cubicBezTo>
                    <a:pt x="1163318" y="412201"/>
                    <a:pt x="1134064" y="271453"/>
                    <a:pt x="1077581" y="229872"/>
                  </a:cubicBezTo>
                  <a:cubicBezTo>
                    <a:pt x="1020914" y="188292"/>
                    <a:pt x="993868" y="178725"/>
                    <a:pt x="982645" y="151311"/>
                  </a:cubicBezTo>
                  <a:cubicBezTo>
                    <a:pt x="971422" y="123897"/>
                    <a:pt x="951183" y="108074"/>
                    <a:pt x="939224" y="99979"/>
                  </a:cubicBezTo>
                  <a:cubicBezTo>
                    <a:pt x="906107" y="77717"/>
                    <a:pt x="893412" y="79741"/>
                    <a:pt x="858823" y="56375"/>
                  </a:cubicBezTo>
                  <a:cubicBezTo>
                    <a:pt x="824234" y="33009"/>
                    <a:pt x="763519" y="-14827"/>
                    <a:pt x="649449" y="4491"/>
                  </a:cubicBezTo>
                  <a:cubicBezTo>
                    <a:pt x="535378" y="23809"/>
                    <a:pt x="519371" y="58767"/>
                    <a:pt x="486806" y="69070"/>
                  </a:cubicBezTo>
                  <a:cubicBezTo>
                    <a:pt x="454241" y="79373"/>
                    <a:pt x="393342" y="79189"/>
                    <a:pt x="358385" y="106971"/>
                  </a:cubicBezTo>
                  <a:cubicBezTo>
                    <a:pt x="323428" y="134936"/>
                    <a:pt x="332443" y="136960"/>
                    <a:pt x="298958" y="161246"/>
                  </a:cubicBezTo>
                  <a:cubicBezTo>
                    <a:pt x="265472" y="185532"/>
                    <a:pt x="242842" y="182956"/>
                    <a:pt x="223340" y="213866"/>
                  </a:cubicBezTo>
                  <a:cubicBezTo>
                    <a:pt x="203837" y="244775"/>
                    <a:pt x="206413" y="253974"/>
                    <a:pt x="159497" y="282676"/>
                  </a:cubicBezTo>
                  <a:cubicBezTo>
                    <a:pt x="112581" y="311562"/>
                    <a:pt x="74680" y="365101"/>
                    <a:pt x="72472" y="404658"/>
                  </a:cubicBezTo>
                  <a:cubicBezTo>
                    <a:pt x="70449" y="444214"/>
                    <a:pt x="73208" y="438143"/>
                    <a:pt x="59961" y="465005"/>
                  </a:cubicBezTo>
                  <a:cubicBezTo>
                    <a:pt x="59226" y="466661"/>
                    <a:pt x="60329" y="468316"/>
                    <a:pt x="62721" y="470340"/>
                  </a:cubicBezTo>
                  <a:cubicBezTo>
                    <a:pt x="55730" y="482483"/>
                    <a:pt x="49106" y="495914"/>
                    <a:pt x="44323" y="509529"/>
                  </a:cubicBezTo>
                  <a:cubicBezTo>
                    <a:pt x="28684" y="554053"/>
                    <a:pt x="41747" y="588275"/>
                    <a:pt x="41747" y="588275"/>
                  </a:cubicBezTo>
                  <a:cubicBezTo>
                    <a:pt x="41747" y="588275"/>
                    <a:pt x="24452" y="591770"/>
                    <a:pt x="11573" y="611273"/>
                  </a:cubicBezTo>
                  <a:cubicBezTo>
                    <a:pt x="-1305" y="630775"/>
                    <a:pt x="27764" y="656717"/>
                    <a:pt x="20589" y="680635"/>
                  </a:cubicBezTo>
                  <a:cubicBezTo>
                    <a:pt x="13413" y="704553"/>
                    <a:pt x="-7929" y="712832"/>
                    <a:pt x="3110" y="774467"/>
                  </a:cubicBezTo>
                  <a:cubicBezTo>
                    <a:pt x="13965" y="836102"/>
                    <a:pt x="36963" y="839414"/>
                    <a:pt x="52234" y="894609"/>
                  </a:cubicBezTo>
                  <a:cubicBezTo>
                    <a:pt x="67505" y="949804"/>
                    <a:pt x="109453" y="1035173"/>
                    <a:pt x="151034" y="1066451"/>
                  </a:cubicBezTo>
                  <a:cubicBezTo>
                    <a:pt x="192614" y="1097544"/>
                    <a:pt x="194270" y="1108215"/>
                    <a:pt x="246706" y="1174082"/>
                  </a:cubicBezTo>
                  <a:cubicBezTo>
                    <a:pt x="299142" y="1240132"/>
                    <a:pt x="377887" y="1242708"/>
                    <a:pt x="377887" y="1242708"/>
                  </a:cubicBezTo>
                  <a:cubicBezTo>
                    <a:pt x="377887" y="1242708"/>
                    <a:pt x="406221" y="1270306"/>
                    <a:pt x="443938" y="1287784"/>
                  </a:cubicBezTo>
                  <a:cubicBezTo>
                    <a:pt x="481654" y="1305447"/>
                    <a:pt x="541633" y="1297352"/>
                    <a:pt x="568311" y="1314278"/>
                  </a:cubicBezTo>
                  <a:cubicBezTo>
                    <a:pt x="594989" y="1331205"/>
                    <a:pt x="691397" y="1380144"/>
                    <a:pt x="750272" y="1384192"/>
                  </a:cubicBezTo>
                  <a:cubicBezTo>
                    <a:pt x="809147" y="1388240"/>
                    <a:pt x="817059" y="1340588"/>
                    <a:pt x="856431" y="1328445"/>
                  </a:cubicBezTo>
                  <a:cubicBezTo>
                    <a:pt x="895804" y="1316302"/>
                    <a:pt x="934993" y="1321269"/>
                    <a:pt x="1011346" y="1209959"/>
                  </a:cubicBezTo>
                  <a:cubicBezTo>
                    <a:pt x="1087332" y="1098832"/>
                    <a:pt x="1057527" y="986417"/>
                    <a:pt x="1019074" y="895713"/>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5" name="Freeform: Shape 38">
              <a:extLst>
                <a:ext uri="{FF2B5EF4-FFF2-40B4-BE49-F238E27FC236}">
                  <a16:creationId xmlns:a16="http://schemas.microsoft.com/office/drawing/2014/main" id="{1C30D79C-2A55-7E47-811F-11CECEC0AC40}"/>
                </a:ext>
              </a:extLst>
            </p:cNvPr>
            <p:cNvSpPr/>
            <p:nvPr/>
          </p:nvSpPr>
          <p:spPr>
            <a:xfrm rot="20018510">
              <a:off x="4926541" y="5725891"/>
              <a:ext cx="1144944" cy="1194921"/>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6" name="Freeform: Shape 39">
              <a:extLst>
                <a:ext uri="{FF2B5EF4-FFF2-40B4-BE49-F238E27FC236}">
                  <a16:creationId xmlns:a16="http://schemas.microsoft.com/office/drawing/2014/main" id="{E89AA130-33D1-1036-408E-F39133A31102}"/>
                </a:ext>
              </a:extLst>
            </p:cNvPr>
            <p:cNvSpPr/>
            <p:nvPr/>
          </p:nvSpPr>
          <p:spPr>
            <a:xfrm rot="20018510">
              <a:off x="4068661" y="4551489"/>
              <a:ext cx="1314392" cy="1282656"/>
            </a:xfrm>
            <a:custGeom>
              <a:avLst/>
              <a:gdLst>
                <a:gd name="connsiteX0" fmla="*/ 1289211 w 1314392"/>
                <a:gd name="connsiteY0" fmla="*/ 506242 h 1282656"/>
                <a:gd name="connsiteX1" fmla="*/ 1274125 w 1314392"/>
                <a:gd name="connsiteY1" fmla="*/ 436695 h 1282656"/>
                <a:gd name="connsiteX2" fmla="*/ 1268605 w 1314392"/>
                <a:gd name="connsiteY2" fmla="*/ 410386 h 1282656"/>
                <a:gd name="connsiteX3" fmla="*/ 1266213 w 1314392"/>
                <a:gd name="connsiteY3" fmla="*/ 375981 h 1282656"/>
                <a:gd name="connsiteX4" fmla="*/ 1218561 w 1314392"/>
                <a:gd name="connsiteY4" fmla="*/ 209106 h 1282656"/>
                <a:gd name="connsiteX5" fmla="*/ 1091612 w 1314392"/>
                <a:gd name="connsiteY5" fmla="*/ 103683 h 1282656"/>
                <a:gd name="connsiteX6" fmla="*/ 1065854 w 1314392"/>
                <a:gd name="connsiteY6" fmla="*/ 87125 h 1282656"/>
                <a:gd name="connsiteX7" fmla="*/ 797236 w 1314392"/>
                <a:gd name="connsiteY7" fmla="*/ 18498 h 1282656"/>
                <a:gd name="connsiteX8" fmla="*/ 648025 w 1314392"/>
                <a:gd name="connsiteY8" fmla="*/ 113434 h 1282656"/>
                <a:gd name="connsiteX9" fmla="*/ 591725 w 1314392"/>
                <a:gd name="connsiteY9" fmla="*/ 191260 h 1282656"/>
                <a:gd name="connsiteX10" fmla="*/ 619323 w 1314392"/>
                <a:gd name="connsiteY10" fmla="*/ 385548 h 1282656"/>
                <a:gd name="connsiteX11" fmla="*/ 714627 w 1314392"/>
                <a:gd name="connsiteY11" fmla="*/ 491155 h 1282656"/>
                <a:gd name="connsiteX12" fmla="*/ 728610 w 1314392"/>
                <a:gd name="connsiteY12" fmla="*/ 596026 h 1282656"/>
                <a:gd name="connsiteX13" fmla="*/ 760255 w 1314392"/>
                <a:gd name="connsiteY13" fmla="*/ 656189 h 1282656"/>
                <a:gd name="connsiteX14" fmla="*/ 703220 w 1314392"/>
                <a:gd name="connsiteY14" fmla="*/ 687099 h 1282656"/>
                <a:gd name="connsiteX15" fmla="*/ 683534 w 1314392"/>
                <a:gd name="connsiteY15" fmla="*/ 703841 h 1282656"/>
                <a:gd name="connsiteX16" fmla="*/ 654464 w 1314392"/>
                <a:gd name="connsiteY16" fmla="*/ 711753 h 1282656"/>
                <a:gd name="connsiteX17" fmla="*/ 622819 w 1314392"/>
                <a:gd name="connsiteY17" fmla="*/ 680107 h 1282656"/>
                <a:gd name="connsiteX18" fmla="*/ 563392 w 1314392"/>
                <a:gd name="connsiteY18" fmla="*/ 651406 h 1282656"/>
                <a:gd name="connsiteX19" fmla="*/ 539658 w 1314392"/>
                <a:gd name="connsiteY19" fmla="*/ 582779 h 1282656"/>
                <a:gd name="connsiteX20" fmla="*/ 538554 w 1314392"/>
                <a:gd name="connsiteY20" fmla="*/ 580755 h 1282656"/>
                <a:gd name="connsiteX21" fmla="*/ 550329 w 1314392"/>
                <a:gd name="connsiteY21" fmla="*/ 510657 h 1282656"/>
                <a:gd name="connsiteX22" fmla="*/ 531194 w 1314392"/>
                <a:gd name="connsiteY22" fmla="*/ 438903 h 1282656"/>
                <a:gd name="connsiteX23" fmla="*/ 491454 w 1314392"/>
                <a:gd name="connsiteY23" fmla="*/ 276629 h 1282656"/>
                <a:gd name="connsiteX24" fmla="*/ 305445 w 1314392"/>
                <a:gd name="connsiteY24" fmla="*/ 209106 h 1282656"/>
                <a:gd name="connsiteX25" fmla="*/ 56330 w 1314392"/>
                <a:gd name="connsiteY25" fmla="*/ 327961 h 1282656"/>
                <a:gd name="connsiteX26" fmla="*/ 1686 w 1314392"/>
                <a:gd name="connsiteY26" fmla="*/ 501090 h 1282656"/>
                <a:gd name="connsiteX27" fmla="*/ 26892 w 1314392"/>
                <a:gd name="connsiteY27" fmla="*/ 572844 h 1282656"/>
                <a:gd name="connsiteX28" fmla="*/ 18797 w 1314392"/>
                <a:gd name="connsiteY28" fmla="*/ 714880 h 1282656"/>
                <a:gd name="connsiteX29" fmla="*/ 106742 w 1314392"/>
                <a:gd name="connsiteY29" fmla="*/ 880283 h 1282656"/>
                <a:gd name="connsiteX30" fmla="*/ 110053 w 1314392"/>
                <a:gd name="connsiteY30" fmla="*/ 884514 h 1282656"/>
                <a:gd name="connsiteX31" fmla="*/ 114469 w 1314392"/>
                <a:gd name="connsiteY31" fmla="*/ 919655 h 1282656"/>
                <a:gd name="connsiteX32" fmla="*/ 160097 w 1314392"/>
                <a:gd name="connsiteY32" fmla="*/ 1052308 h 1282656"/>
                <a:gd name="connsiteX33" fmla="*/ 342058 w 1314392"/>
                <a:gd name="connsiteY33" fmla="*/ 1218630 h 1282656"/>
                <a:gd name="connsiteX34" fmla="*/ 456497 w 1314392"/>
                <a:gd name="connsiteY34" fmla="*/ 1236661 h 1282656"/>
                <a:gd name="connsiteX35" fmla="*/ 509668 w 1314392"/>
                <a:gd name="connsiteY35" fmla="*/ 1242364 h 1282656"/>
                <a:gd name="connsiteX36" fmla="*/ 530642 w 1314392"/>
                <a:gd name="connsiteY36" fmla="*/ 1252668 h 1282656"/>
                <a:gd name="connsiteX37" fmla="*/ 624107 w 1314392"/>
                <a:gd name="connsiteY37" fmla="*/ 1282657 h 1282656"/>
                <a:gd name="connsiteX38" fmla="*/ 651152 w 1314392"/>
                <a:gd name="connsiteY38" fmla="*/ 1279713 h 1282656"/>
                <a:gd name="connsiteX39" fmla="*/ 768351 w 1314392"/>
                <a:gd name="connsiteY39" fmla="*/ 1217343 h 1282656"/>
                <a:gd name="connsiteX40" fmla="*/ 813611 w 1314392"/>
                <a:gd name="connsiteY40" fmla="*/ 1212559 h 1282656"/>
                <a:gd name="connsiteX41" fmla="*/ 882789 w 1314392"/>
                <a:gd name="connsiteY41" fmla="*/ 1173738 h 1282656"/>
                <a:gd name="connsiteX42" fmla="*/ 996860 w 1314392"/>
                <a:gd name="connsiteY42" fmla="*/ 1138597 h 1282656"/>
                <a:gd name="connsiteX43" fmla="*/ 1076893 w 1314392"/>
                <a:gd name="connsiteY43" fmla="*/ 1068315 h 1282656"/>
                <a:gd name="connsiteX44" fmla="*/ 1189860 w 1314392"/>
                <a:gd name="connsiteY44" fmla="*/ 965467 h 1282656"/>
                <a:gd name="connsiteX45" fmla="*/ 1204394 w 1314392"/>
                <a:gd name="connsiteY45" fmla="*/ 932534 h 1282656"/>
                <a:gd name="connsiteX46" fmla="*/ 1229232 w 1314392"/>
                <a:gd name="connsiteY46" fmla="*/ 889666 h 1282656"/>
                <a:gd name="connsiteX47" fmla="*/ 1239351 w 1314392"/>
                <a:gd name="connsiteY47" fmla="*/ 874947 h 1282656"/>
                <a:gd name="connsiteX48" fmla="*/ 1279644 w 1314392"/>
                <a:gd name="connsiteY48" fmla="*/ 719296 h 1282656"/>
                <a:gd name="connsiteX49" fmla="*/ 1313681 w 1314392"/>
                <a:gd name="connsiteY49" fmla="*/ 631167 h 1282656"/>
                <a:gd name="connsiteX50" fmla="*/ 1289211 w 1314392"/>
                <a:gd name="connsiteY50" fmla="*/ 506242 h 1282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14392" h="1282656">
                  <a:moveTo>
                    <a:pt x="1289211" y="506242"/>
                  </a:moveTo>
                  <a:cubicBezTo>
                    <a:pt x="1289395" y="493547"/>
                    <a:pt x="1288475" y="459510"/>
                    <a:pt x="1274125" y="436695"/>
                  </a:cubicBezTo>
                  <a:cubicBezTo>
                    <a:pt x="1269709" y="429520"/>
                    <a:pt x="1269341" y="427128"/>
                    <a:pt x="1268605" y="410386"/>
                  </a:cubicBezTo>
                  <a:cubicBezTo>
                    <a:pt x="1268237" y="401922"/>
                    <a:pt x="1267685" y="391067"/>
                    <a:pt x="1266213" y="375981"/>
                  </a:cubicBezTo>
                  <a:cubicBezTo>
                    <a:pt x="1258486" y="296315"/>
                    <a:pt x="1254622" y="256390"/>
                    <a:pt x="1218561" y="209106"/>
                  </a:cubicBezTo>
                  <a:cubicBezTo>
                    <a:pt x="1174773" y="151519"/>
                    <a:pt x="1124729" y="122634"/>
                    <a:pt x="1091612" y="103683"/>
                  </a:cubicBezTo>
                  <a:cubicBezTo>
                    <a:pt x="1081125" y="97612"/>
                    <a:pt x="1068246" y="90252"/>
                    <a:pt x="1065854" y="87125"/>
                  </a:cubicBezTo>
                  <a:cubicBezTo>
                    <a:pt x="1032737" y="31745"/>
                    <a:pt x="933937" y="-32281"/>
                    <a:pt x="797236" y="18498"/>
                  </a:cubicBezTo>
                  <a:cubicBezTo>
                    <a:pt x="760623" y="32113"/>
                    <a:pt x="705244" y="59343"/>
                    <a:pt x="648025" y="113434"/>
                  </a:cubicBezTo>
                  <a:cubicBezTo>
                    <a:pt x="631834" y="129073"/>
                    <a:pt x="606260" y="162190"/>
                    <a:pt x="591725" y="191260"/>
                  </a:cubicBezTo>
                  <a:cubicBezTo>
                    <a:pt x="575535" y="223457"/>
                    <a:pt x="568543" y="304778"/>
                    <a:pt x="619323" y="385548"/>
                  </a:cubicBezTo>
                  <a:cubicBezTo>
                    <a:pt x="652992" y="439087"/>
                    <a:pt x="696781" y="476804"/>
                    <a:pt x="714627" y="491155"/>
                  </a:cubicBezTo>
                  <a:cubicBezTo>
                    <a:pt x="714075" y="512313"/>
                    <a:pt x="714259" y="561989"/>
                    <a:pt x="728610" y="596026"/>
                  </a:cubicBezTo>
                  <a:cubicBezTo>
                    <a:pt x="736521" y="614977"/>
                    <a:pt x="748664" y="637055"/>
                    <a:pt x="760255" y="656189"/>
                  </a:cubicBezTo>
                  <a:cubicBezTo>
                    <a:pt x="736521" y="665388"/>
                    <a:pt x="717387" y="675876"/>
                    <a:pt x="703220" y="687099"/>
                  </a:cubicBezTo>
                  <a:cubicBezTo>
                    <a:pt x="697149" y="691882"/>
                    <a:pt x="690709" y="697402"/>
                    <a:pt x="683534" y="703841"/>
                  </a:cubicBezTo>
                  <a:cubicBezTo>
                    <a:pt x="673782" y="704577"/>
                    <a:pt x="662927" y="708257"/>
                    <a:pt x="654464" y="711753"/>
                  </a:cubicBezTo>
                  <a:cubicBezTo>
                    <a:pt x="647657" y="704209"/>
                    <a:pt x="637354" y="693354"/>
                    <a:pt x="622819" y="680107"/>
                  </a:cubicBezTo>
                  <a:cubicBezTo>
                    <a:pt x="606444" y="665021"/>
                    <a:pt x="583078" y="656373"/>
                    <a:pt x="563392" y="651406"/>
                  </a:cubicBezTo>
                  <a:cubicBezTo>
                    <a:pt x="556768" y="628224"/>
                    <a:pt x="546649" y="595474"/>
                    <a:pt x="539658" y="582779"/>
                  </a:cubicBezTo>
                  <a:lnTo>
                    <a:pt x="538554" y="580755"/>
                  </a:lnTo>
                  <a:cubicBezTo>
                    <a:pt x="546281" y="568612"/>
                    <a:pt x="554008" y="546902"/>
                    <a:pt x="550329" y="510657"/>
                  </a:cubicBezTo>
                  <a:cubicBezTo>
                    <a:pt x="546281" y="472572"/>
                    <a:pt x="537266" y="449942"/>
                    <a:pt x="531194" y="438903"/>
                  </a:cubicBezTo>
                  <a:cubicBezTo>
                    <a:pt x="537082" y="412961"/>
                    <a:pt x="549225" y="332376"/>
                    <a:pt x="491454" y="276629"/>
                  </a:cubicBezTo>
                  <a:cubicBezTo>
                    <a:pt x="440122" y="227137"/>
                    <a:pt x="377567" y="204507"/>
                    <a:pt x="305445" y="209106"/>
                  </a:cubicBezTo>
                  <a:cubicBezTo>
                    <a:pt x="189167" y="216834"/>
                    <a:pt x="81536" y="296131"/>
                    <a:pt x="56330" y="327961"/>
                  </a:cubicBezTo>
                  <a:cubicBezTo>
                    <a:pt x="18613" y="375429"/>
                    <a:pt x="-6961" y="456382"/>
                    <a:pt x="1686" y="501090"/>
                  </a:cubicBezTo>
                  <a:cubicBezTo>
                    <a:pt x="7758" y="532736"/>
                    <a:pt x="20453" y="560149"/>
                    <a:pt x="26892" y="572844"/>
                  </a:cubicBezTo>
                  <a:cubicBezTo>
                    <a:pt x="20269" y="594738"/>
                    <a:pt x="4446" y="657293"/>
                    <a:pt x="18797" y="714880"/>
                  </a:cubicBezTo>
                  <a:cubicBezTo>
                    <a:pt x="39219" y="796202"/>
                    <a:pt x="83192" y="850845"/>
                    <a:pt x="106742" y="880283"/>
                  </a:cubicBezTo>
                  <a:lnTo>
                    <a:pt x="110053" y="884514"/>
                  </a:lnTo>
                  <a:cubicBezTo>
                    <a:pt x="112261" y="896473"/>
                    <a:pt x="113365" y="907696"/>
                    <a:pt x="114469" y="919655"/>
                  </a:cubicBezTo>
                  <a:cubicBezTo>
                    <a:pt x="117965" y="956452"/>
                    <a:pt x="121644" y="994353"/>
                    <a:pt x="160097" y="1052308"/>
                  </a:cubicBezTo>
                  <a:cubicBezTo>
                    <a:pt x="220260" y="1142645"/>
                    <a:pt x="274536" y="1192321"/>
                    <a:pt x="342058" y="1218630"/>
                  </a:cubicBezTo>
                  <a:cubicBezTo>
                    <a:pt x="376831" y="1232245"/>
                    <a:pt x="420987" y="1234637"/>
                    <a:pt x="456497" y="1236661"/>
                  </a:cubicBezTo>
                  <a:cubicBezTo>
                    <a:pt x="478207" y="1237949"/>
                    <a:pt x="498813" y="1239053"/>
                    <a:pt x="509668" y="1242364"/>
                  </a:cubicBezTo>
                  <a:cubicBezTo>
                    <a:pt x="514452" y="1243836"/>
                    <a:pt x="522363" y="1248068"/>
                    <a:pt x="530642" y="1252668"/>
                  </a:cubicBezTo>
                  <a:cubicBezTo>
                    <a:pt x="553273" y="1265179"/>
                    <a:pt x="585470" y="1282657"/>
                    <a:pt x="624107" y="1282657"/>
                  </a:cubicBezTo>
                  <a:cubicBezTo>
                    <a:pt x="632754" y="1282657"/>
                    <a:pt x="641953" y="1281737"/>
                    <a:pt x="651152" y="1279713"/>
                  </a:cubicBezTo>
                  <a:cubicBezTo>
                    <a:pt x="681142" y="1273090"/>
                    <a:pt x="729714" y="1251012"/>
                    <a:pt x="768351" y="1217343"/>
                  </a:cubicBezTo>
                  <a:cubicBezTo>
                    <a:pt x="780678" y="1218079"/>
                    <a:pt x="796500" y="1218446"/>
                    <a:pt x="813611" y="1212559"/>
                  </a:cubicBezTo>
                  <a:cubicBezTo>
                    <a:pt x="836977" y="1204280"/>
                    <a:pt x="870278" y="1182385"/>
                    <a:pt x="882789" y="1173738"/>
                  </a:cubicBezTo>
                  <a:cubicBezTo>
                    <a:pt x="900636" y="1173738"/>
                    <a:pt x="949944" y="1170426"/>
                    <a:pt x="996860" y="1138597"/>
                  </a:cubicBezTo>
                  <a:cubicBezTo>
                    <a:pt x="1042672" y="1107872"/>
                    <a:pt x="1068246" y="1078986"/>
                    <a:pt x="1076893" y="1068315"/>
                  </a:cubicBezTo>
                  <a:cubicBezTo>
                    <a:pt x="1095292" y="1059852"/>
                    <a:pt x="1162814" y="1025262"/>
                    <a:pt x="1189860" y="965467"/>
                  </a:cubicBezTo>
                  <a:cubicBezTo>
                    <a:pt x="1196851" y="950013"/>
                    <a:pt x="1201267" y="939894"/>
                    <a:pt x="1204394" y="932534"/>
                  </a:cubicBezTo>
                  <a:cubicBezTo>
                    <a:pt x="1211938" y="914872"/>
                    <a:pt x="1211938" y="914872"/>
                    <a:pt x="1229232" y="889666"/>
                  </a:cubicBezTo>
                  <a:lnTo>
                    <a:pt x="1239351" y="874947"/>
                  </a:lnTo>
                  <a:cubicBezTo>
                    <a:pt x="1274309" y="823983"/>
                    <a:pt x="1279092" y="743950"/>
                    <a:pt x="1279644" y="719296"/>
                  </a:cubicBezTo>
                  <a:cubicBezTo>
                    <a:pt x="1289579" y="707337"/>
                    <a:pt x="1309082" y="678267"/>
                    <a:pt x="1313681" y="631167"/>
                  </a:cubicBezTo>
                  <a:cubicBezTo>
                    <a:pt x="1318649" y="578548"/>
                    <a:pt x="1296203" y="522064"/>
                    <a:pt x="1289211" y="506242"/>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pic>
        <p:nvPicPr>
          <p:cNvPr id="6" name="Graphic 5">
            <a:extLst>
              <a:ext uri="{FF2B5EF4-FFF2-40B4-BE49-F238E27FC236}">
                <a16:creationId xmlns:a16="http://schemas.microsoft.com/office/drawing/2014/main" id="{34FDF57F-073C-F503-ED64-8A60737106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5132851" flipH="1">
            <a:off x="7718713" y="1632640"/>
            <a:ext cx="2702583" cy="3005458"/>
          </a:xfrm>
          <a:prstGeom prst="rect">
            <a:avLst/>
          </a:prstGeom>
        </p:spPr>
      </p:pic>
      <p:sp>
        <p:nvSpPr>
          <p:cNvPr id="7" name="Freeform: Shape 137">
            <a:extLst>
              <a:ext uri="{FF2B5EF4-FFF2-40B4-BE49-F238E27FC236}">
                <a16:creationId xmlns:a16="http://schemas.microsoft.com/office/drawing/2014/main" id="{0C41417B-0E8B-E37D-8888-24E8BD169E31}"/>
              </a:ext>
            </a:extLst>
          </p:cNvPr>
          <p:cNvSpPr/>
          <p:nvPr/>
        </p:nvSpPr>
        <p:spPr>
          <a:xfrm rot="1800000" flipH="1">
            <a:off x="10994656" y="5787781"/>
            <a:ext cx="1309415" cy="1421085"/>
          </a:xfrm>
          <a:custGeom>
            <a:avLst/>
            <a:gdLst>
              <a:gd name="connsiteX0" fmla="*/ 725293 w 1307003"/>
              <a:gd name="connsiteY0" fmla="*/ 85508 h 1418468"/>
              <a:gd name="connsiteX1" fmla="*/ 848480 w 1307003"/>
              <a:gd name="connsiteY1" fmla="*/ 216611 h 1418468"/>
              <a:gd name="connsiteX2" fmla="*/ 880142 w 1307003"/>
              <a:gd name="connsiteY2" fmla="*/ 244317 h 1418468"/>
              <a:gd name="connsiteX3" fmla="*/ 1208644 w 1307003"/>
              <a:gd name="connsiteY3" fmla="*/ 549071 h 1418468"/>
              <a:gd name="connsiteX4" fmla="*/ 1252179 w 1307003"/>
              <a:gd name="connsiteY4" fmla="*/ 640101 h 1418468"/>
              <a:gd name="connsiteX5" fmla="*/ 1268010 w 1307003"/>
              <a:gd name="connsiteY5" fmla="*/ 1202113 h 1418468"/>
              <a:gd name="connsiteX6" fmla="*/ 1244264 w 1307003"/>
              <a:gd name="connsiteY6" fmla="*/ 1249606 h 1418468"/>
              <a:gd name="connsiteX7" fmla="*/ 1165107 w 1307003"/>
              <a:gd name="connsiteY7" fmla="*/ 1249606 h 1418468"/>
              <a:gd name="connsiteX8" fmla="*/ 1162138 w 1307003"/>
              <a:gd name="connsiteY8" fmla="*/ 1386647 h 1418468"/>
              <a:gd name="connsiteX9" fmla="*/ 1137707 w 1307003"/>
              <a:gd name="connsiteY9" fmla="*/ 1418468 h 1418468"/>
              <a:gd name="connsiteX10" fmla="*/ 359691 w 1307003"/>
              <a:gd name="connsiteY10" fmla="*/ 969280 h 1418468"/>
              <a:gd name="connsiteX11" fmla="*/ 361668 w 1307003"/>
              <a:gd name="connsiteY11" fmla="*/ 964642 h 1418468"/>
              <a:gd name="connsiteX12" fmla="*/ 346467 w 1307003"/>
              <a:gd name="connsiteY12" fmla="*/ 961645 h 1418468"/>
              <a:gd name="connsiteX13" fmla="*/ 0 w 1307003"/>
              <a:gd name="connsiteY13" fmla="*/ 761612 h 1418468"/>
              <a:gd name="connsiteX14" fmla="*/ 439717 w 1307003"/>
              <a:gd name="connsiteY14" fmla="*/ 0 h 1418468"/>
              <a:gd name="connsiteX15" fmla="*/ 452698 w 1307003"/>
              <a:gd name="connsiteY15" fmla="*/ 6846 h 1418468"/>
              <a:gd name="connsiteX16" fmla="*/ 551643 w 1307003"/>
              <a:gd name="connsiteY16" fmla="*/ 46425 h 1418468"/>
              <a:gd name="connsiteX17" fmla="*/ 725293 w 1307003"/>
              <a:gd name="connsiteY17" fmla="*/ 85508 h 141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7003" h="1418468">
                <a:moveTo>
                  <a:pt x="725293" y="85508"/>
                </a:moveTo>
                <a:cubicBezTo>
                  <a:pt x="776251" y="111729"/>
                  <a:pt x="818797" y="153286"/>
                  <a:pt x="848480" y="216611"/>
                </a:cubicBezTo>
                <a:cubicBezTo>
                  <a:pt x="856397" y="228486"/>
                  <a:pt x="868270" y="236401"/>
                  <a:pt x="880142" y="244317"/>
                </a:cubicBezTo>
                <a:cubicBezTo>
                  <a:pt x="1018666" y="315558"/>
                  <a:pt x="1117613" y="426378"/>
                  <a:pt x="1208644" y="549071"/>
                </a:cubicBezTo>
                <a:cubicBezTo>
                  <a:pt x="1228431" y="576774"/>
                  <a:pt x="1248221" y="608437"/>
                  <a:pt x="1252179" y="640101"/>
                </a:cubicBezTo>
                <a:cubicBezTo>
                  <a:pt x="1271968" y="826118"/>
                  <a:pt x="1355082" y="1012137"/>
                  <a:pt x="1268010" y="1202113"/>
                </a:cubicBezTo>
                <a:cubicBezTo>
                  <a:pt x="1260096" y="1217944"/>
                  <a:pt x="1256137" y="1237734"/>
                  <a:pt x="1244264" y="1249606"/>
                </a:cubicBezTo>
                <a:cubicBezTo>
                  <a:pt x="1220517" y="1281268"/>
                  <a:pt x="1200727" y="1305016"/>
                  <a:pt x="1165107" y="1249606"/>
                </a:cubicBezTo>
                <a:cubicBezTo>
                  <a:pt x="1178959" y="1303037"/>
                  <a:pt x="1176980" y="1347563"/>
                  <a:pt x="1162138" y="1386647"/>
                </a:cubicBezTo>
                <a:lnTo>
                  <a:pt x="1137707" y="1418468"/>
                </a:lnTo>
                <a:lnTo>
                  <a:pt x="359691" y="969280"/>
                </a:lnTo>
                <a:lnTo>
                  <a:pt x="361668" y="964642"/>
                </a:lnTo>
                <a:lnTo>
                  <a:pt x="346467" y="961645"/>
                </a:lnTo>
                <a:lnTo>
                  <a:pt x="0" y="761612"/>
                </a:lnTo>
                <a:lnTo>
                  <a:pt x="439717" y="0"/>
                </a:lnTo>
                <a:lnTo>
                  <a:pt x="452698" y="6846"/>
                </a:lnTo>
                <a:cubicBezTo>
                  <a:pt x="484360" y="34552"/>
                  <a:pt x="516022" y="46425"/>
                  <a:pt x="551643" y="46425"/>
                </a:cubicBezTo>
                <a:cubicBezTo>
                  <a:pt x="614969" y="48404"/>
                  <a:pt x="674336" y="59288"/>
                  <a:pt x="725293" y="85508"/>
                </a:cubicBezTo>
                <a:close/>
              </a:path>
            </a:pathLst>
          </a:custGeom>
          <a:solidFill>
            <a:schemeClr val="accent5">
              <a:alpha val="68000"/>
            </a:schemeClr>
          </a:solidFill>
          <a:ln w="2322"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sz="1799" b="0" i="0" u="none" strike="noStrike" cap="none" spc="0" normalizeH="0" baseline="0" noProof="0">
              <a:ln>
                <a:noFill/>
              </a:ln>
              <a:solidFill>
                <a:srgbClr val="3F000B"/>
              </a:solidFill>
              <a:effectLst/>
              <a:uLnTx/>
              <a:uFillTx/>
              <a:latin typeface="TT Norms Pro" panose="02000503030000020003" pitchFamily="2" charset="0"/>
            </a:endParaRPr>
          </a:p>
        </p:txBody>
      </p:sp>
      <p:sp>
        <p:nvSpPr>
          <p:cNvPr id="8" name="Freeform: Shape 131">
            <a:extLst>
              <a:ext uri="{FF2B5EF4-FFF2-40B4-BE49-F238E27FC236}">
                <a16:creationId xmlns:a16="http://schemas.microsoft.com/office/drawing/2014/main" id="{81A6CC49-775C-84D3-EF5E-E1A9653AC534}"/>
              </a:ext>
            </a:extLst>
          </p:cNvPr>
          <p:cNvSpPr/>
          <p:nvPr/>
        </p:nvSpPr>
        <p:spPr>
          <a:xfrm flipH="1">
            <a:off x="9021330" y="-7871"/>
            <a:ext cx="1541047" cy="781134"/>
          </a:xfrm>
          <a:custGeom>
            <a:avLst/>
            <a:gdLst>
              <a:gd name="connsiteX0" fmla="*/ 11655 w 1538209"/>
              <a:gd name="connsiteY0" fmla="*/ 0 h 779695"/>
              <a:gd name="connsiteX1" fmla="*/ 1492424 w 1538209"/>
              <a:gd name="connsiteY1" fmla="*/ 0 h 779695"/>
              <a:gd name="connsiteX2" fmla="*/ 1474929 w 1538209"/>
              <a:gd name="connsiteY2" fmla="*/ 26748 h 779695"/>
              <a:gd name="connsiteX3" fmla="*/ 1427135 w 1538209"/>
              <a:gd name="connsiteY3" fmla="*/ 77327 h 779695"/>
              <a:gd name="connsiteX4" fmla="*/ 1512809 w 1538209"/>
              <a:gd name="connsiteY4" fmla="*/ 429283 h 779695"/>
              <a:gd name="connsiteX5" fmla="*/ 1052796 w 1538209"/>
              <a:gd name="connsiteY5" fmla="*/ 779695 h 779695"/>
              <a:gd name="connsiteX6" fmla="*/ 1048165 w 1538209"/>
              <a:gd name="connsiteY6" fmla="*/ 779695 h 779695"/>
              <a:gd name="connsiteX7" fmla="*/ 788057 w 1538209"/>
              <a:gd name="connsiteY7" fmla="*/ 575159 h 779695"/>
              <a:gd name="connsiteX8" fmla="*/ 371267 w 1538209"/>
              <a:gd name="connsiteY8" fmla="*/ 765030 h 779695"/>
              <a:gd name="connsiteX9" fmla="*/ 203008 w 1538209"/>
              <a:gd name="connsiteY9" fmla="*/ 708686 h 779695"/>
              <a:gd name="connsiteX10" fmla="*/ 787 w 1538209"/>
              <a:gd name="connsiteY10" fmla="*/ 179981 h 779695"/>
              <a:gd name="connsiteX11" fmla="*/ 5454 w 1538209"/>
              <a:gd name="connsiteY11" fmla="*/ 32658 h 77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209" h="779695">
                <a:moveTo>
                  <a:pt x="11655" y="0"/>
                </a:moveTo>
                <a:lnTo>
                  <a:pt x="1492424" y="0"/>
                </a:lnTo>
                <a:lnTo>
                  <a:pt x="1474929" y="26748"/>
                </a:lnTo>
                <a:cubicBezTo>
                  <a:pt x="1458925" y="46550"/>
                  <a:pt x="1442379" y="63434"/>
                  <a:pt x="1427135" y="77327"/>
                </a:cubicBezTo>
                <a:cubicBezTo>
                  <a:pt x="1505090" y="141389"/>
                  <a:pt x="1578414" y="261024"/>
                  <a:pt x="1512809" y="429283"/>
                </a:cubicBezTo>
                <a:cubicBezTo>
                  <a:pt x="1418645" y="671638"/>
                  <a:pt x="1281259" y="776608"/>
                  <a:pt x="1052796" y="779695"/>
                </a:cubicBezTo>
                <a:lnTo>
                  <a:pt x="1048165" y="779695"/>
                </a:lnTo>
                <a:cubicBezTo>
                  <a:pt x="904604" y="779695"/>
                  <a:pt x="825105" y="670867"/>
                  <a:pt x="788057" y="575159"/>
                </a:cubicBezTo>
                <a:cubicBezTo>
                  <a:pt x="699296" y="646940"/>
                  <a:pt x="529493" y="765030"/>
                  <a:pt x="371267" y="765030"/>
                </a:cubicBezTo>
                <a:cubicBezTo>
                  <a:pt x="307205" y="765030"/>
                  <a:pt x="250861" y="745734"/>
                  <a:pt x="203008" y="708686"/>
                </a:cubicBezTo>
                <a:cubicBezTo>
                  <a:pt x="64078" y="599086"/>
                  <a:pt x="7734" y="363677"/>
                  <a:pt x="787" y="179981"/>
                </a:cubicBezTo>
                <a:cubicBezTo>
                  <a:pt x="-1143" y="128461"/>
                  <a:pt x="498" y="79064"/>
                  <a:pt x="5454" y="32658"/>
                </a:cubicBezTo>
                <a:close/>
              </a:path>
            </a:pathLst>
          </a:custGeom>
          <a:solidFill>
            <a:schemeClr val="accent5">
              <a:alpha val="68000"/>
            </a:schemeClr>
          </a:solidFill>
          <a:ln w="76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9" name="Freeform 799">
            <a:extLst>
              <a:ext uri="{FF2B5EF4-FFF2-40B4-BE49-F238E27FC236}">
                <a16:creationId xmlns:a16="http://schemas.microsoft.com/office/drawing/2014/main" id="{D51E2119-EFC2-0DF4-0794-888A71798319}"/>
              </a:ext>
            </a:extLst>
          </p:cNvPr>
          <p:cNvSpPr/>
          <p:nvPr/>
        </p:nvSpPr>
        <p:spPr>
          <a:xfrm rot="3306600" flipH="1">
            <a:off x="9314718" y="4552997"/>
            <a:ext cx="1688834" cy="1887411"/>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chemeClr val="accent5">
              <a:alpha val="68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804">
            <a:extLst>
              <a:ext uri="{FF2B5EF4-FFF2-40B4-BE49-F238E27FC236}">
                <a16:creationId xmlns:a16="http://schemas.microsoft.com/office/drawing/2014/main" id="{494F3F2D-203F-D977-47AD-C4318244A040}"/>
              </a:ext>
            </a:extLst>
          </p:cNvPr>
          <p:cNvSpPr/>
          <p:nvPr/>
        </p:nvSpPr>
        <p:spPr>
          <a:xfrm rot="1059384" flipH="1">
            <a:off x="7279782" y="1727095"/>
            <a:ext cx="1038220" cy="481805"/>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solidFill>
            <a:schemeClr val="accent5">
              <a:alpha val="68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1" name="Freeform: Shape 141">
            <a:extLst>
              <a:ext uri="{FF2B5EF4-FFF2-40B4-BE49-F238E27FC236}">
                <a16:creationId xmlns:a16="http://schemas.microsoft.com/office/drawing/2014/main" id="{FD6CBDAA-7F56-7BCB-739D-6A2414A9441B}"/>
              </a:ext>
            </a:extLst>
          </p:cNvPr>
          <p:cNvSpPr/>
          <p:nvPr/>
        </p:nvSpPr>
        <p:spPr>
          <a:xfrm rot="20198272" flipH="1">
            <a:off x="8998964" y="6348763"/>
            <a:ext cx="588142" cy="666282"/>
          </a:xfrm>
          <a:custGeom>
            <a:avLst/>
            <a:gdLst>
              <a:gd name="connsiteX0" fmla="*/ 399962 w 587059"/>
              <a:gd name="connsiteY0" fmla="*/ 0 h 665055"/>
              <a:gd name="connsiteX1" fmla="*/ 535659 w 587059"/>
              <a:gd name="connsiteY1" fmla="*/ 40628 h 665055"/>
              <a:gd name="connsiteX2" fmla="*/ 542856 w 587059"/>
              <a:gd name="connsiteY2" fmla="*/ 28648 h 665055"/>
              <a:gd name="connsiteX3" fmla="*/ 587059 w 587059"/>
              <a:gd name="connsiteY3" fmla="*/ 55230 h 665055"/>
              <a:gd name="connsiteX4" fmla="*/ 297623 w 587059"/>
              <a:gd name="connsiteY4" fmla="*/ 536495 h 665055"/>
              <a:gd name="connsiteX5" fmla="*/ 0 w 587059"/>
              <a:gd name="connsiteY5" fmla="*/ 665055 h 66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059" h="665055">
                <a:moveTo>
                  <a:pt x="399962" y="0"/>
                </a:moveTo>
                <a:lnTo>
                  <a:pt x="535659" y="40628"/>
                </a:lnTo>
                <a:lnTo>
                  <a:pt x="542856" y="28648"/>
                </a:lnTo>
                <a:lnTo>
                  <a:pt x="587059" y="55230"/>
                </a:lnTo>
                <a:lnTo>
                  <a:pt x="297623" y="536495"/>
                </a:lnTo>
                <a:lnTo>
                  <a:pt x="0" y="665055"/>
                </a:lnTo>
                <a:close/>
              </a:path>
            </a:pathLst>
          </a:custGeom>
          <a:solidFill>
            <a:schemeClr val="accent5">
              <a:alpha val="68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nvGrpSpPr>
          <p:cNvPr id="12" name="Group 11">
            <a:extLst>
              <a:ext uri="{FF2B5EF4-FFF2-40B4-BE49-F238E27FC236}">
                <a16:creationId xmlns:a16="http://schemas.microsoft.com/office/drawing/2014/main" id="{02B7FFB0-A3B6-4965-C8D6-68F609CC0A59}"/>
              </a:ext>
            </a:extLst>
          </p:cNvPr>
          <p:cNvGrpSpPr/>
          <p:nvPr/>
        </p:nvGrpSpPr>
        <p:grpSpPr>
          <a:xfrm rot="13154511" flipH="1">
            <a:off x="9785235" y="1474729"/>
            <a:ext cx="1039358" cy="977946"/>
            <a:chOff x="1099539" y="1183824"/>
            <a:chExt cx="993348" cy="934655"/>
          </a:xfrm>
          <a:solidFill>
            <a:schemeClr val="accent5">
              <a:alpha val="68000"/>
            </a:schemeClr>
          </a:solidFill>
        </p:grpSpPr>
        <p:pic>
          <p:nvPicPr>
            <p:cNvPr id="21" name="Graphic 20">
              <a:extLst>
                <a:ext uri="{FF2B5EF4-FFF2-40B4-BE49-F238E27FC236}">
                  <a16:creationId xmlns:a16="http://schemas.microsoft.com/office/drawing/2014/main" id="{36674755-6DA2-3769-53F2-CFE4493388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642075" y="1435654"/>
              <a:ext cx="426892" cy="474733"/>
            </a:xfrm>
            <a:prstGeom prst="rect">
              <a:avLst/>
            </a:prstGeom>
          </p:spPr>
        </p:pic>
        <p:pic>
          <p:nvPicPr>
            <p:cNvPr id="22" name="Graphic 21">
              <a:extLst>
                <a:ext uri="{FF2B5EF4-FFF2-40B4-BE49-F238E27FC236}">
                  <a16:creationId xmlns:a16="http://schemas.microsoft.com/office/drawing/2014/main" id="{D098390A-7CC8-2FDD-58AD-0FE4CA20301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164161" y="1159903"/>
              <a:ext cx="426892" cy="474733"/>
            </a:xfrm>
            <a:prstGeom prst="rect">
              <a:avLst/>
            </a:prstGeom>
          </p:spPr>
        </p:pic>
        <p:pic>
          <p:nvPicPr>
            <p:cNvPr id="23" name="Graphic 22">
              <a:extLst>
                <a:ext uri="{FF2B5EF4-FFF2-40B4-BE49-F238E27FC236}">
                  <a16:creationId xmlns:a16="http://schemas.microsoft.com/office/drawing/2014/main" id="{B805B314-7083-2EE8-5E1F-330EB43DB02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123460" y="1667666"/>
              <a:ext cx="426892" cy="474733"/>
            </a:xfrm>
            <a:prstGeom prst="rect">
              <a:avLst/>
            </a:prstGeom>
          </p:spPr>
        </p:pic>
      </p:grpSp>
      <p:sp>
        <p:nvSpPr>
          <p:cNvPr id="13" name="Freeform: Shape 139">
            <a:extLst>
              <a:ext uri="{FF2B5EF4-FFF2-40B4-BE49-F238E27FC236}">
                <a16:creationId xmlns:a16="http://schemas.microsoft.com/office/drawing/2014/main" id="{15975D46-C1F9-8991-BEA0-F28D0CAA4B0E}"/>
              </a:ext>
            </a:extLst>
          </p:cNvPr>
          <p:cNvSpPr/>
          <p:nvPr/>
        </p:nvSpPr>
        <p:spPr>
          <a:xfrm rot="20198272" flipH="1">
            <a:off x="9247192" y="6014083"/>
            <a:ext cx="827824" cy="1064821"/>
          </a:xfrm>
          <a:custGeom>
            <a:avLst/>
            <a:gdLst>
              <a:gd name="connsiteX0" fmla="*/ 639202 w 826299"/>
              <a:gd name="connsiteY0" fmla="*/ 0 h 1062860"/>
              <a:gd name="connsiteX1" fmla="*/ 774899 w 826299"/>
              <a:gd name="connsiteY1" fmla="*/ 40628 h 1062860"/>
              <a:gd name="connsiteX2" fmla="*/ 782096 w 826299"/>
              <a:gd name="connsiteY2" fmla="*/ 28648 h 1062860"/>
              <a:gd name="connsiteX3" fmla="*/ 826299 w 826299"/>
              <a:gd name="connsiteY3" fmla="*/ 55230 h 1062860"/>
              <a:gd name="connsiteX4" fmla="*/ 297618 w 826299"/>
              <a:gd name="connsiteY4" fmla="*/ 934303 h 1062860"/>
              <a:gd name="connsiteX5" fmla="*/ 0 w 826299"/>
              <a:gd name="connsiteY5" fmla="*/ 1062860 h 106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9" h="1062860">
                <a:moveTo>
                  <a:pt x="639202" y="0"/>
                </a:moveTo>
                <a:lnTo>
                  <a:pt x="774899" y="40628"/>
                </a:lnTo>
                <a:lnTo>
                  <a:pt x="782096" y="28648"/>
                </a:lnTo>
                <a:lnTo>
                  <a:pt x="826299" y="55230"/>
                </a:lnTo>
                <a:lnTo>
                  <a:pt x="297618" y="934303"/>
                </a:lnTo>
                <a:lnTo>
                  <a:pt x="0" y="1062860"/>
                </a:lnTo>
                <a:close/>
              </a:path>
            </a:pathLst>
          </a:custGeom>
          <a:solidFill>
            <a:schemeClr val="accent5">
              <a:alpha val="68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4" name="Freeform: Shape 133">
            <a:extLst>
              <a:ext uri="{FF2B5EF4-FFF2-40B4-BE49-F238E27FC236}">
                <a16:creationId xmlns:a16="http://schemas.microsoft.com/office/drawing/2014/main" id="{AD5BEA61-1CD3-F098-3FDE-1055C3788C0B}"/>
              </a:ext>
            </a:extLst>
          </p:cNvPr>
          <p:cNvSpPr/>
          <p:nvPr/>
        </p:nvSpPr>
        <p:spPr>
          <a:xfrm rot="15072588" flipH="1">
            <a:off x="10798639" y="-226712"/>
            <a:ext cx="1443268" cy="1662971"/>
          </a:xfrm>
          <a:custGeom>
            <a:avLst/>
            <a:gdLst>
              <a:gd name="connsiteX0" fmla="*/ 356742 w 1440610"/>
              <a:gd name="connsiteY0" fmla="*/ 1659908 h 1659908"/>
              <a:gd name="connsiteX1" fmla="*/ 0 w 1440610"/>
              <a:gd name="connsiteY1" fmla="*/ 611396 h 1659908"/>
              <a:gd name="connsiteX2" fmla="*/ 2674 w 1440610"/>
              <a:gd name="connsiteY2" fmla="*/ 610219 h 1659908"/>
              <a:gd name="connsiteX3" fmla="*/ 603020 w 1440610"/>
              <a:gd name="connsiteY3" fmla="*/ 437599 h 1659908"/>
              <a:gd name="connsiteX4" fmla="*/ 1314768 w 1440610"/>
              <a:gd name="connsiteY4" fmla="*/ 13273 h 1659908"/>
              <a:gd name="connsiteX5" fmla="*/ 1353969 w 1440610"/>
              <a:gd name="connsiteY5" fmla="*/ 3836 h 1659908"/>
              <a:gd name="connsiteX6" fmla="*/ 1364597 w 1440610"/>
              <a:gd name="connsiteY6" fmla="*/ 42524 h 1659908"/>
              <a:gd name="connsiteX7" fmla="*/ 1340446 w 1440610"/>
              <a:gd name="connsiteY7" fmla="*/ 870854 h 1659908"/>
              <a:gd name="connsiteX8" fmla="*/ 1414683 w 1440610"/>
              <a:gd name="connsiteY8" fmla="*/ 1173324 h 1659908"/>
              <a:gd name="connsiteX9" fmla="*/ 1440610 w 1440610"/>
              <a:gd name="connsiteY9" fmla="*/ 1291137 h 16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610" h="1659908">
                <a:moveTo>
                  <a:pt x="356742" y="1659908"/>
                </a:moveTo>
                <a:lnTo>
                  <a:pt x="0" y="611396"/>
                </a:lnTo>
                <a:lnTo>
                  <a:pt x="2674" y="610219"/>
                </a:lnTo>
                <a:cubicBezTo>
                  <a:pt x="198679" y="540577"/>
                  <a:pt x="406590" y="496869"/>
                  <a:pt x="603020" y="437599"/>
                </a:cubicBezTo>
                <a:cubicBezTo>
                  <a:pt x="978451" y="324927"/>
                  <a:pt x="1163236" y="172121"/>
                  <a:pt x="1314768" y="13273"/>
                </a:cubicBezTo>
                <a:cubicBezTo>
                  <a:pt x="1323609" y="3836"/>
                  <a:pt x="1338150" y="-5434"/>
                  <a:pt x="1353969" y="3836"/>
                </a:cubicBezTo>
                <a:cubicBezTo>
                  <a:pt x="1369616" y="13017"/>
                  <a:pt x="1368510" y="30194"/>
                  <a:pt x="1364597" y="42524"/>
                </a:cubicBezTo>
                <a:cubicBezTo>
                  <a:pt x="1299630" y="252306"/>
                  <a:pt x="1256263" y="488109"/>
                  <a:pt x="1340446" y="870854"/>
                </a:cubicBezTo>
                <a:cubicBezTo>
                  <a:pt x="1362386" y="971068"/>
                  <a:pt x="1389109" y="1071898"/>
                  <a:pt x="1414683" y="1173324"/>
                </a:cubicBezTo>
                <a:lnTo>
                  <a:pt x="1440610" y="1291137"/>
                </a:lnTo>
                <a:close/>
              </a:path>
            </a:pathLst>
          </a:custGeom>
          <a:solidFill>
            <a:schemeClr val="accent5">
              <a:alpha val="68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5" name="Freeform: Shape 123">
            <a:extLst>
              <a:ext uri="{FF2B5EF4-FFF2-40B4-BE49-F238E27FC236}">
                <a16:creationId xmlns:a16="http://schemas.microsoft.com/office/drawing/2014/main" id="{01655576-3F52-3197-78ED-95FE7F3F7A69}"/>
              </a:ext>
            </a:extLst>
          </p:cNvPr>
          <p:cNvSpPr/>
          <p:nvPr/>
        </p:nvSpPr>
        <p:spPr>
          <a:xfrm rot="7444483" flipH="1">
            <a:off x="11433129" y="4101984"/>
            <a:ext cx="247712" cy="1585642"/>
          </a:xfrm>
          <a:custGeom>
            <a:avLst/>
            <a:gdLst>
              <a:gd name="connsiteX0" fmla="*/ 169695 w 247256"/>
              <a:gd name="connsiteY0" fmla="*/ 1582722 h 1582722"/>
              <a:gd name="connsiteX1" fmla="*/ 21845 w 247256"/>
              <a:gd name="connsiteY1" fmla="*/ 1582722 h 1582722"/>
              <a:gd name="connsiteX2" fmla="*/ 24226 w 247256"/>
              <a:gd name="connsiteY2" fmla="*/ 1566309 h 1582722"/>
              <a:gd name="connsiteX3" fmla="*/ 23046 w 247256"/>
              <a:gd name="connsiteY3" fmla="*/ 1549238 h 1582722"/>
              <a:gd name="connsiteX4" fmla="*/ 18328 w 247256"/>
              <a:gd name="connsiteY4" fmla="*/ 1533480 h 1582722"/>
              <a:gd name="connsiteX5" fmla="*/ 10736 w 247256"/>
              <a:gd name="connsiteY5" fmla="*/ 1504301 h 1582722"/>
              <a:gd name="connsiteX6" fmla="*/ 4771 w 247256"/>
              <a:gd name="connsiteY6" fmla="*/ 1471029 h 1582722"/>
              <a:gd name="connsiteX7" fmla="*/ 1002 w 247256"/>
              <a:gd name="connsiteY7" fmla="*/ 1433039 h 1582722"/>
              <a:gd name="connsiteX8" fmla="*/ 0 w 247256"/>
              <a:gd name="connsiteY8" fmla="*/ 1389705 h 1582722"/>
              <a:gd name="connsiteX9" fmla="*/ 2069 w 247256"/>
              <a:gd name="connsiteY9" fmla="*/ 1346431 h 1582722"/>
              <a:gd name="connsiteX10" fmla="*/ 6769 w 247256"/>
              <a:gd name="connsiteY10" fmla="*/ 1308608 h 1582722"/>
              <a:gd name="connsiteX11" fmla="*/ 13553 w 247256"/>
              <a:gd name="connsiteY11" fmla="*/ 1275580 h 1582722"/>
              <a:gd name="connsiteX12" fmla="*/ 21867 w 247256"/>
              <a:gd name="connsiteY12" fmla="*/ 1246693 h 1582722"/>
              <a:gd name="connsiteX13" fmla="*/ 25808 w 247256"/>
              <a:gd name="connsiteY13" fmla="*/ 1230713 h 1582722"/>
              <a:gd name="connsiteX14" fmla="*/ 27387 w 247256"/>
              <a:gd name="connsiteY14" fmla="*/ 1214192 h 1582722"/>
              <a:gd name="connsiteX15" fmla="*/ 26594 w 247256"/>
              <a:gd name="connsiteY15" fmla="*/ 1197568 h 1582722"/>
              <a:gd name="connsiteX16" fmla="*/ 23426 w 247256"/>
              <a:gd name="connsiteY16" fmla="*/ 1181282 h 1582722"/>
              <a:gd name="connsiteX17" fmla="*/ 16512 w 247256"/>
              <a:gd name="connsiteY17" fmla="*/ 1151787 h 1582722"/>
              <a:gd name="connsiteX18" fmla="*/ 11323 w 247256"/>
              <a:gd name="connsiteY18" fmla="*/ 1118275 h 1582722"/>
              <a:gd name="connsiteX19" fmla="*/ 8442 w 247256"/>
              <a:gd name="connsiteY19" fmla="*/ 1080132 h 1582722"/>
              <a:gd name="connsiteX20" fmla="*/ 8447 w 247256"/>
              <a:gd name="connsiteY20" fmla="*/ 1036742 h 1582722"/>
              <a:gd name="connsiteX21" fmla="*/ 11522 w 247256"/>
              <a:gd name="connsiteY21" fmla="*/ 993526 h 1582722"/>
              <a:gd name="connsiteX22" fmla="*/ 17101 w 247256"/>
              <a:gd name="connsiteY22" fmla="*/ 955865 h 1582722"/>
              <a:gd name="connsiteX23" fmla="*/ 24647 w 247256"/>
              <a:gd name="connsiteY23" fmla="*/ 923079 h 1582722"/>
              <a:gd name="connsiteX24" fmla="*/ 33623 w 247256"/>
              <a:gd name="connsiteY24" fmla="*/ 894494 h 1582722"/>
              <a:gd name="connsiteX25" fmla="*/ 37928 w 247256"/>
              <a:gd name="connsiteY25" fmla="*/ 878654 h 1582722"/>
              <a:gd name="connsiteX26" fmla="*/ 39893 w 247256"/>
              <a:gd name="connsiteY26" fmla="*/ 862181 h 1582722"/>
              <a:gd name="connsiteX27" fmla="*/ 39492 w 247256"/>
              <a:gd name="connsiteY27" fmla="*/ 845518 h 1582722"/>
              <a:gd name="connsiteX28" fmla="*/ 36698 w 247256"/>
              <a:gd name="connsiteY28" fmla="*/ 829111 h 1582722"/>
              <a:gd name="connsiteX29" fmla="*/ 30484 w 247256"/>
              <a:gd name="connsiteY29" fmla="*/ 799328 h 1582722"/>
              <a:gd name="connsiteX30" fmla="*/ 26084 w 247256"/>
              <a:gd name="connsiteY30" fmla="*/ 765587 h 1582722"/>
              <a:gd name="connsiteX31" fmla="*/ 24086 w 247256"/>
              <a:gd name="connsiteY31" fmla="*/ 727294 h 1582722"/>
              <a:gd name="connsiteX32" fmla="*/ 25090 w 247256"/>
              <a:gd name="connsiteY32" fmla="*/ 683863 h 1582722"/>
              <a:gd name="connsiteX33" fmla="*/ 29179 w 247256"/>
              <a:gd name="connsiteY33" fmla="*/ 640742 h 1582722"/>
              <a:gd name="connsiteX34" fmla="*/ 35635 w 247256"/>
              <a:gd name="connsiteY34" fmla="*/ 603271 h 1582722"/>
              <a:gd name="connsiteX35" fmla="*/ 43937 w 247256"/>
              <a:gd name="connsiteY35" fmla="*/ 570758 h 1582722"/>
              <a:gd name="connsiteX36" fmla="*/ 53573 w 247256"/>
              <a:gd name="connsiteY36" fmla="*/ 542515 h 1582722"/>
              <a:gd name="connsiteX37" fmla="*/ 58248 w 247256"/>
              <a:gd name="connsiteY37" fmla="*/ 526827 h 1582722"/>
              <a:gd name="connsiteX38" fmla="*/ 60595 w 247256"/>
              <a:gd name="connsiteY38" fmla="*/ 510411 h 1582722"/>
              <a:gd name="connsiteX39" fmla="*/ 60585 w 247256"/>
              <a:gd name="connsiteY39" fmla="*/ 493714 h 1582722"/>
              <a:gd name="connsiteX40" fmla="*/ 58187 w 247256"/>
              <a:gd name="connsiteY40" fmla="*/ 477185 h 1582722"/>
              <a:gd name="connsiteX41" fmla="*/ 52663 w 247256"/>
              <a:gd name="connsiteY41" fmla="*/ 447126 h 1582722"/>
              <a:gd name="connsiteX42" fmla="*/ 49046 w 247256"/>
              <a:gd name="connsiteY42" fmla="*/ 413180 h 1582722"/>
              <a:gd name="connsiteX43" fmla="*/ 47945 w 247256"/>
              <a:gd name="connsiteY43" fmla="*/ 374782 h 1582722"/>
              <a:gd name="connsiteX44" fmla="*/ 49971 w 247256"/>
              <a:gd name="connsiteY44" fmla="*/ 331364 h 1582722"/>
              <a:gd name="connsiteX45" fmla="*/ 55065 w 247256"/>
              <a:gd name="connsiteY45" fmla="*/ 288346 h 1582722"/>
              <a:gd name="connsiteX46" fmla="*/ 62395 w 247256"/>
              <a:gd name="connsiteY46" fmla="*/ 251086 h 1582722"/>
              <a:gd name="connsiteX47" fmla="*/ 71456 w 247256"/>
              <a:gd name="connsiteY47" fmla="*/ 218866 h 1582722"/>
              <a:gd name="connsiteX48" fmla="*/ 81741 w 247256"/>
              <a:gd name="connsiteY48" fmla="*/ 190971 h 1582722"/>
              <a:gd name="connsiteX49" fmla="*/ 86780 w 247256"/>
              <a:gd name="connsiteY49" fmla="*/ 175446 h 1582722"/>
              <a:gd name="connsiteX50" fmla="*/ 89514 w 247256"/>
              <a:gd name="connsiteY50" fmla="*/ 159106 h 1582722"/>
              <a:gd name="connsiteX51" fmla="*/ 89892 w 247256"/>
              <a:gd name="connsiteY51" fmla="*/ 142394 h 1582722"/>
              <a:gd name="connsiteX52" fmla="*/ 87870 w 247256"/>
              <a:gd name="connsiteY52" fmla="*/ 125749 h 1582722"/>
              <a:gd name="connsiteX53" fmla="*/ 83064 w 247256"/>
              <a:gd name="connsiteY53" fmla="*/ 95451 h 1582722"/>
              <a:gd name="connsiteX54" fmla="*/ 80249 w 247256"/>
              <a:gd name="connsiteY54" fmla="*/ 61325 h 1582722"/>
              <a:gd name="connsiteX55" fmla="*/ 80049 w 247256"/>
              <a:gd name="connsiteY55" fmla="*/ 22837 h 1582722"/>
              <a:gd name="connsiteX56" fmla="*/ 81648 w 247256"/>
              <a:gd name="connsiteY56" fmla="*/ 0 h 1582722"/>
              <a:gd name="connsiteX57" fmla="*/ 247256 w 247256"/>
              <a:gd name="connsiteY57" fmla="*/ 112018 h 1582722"/>
              <a:gd name="connsiteX58" fmla="*/ 239364 w 247256"/>
              <a:gd name="connsiteY58" fmla="*/ 132621 h 1582722"/>
              <a:gd name="connsiteX59" fmla="*/ 234279 w 247256"/>
              <a:gd name="connsiteY59" fmla="*/ 147841 h 1582722"/>
              <a:gd name="connsiteX60" fmla="*/ 231537 w 247256"/>
              <a:gd name="connsiteY60" fmla="*/ 163909 h 1582722"/>
              <a:gd name="connsiteX61" fmla="*/ 231181 w 247256"/>
              <a:gd name="connsiteY61" fmla="*/ 180365 h 1582722"/>
              <a:gd name="connsiteX62" fmla="*/ 233254 w 247256"/>
              <a:gd name="connsiteY62" fmla="*/ 196751 h 1582722"/>
              <a:gd name="connsiteX63" fmla="*/ 238274 w 247256"/>
              <a:gd name="connsiteY63" fmla="*/ 226479 h 1582722"/>
              <a:gd name="connsiteX64" fmla="*/ 241462 w 247256"/>
              <a:gd name="connsiteY64" fmla="*/ 259892 h 1582722"/>
              <a:gd name="connsiteX65" fmla="*/ 242270 w 247256"/>
              <a:gd name="connsiteY65" fmla="*/ 297571 h 1582722"/>
              <a:gd name="connsiteX66" fmla="*/ 240143 w 247256"/>
              <a:gd name="connsiteY66" fmla="*/ 340090 h 1582722"/>
              <a:gd name="connsiteX67" fmla="*/ 235192 w 247256"/>
              <a:gd name="connsiteY67" fmla="*/ 382219 h 1582722"/>
              <a:gd name="connsiteX68" fmla="*/ 228185 w 247256"/>
              <a:gd name="connsiteY68" fmla="*/ 418790 h 1582722"/>
              <a:gd name="connsiteX69" fmla="*/ 219562 w 247256"/>
              <a:gd name="connsiteY69" fmla="*/ 450529 h 1582722"/>
              <a:gd name="connsiteX70" fmla="*/ 209764 w 247256"/>
              <a:gd name="connsiteY70" fmla="*/ 478166 h 1582722"/>
              <a:gd name="connsiteX71" fmla="*/ 205029 w 247256"/>
              <a:gd name="connsiteY71" fmla="*/ 493564 h 1582722"/>
              <a:gd name="connsiteX72" fmla="*/ 202662 w 247256"/>
              <a:gd name="connsiteY72" fmla="*/ 509714 h 1582722"/>
              <a:gd name="connsiteX73" fmla="*/ 202692 w 247256"/>
              <a:gd name="connsiteY73" fmla="*/ 526148 h 1582722"/>
              <a:gd name="connsiteX74" fmla="*/ 205150 w 247256"/>
              <a:gd name="connsiteY74" fmla="*/ 542405 h 1582722"/>
              <a:gd name="connsiteX75" fmla="*/ 210857 w 247256"/>
              <a:gd name="connsiteY75" fmla="*/ 571891 h 1582722"/>
              <a:gd name="connsiteX76" fmla="*/ 214818 w 247256"/>
              <a:gd name="connsiteY76" fmla="*/ 605124 h 1582722"/>
              <a:gd name="connsiteX77" fmla="*/ 216500 w 247256"/>
              <a:gd name="connsiteY77" fmla="*/ 642704 h 1582722"/>
              <a:gd name="connsiteX78" fmla="*/ 215369 w 247256"/>
              <a:gd name="connsiteY78" fmla="*/ 685227 h 1582722"/>
              <a:gd name="connsiteX79" fmla="*/ 211416 w 247256"/>
              <a:gd name="connsiteY79" fmla="*/ 727470 h 1582722"/>
              <a:gd name="connsiteX80" fmla="*/ 205270 w 247256"/>
              <a:gd name="connsiteY80" fmla="*/ 764247 h 1582722"/>
              <a:gd name="connsiteX81" fmla="*/ 197389 w 247256"/>
              <a:gd name="connsiteY81" fmla="*/ 796265 h 1582722"/>
              <a:gd name="connsiteX82" fmla="*/ 188234 w 247256"/>
              <a:gd name="connsiteY82" fmla="*/ 824229 h 1582722"/>
              <a:gd name="connsiteX83" fmla="*/ 183859 w 247256"/>
              <a:gd name="connsiteY83" fmla="*/ 839781 h 1582722"/>
              <a:gd name="connsiteX84" fmla="*/ 181872 w 247256"/>
              <a:gd name="connsiteY84" fmla="*/ 855989 h 1582722"/>
              <a:gd name="connsiteX85" fmla="*/ 182285 w 247256"/>
              <a:gd name="connsiteY85" fmla="*/ 872389 h 1582722"/>
              <a:gd name="connsiteX86" fmla="*/ 185115 w 247256"/>
              <a:gd name="connsiteY86" fmla="*/ 888523 h 1582722"/>
              <a:gd name="connsiteX87" fmla="*/ 191510 w 247256"/>
              <a:gd name="connsiteY87" fmla="*/ 917743 h 1582722"/>
              <a:gd name="connsiteX88" fmla="*/ 196249 w 247256"/>
              <a:gd name="connsiteY88" fmla="*/ 950766 h 1582722"/>
              <a:gd name="connsiteX89" fmla="*/ 198809 w 247256"/>
              <a:gd name="connsiteY89" fmla="*/ 988215 h 1582722"/>
              <a:gd name="connsiteX90" fmla="*/ 198663 w 247256"/>
              <a:gd name="connsiteY90" fmla="*/ 1030716 h 1582722"/>
              <a:gd name="connsiteX91" fmla="*/ 195697 w 247256"/>
              <a:gd name="connsiteY91" fmla="*/ 1073039 h 1582722"/>
              <a:gd name="connsiteX92" fmla="*/ 190407 w 247256"/>
              <a:gd name="connsiteY92" fmla="*/ 1109994 h 1582722"/>
              <a:gd name="connsiteX93" fmla="*/ 183272 w 247256"/>
              <a:gd name="connsiteY93" fmla="*/ 1142265 h 1582722"/>
              <a:gd name="connsiteX94" fmla="*/ 174772 w 247256"/>
              <a:gd name="connsiteY94" fmla="*/ 1170538 h 1582722"/>
              <a:gd name="connsiteX95" fmla="*/ 170768 w 247256"/>
              <a:gd name="connsiteY95" fmla="*/ 1186232 h 1582722"/>
              <a:gd name="connsiteX96" fmla="*/ 169157 w 247256"/>
              <a:gd name="connsiteY96" fmla="*/ 1202493 h 1582722"/>
              <a:gd name="connsiteX97" fmla="*/ 169949 w 247256"/>
              <a:gd name="connsiteY97" fmla="*/ 1218858 h 1582722"/>
              <a:gd name="connsiteX98" fmla="*/ 173150 w 247256"/>
              <a:gd name="connsiteY98" fmla="*/ 1234858 h 1582722"/>
              <a:gd name="connsiteX99" fmla="*/ 180218 w 247256"/>
              <a:gd name="connsiteY99" fmla="*/ 1263780 h 1582722"/>
              <a:gd name="connsiteX100" fmla="*/ 185724 w 247256"/>
              <a:gd name="connsiteY100" fmla="*/ 1296571 h 1582722"/>
              <a:gd name="connsiteX101" fmla="*/ 189156 w 247256"/>
              <a:gd name="connsiteY101" fmla="*/ 1333870 h 1582722"/>
              <a:gd name="connsiteX102" fmla="*/ 190004 w 247256"/>
              <a:gd name="connsiteY102" fmla="*/ 1376317 h 1582722"/>
              <a:gd name="connsiteX103" fmla="*/ 188006 w 247256"/>
              <a:gd name="connsiteY103" fmla="*/ 1418693 h 1582722"/>
              <a:gd name="connsiteX104" fmla="*/ 183576 w 247256"/>
              <a:gd name="connsiteY104" fmla="*/ 1455797 h 1582722"/>
              <a:gd name="connsiteX105" fmla="*/ 177196 w 247256"/>
              <a:gd name="connsiteY105" fmla="*/ 1488302 h 1582722"/>
              <a:gd name="connsiteX106" fmla="*/ 169358 w 247256"/>
              <a:gd name="connsiteY106" fmla="*/ 1516873 h 1582722"/>
              <a:gd name="connsiteX107" fmla="*/ 165712 w 247256"/>
              <a:gd name="connsiteY107" fmla="*/ 1532703 h 1582722"/>
              <a:gd name="connsiteX108" fmla="*/ 164476 w 247256"/>
              <a:gd name="connsiteY108" fmla="*/ 1549000 h 1582722"/>
              <a:gd name="connsiteX109" fmla="*/ 165649 w 247256"/>
              <a:gd name="connsiteY109" fmla="*/ 1565308 h 158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47256" h="1582722">
                <a:moveTo>
                  <a:pt x="169695" y="1582722"/>
                </a:moveTo>
                <a:lnTo>
                  <a:pt x="21845" y="1582722"/>
                </a:lnTo>
                <a:lnTo>
                  <a:pt x="24226" y="1566309"/>
                </a:lnTo>
                <a:lnTo>
                  <a:pt x="23046" y="1549238"/>
                </a:lnTo>
                <a:lnTo>
                  <a:pt x="18328" y="1533480"/>
                </a:lnTo>
                <a:lnTo>
                  <a:pt x="10736" y="1504301"/>
                </a:lnTo>
                <a:lnTo>
                  <a:pt x="4771" y="1471029"/>
                </a:lnTo>
                <a:lnTo>
                  <a:pt x="1002" y="1433039"/>
                </a:lnTo>
                <a:lnTo>
                  <a:pt x="0" y="1389705"/>
                </a:lnTo>
                <a:lnTo>
                  <a:pt x="2069" y="1346431"/>
                </a:lnTo>
                <a:lnTo>
                  <a:pt x="6769" y="1308608"/>
                </a:lnTo>
                <a:lnTo>
                  <a:pt x="13553" y="1275580"/>
                </a:lnTo>
                <a:lnTo>
                  <a:pt x="21867" y="1246693"/>
                </a:lnTo>
                <a:lnTo>
                  <a:pt x="25808" y="1230713"/>
                </a:lnTo>
                <a:lnTo>
                  <a:pt x="27387" y="1214192"/>
                </a:lnTo>
                <a:lnTo>
                  <a:pt x="26594" y="1197568"/>
                </a:lnTo>
                <a:lnTo>
                  <a:pt x="23426" y="1181282"/>
                </a:lnTo>
                <a:lnTo>
                  <a:pt x="16512" y="1151787"/>
                </a:lnTo>
                <a:lnTo>
                  <a:pt x="11323" y="1118275"/>
                </a:lnTo>
                <a:lnTo>
                  <a:pt x="8442" y="1080132"/>
                </a:lnTo>
                <a:lnTo>
                  <a:pt x="8447" y="1036742"/>
                </a:lnTo>
                <a:lnTo>
                  <a:pt x="11522" y="993526"/>
                </a:lnTo>
                <a:lnTo>
                  <a:pt x="17101" y="955865"/>
                </a:lnTo>
                <a:lnTo>
                  <a:pt x="24647" y="923079"/>
                </a:lnTo>
                <a:lnTo>
                  <a:pt x="33623" y="894494"/>
                </a:lnTo>
                <a:lnTo>
                  <a:pt x="37928" y="878654"/>
                </a:lnTo>
                <a:lnTo>
                  <a:pt x="39893" y="862181"/>
                </a:lnTo>
                <a:lnTo>
                  <a:pt x="39492" y="845518"/>
                </a:lnTo>
                <a:lnTo>
                  <a:pt x="36698" y="829111"/>
                </a:lnTo>
                <a:lnTo>
                  <a:pt x="30484" y="799328"/>
                </a:lnTo>
                <a:lnTo>
                  <a:pt x="26084" y="765587"/>
                </a:lnTo>
                <a:lnTo>
                  <a:pt x="24086" y="727294"/>
                </a:lnTo>
                <a:lnTo>
                  <a:pt x="25090" y="683863"/>
                </a:lnTo>
                <a:lnTo>
                  <a:pt x="29179" y="640742"/>
                </a:lnTo>
                <a:lnTo>
                  <a:pt x="35635" y="603271"/>
                </a:lnTo>
                <a:lnTo>
                  <a:pt x="43937" y="570758"/>
                </a:lnTo>
                <a:lnTo>
                  <a:pt x="53573" y="542515"/>
                </a:lnTo>
                <a:lnTo>
                  <a:pt x="58248" y="526827"/>
                </a:lnTo>
                <a:lnTo>
                  <a:pt x="60595" y="510411"/>
                </a:lnTo>
                <a:lnTo>
                  <a:pt x="60585" y="493714"/>
                </a:lnTo>
                <a:lnTo>
                  <a:pt x="58187" y="477185"/>
                </a:lnTo>
                <a:lnTo>
                  <a:pt x="52663" y="447126"/>
                </a:lnTo>
                <a:lnTo>
                  <a:pt x="49046" y="413180"/>
                </a:lnTo>
                <a:lnTo>
                  <a:pt x="47945" y="374782"/>
                </a:lnTo>
                <a:lnTo>
                  <a:pt x="49971" y="331364"/>
                </a:lnTo>
                <a:lnTo>
                  <a:pt x="55065" y="288346"/>
                </a:lnTo>
                <a:lnTo>
                  <a:pt x="62395" y="251086"/>
                </a:lnTo>
                <a:lnTo>
                  <a:pt x="71456" y="218866"/>
                </a:lnTo>
                <a:lnTo>
                  <a:pt x="81741" y="190971"/>
                </a:lnTo>
                <a:lnTo>
                  <a:pt x="86780" y="175446"/>
                </a:lnTo>
                <a:lnTo>
                  <a:pt x="89514" y="159106"/>
                </a:lnTo>
                <a:lnTo>
                  <a:pt x="89892" y="142394"/>
                </a:lnTo>
                <a:lnTo>
                  <a:pt x="87870" y="125749"/>
                </a:lnTo>
                <a:lnTo>
                  <a:pt x="83064" y="95451"/>
                </a:lnTo>
                <a:lnTo>
                  <a:pt x="80249" y="61325"/>
                </a:lnTo>
                <a:lnTo>
                  <a:pt x="80049" y="22837"/>
                </a:lnTo>
                <a:lnTo>
                  <a:pt x="81648" y="0"/>
                </a:lnTo>
                <a:lnTo>
                  <a:pt x="247256" y="112018"/>
                </a:lnTo>
                <a:lnTo>
                  <a:pt x="239364" y="132621"/>
                </a:lnTo>
                <a:lnTo>
                  <a:pt x="234279" y="147841"/>
                </a:lnTo>
                <a:lnTo>
                  <a:pt x="231537" y="163909"/>
                </a:lnTo>
                <a:lnTo>
                  <a:pt x="231181" y="180365"/>
                </a:lnTo>
                <a:lnTo>
                  <a:pt x="233254" y="196751"/>
                </a:lnTo>
                <a:lnTo>
                  <a:pt x="238274" y="226479"/>
                </a:lnTo>
                <a:lnTo>
                  <a:pt x="241462" y="259892"/>
                </a:lnTo>
                <a:lnTo>
                  <a:pt x="242270" y="297571"/>
                </a:lnTo>
                <a:lnTo>
                  <a:pt x="240143" y="340090"/>
                </a:lnTo>
                <a:lnTo>
                  <a:pt x="235192" y="382219"/>
                </a:lnTo>
                <a:lnTo>
                  <a:pt x="228185" y="418790"/>
                </a:lnTo>
                <a:lnTo>
                  <a:pt x="219562" y="450529"/>
                </a:lnTo>
                <a:lnTo>
                  <a:pt x="209764" y="478166"/>
                </a:lnTo>
                <a:lnTo>
                  <a:pt x="205029" y="493564"/>
                </a:lnTo>
                <a:lnTo>
                  <a:pt x="202662" y="509714"/>
                </a:lnTo>
                <a:lnTo>
                  <a:pt x="202692" y="526148"/>
                </a:lnTo>
                <a:lnTo>
                  <a:pt x="205150" y="542405"/>
                </a:lnTo>
                <a:lnTo>
                  <a:pt x="210857" y="571891"/>
                </a:lnTo>
                <a:lnTo>
                  <a:pt x="214818" y="605124"/>
                </a:lnTo>
                <a:lnTo>
                  <a:pt x="216500" y="642704"/>
                </a:lnTo>
                <a:lnTo>
                  <a:pt x="215369" y="685227"/>
                </a:lnTo>
                <a:lnTo>
                  <a:pt x="211416" y="727470"/>
                </a:lnTo>
                <a:lnTo>
                  <a:pt x="205270" y="764247"/>
                </a:lnTo>
                <a:lnTo>
                  <a:pt x="197389" y="796265"/>
                </a:lnTo>
                <a:lnTo>
                  <a:pt x="188234" y="824229"/>
                </a:lnTo>
                <a:lnTo>
                  <a:pt x="183859" y="839781"/>
                </a:lnTo>
                <a:lnTo>
                  <a:pt x="181872" y="855989"/>
                </a:lnTo>
                <a:lnTo>
                  <a:pt x="182285" y="872389"/>
                </a:lnTo>
                <a:lnTo>
                  <a:pt x="185115" y="888523"/>
                </a:lnTo>
                <a:lnTo>
                  <a:pt x="191510" y="917743"/>
                </a:lnTo>
                <a:lnTo>
                  <a:pt x="196249" y="950766"/>
                </a:lnTo>
                <a:lnTo>
                  <a:pt x="198809" y="988215"/>
                </a:lnTo>
                <a:lnTo>
                  <a:pt x="198663" y="1030716"/>
                </a:lnTo>
                <a:lnTo>
                  <a:pt x="195697" y="1073039"/>
                </a:lnTo>
                <a:lnTo>
                  <a:pt x="190407" y="1109994"/>
                </a:lnTo>
                <a:lnTo>
                  <a:pt x="183272" y="1142265"/>
                </a:lnTo>
                <a:lnTo>
                  <a:pt x="174772" y="1170538"/>
                </a:lnTo>
                <a:lnTo>
                  <a:pt x="170768" y="1186232"/>
                </a:lnTo>
                <a:lnTo>
                  <a:pt x="169157" y="1202493"/>
                </a:lnTo>
                <a:lnTo>
                  <a:pt x="169949" y="1218858"/>
                </a:lnTo>
                <a:lnTo>
                  <a:pt x="173150" y="1234858"/>
                </a:lnTo>
                <a:lnTo>
                  <a:pt x="180218" y="1263780"/>
                </a:lnTo>
                <a:lnTo>
                  <a:pt x="185724" y="1296571"/>
                </a:lnTo>
                <a:lnTo>
                  <a:pt x="189156" y="1333870"/>
                </a:lnTo>
                <a:lnTo>
                  <a:pt x="190004" y="1376317"/>
                </a:lnTo>
                <a:lnTo>
                  <a:pt x="188006" y="1418693"/>
                </a:lnTo>
                <a:lnTo>
                  <a:pt x="183576" y="1455797"/>
                </a:lnTo>
                <a:lnTo>
                  <a:pt x="177196" y="1488302"/>
                </a:lnTo>
                <a:lnTo>
                  <a:pt x="169358" y="1516873"/>
                </a:lnTo>
                <a:lnTo>
                  <a:pt x="165712" y="1532703"/>
                </a:lnTo>
                <a:lnTo>
                  <a:pt x="164476" y="1549000"/>
                </a:lnTo>
                <a:lnTo>
                  <a:pt x="165649" y="1565308"/>
                </a:lnTo>
                <a:close/>
              </a:path>
            </a:pathLst>
          </a:custGeom>
          <a:solidFill>
            <a:schemeClr val="accent5">
              <a:alpha val="68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6" name="Freeform: Shape 121">
            <a:extLst>
              <a:ext uri="{FF2B5EF4-FFF2-40B4-BE49-F238E27FC236}">
                <a16:creationId xmlns:a16="http://schemas.microsoft.com/office/drawing/2014/main" id="{A453E4B1-BBDF-54DC-E6D8-9D2FB123DA7F}"/>
              </a:ext>
            </a:extLst>
          </p:cNvPr>
          <p:cNvSpPr/>
          <p:nvPr/>
        </p:nvSpPr>
        <p:spPr>
          <a:xfrm rot="18745647" flipH="1">
            <a:off x="11329869" y="3683190"/>
            <a:ext cx="439901" cy="1604380"/>
          </a:xfrm>
          <a:custGeom>
            <a:avLst/>
            <a:gdLst>
              <a:gd name="connsiteX0" fmla="*/ 253217 w 439091"/>
              <a:gd name="connsiteY0" fmla="*/ 0 h 1601425"/>
              <a:gd name="connsiteX1" fmla="*/ 328532 w 439091"/>
              <a:gd name="connsiteY1" fmla="*/ 28874 h 1601425"/>
              <a:gd name="connsiteX2" fmla="*/ 363819 w 439091"/>
              <a:gd name="connsiteY2" fmla="*/ 23857 h 1601425"/>
              <a:gd name="connsiteX3" fmla="*/ 439091 w 439091"/>
              <a:gd name="connsiteY3" fmla="*/ 52869 h 1601425"/>
              <a:gd name="connsiteX4" fmla="*/ 428218 w 439091"/>
              <a:gd name="connsiteY4" fmla="*/ 93712 h 1601425"/>
              <a:gd name="connsiteX5" fmla="*/ 416105 w 439091"/>
              <a:gd name="connsiteY5" fmla="*/ 128531 h 1601425"/>
              <a:gd name="connsiteX6" fmla="*/ 403088 w 439091"/>
              <a:gd name="connsiteY6" fmla="*/ 158159 h 1601425"/>
              <a:gd name="connsiteX7" fmla="*/ 389499 w 439091"/>
              <a:gd name="connsiteY7" fmla="*/ 183418 h 1601425"/>
              <a:gd name="connsiteX8" fmla="*/ 382658 w 439091"/>
              <a:gd name="connsiteY8" fmla="*/ 197652 h 1601425"/>
              <a:gd name="connsiteX9" fmla="*/ 378033 w 439091"/>
              <a:gd name="connsiteY9" fmla="*/ 213183 h 1601425"/>
              <a:gd name="connsiteX10" fmla="*/ 375724 w 439091"/>
              <a:gd name="connsiteY10" fmla="*/ 229558 h 1601425"/>
              <a:gd name="connsiteX11" fmla="*/ 375827 w 439091"/>
              <a:gd name="connsiteY11" fmla="*/ 246322 h 1601425"/>
              <a:gd name="connsiteX12" fmla="*/ 377247 w 439091"/>
              <a:gd name="connsiteY12" fmla="*/ 277025 h 1601425"/>
              <a:gd name="connsiteX13" fmla="*/ 372737 w 439091"/>
              <a:gd name="connsiteY13" fmla="*/ 348860 h 1601425"/>
              <a:gd name="connsiteX14" fmla="*/ 344455 w 439091"/>
              <a:gd name="connsiteY14" fmla="*/ 467241 h 1601425"/>
              <a:gd name="connsiteX15" fmla="*/ 332168 w 439091"/>
              <a:gd name="connsiteY15" fmla="*/ 497268 h 1601425"/>
              <a:gd name="connsiteX16" fmla="*/ 319200 w 439091"/>
              <a:gd name="connsiteY16" fmla="*/ 522965 h 1601425"/>
              <a:gd name="connsiteX17" fmla="*/ 312696 w 439091"/>
              <a:gd name="connsiteY17" fmla="*/ 537420 h 1601425"/>
              <a:gd name="connsiteX18" fmla="*/ 308444 w 439091"/>
              <a:gd name="connsiteY18" fmla="*/ 553082 h 1601425"/>
              <a:gd name="connsiteX19" fmla="*/ 306531 w 439091"/>
              <a:gd name="connsiteY19" fmla="*/ 569500 h 1601425"/>
              <a:gd name="connsiteX20" fmla="*/ 307044 w 439091"/>
              <a:gd name="connsiteY20" fmla="*/ 586222 h 1601425"/>
              <a:gd name="connsiteX21" fmla="*/ 309199 w 439091"/>
              <a:gd name="connsiteY21" fmla="*/ 616761 h 1601425"/>
              <a:gd name="connsiteX22" fmla="*/ 306422 w 439091"/>
              <a:gd name="connsiteY22" fmla="*/ 688538 h 1601425"/>
              <a:gd name="connsiteX23" fmla="*/ 280972 w 439091"/>
              <a:gd name="connsiteY23" fmla="*/ 807642 h 1601425"/>
              <a:gd name="connsiteX24" fmla="*/ 269405 w 439091"/>
              <a:gd name="connsiteY24" fmla="*/ 838057 h 1601425"/>
              <a:gd name="connsiteX25" fmla="*/ 257052 w 439091"/>
              <a:gd name="connsiteY25" fmla="*/ 864175 h 1601425"/>
              <a:gd name="connsiteX26" fmla="*/ 250906 w 439091"/>
              <a:gd name="connsiteY26" fmla="*/ 878849 h 1601425"/>
              <a:gd name="connsiteX27" fmla="*/ 247031 w 439091"/>
              <a:gd name="connsiteY27" fmla="*/ 894632 h 1601425"/>
              <a:gd name="connsiteX28" fmla="*/ 245507 w 439091"/>
              <a:gd name="connsiteY28" fmla="*/ 911069 h 1601425"/>
              <a:gd name="connsiteX29" fmla="*/ 246412 w 439091"/>
              <a:gd name="connsiteY29" fmla="*/ 927705 h 1601425"/>
              <a:gd name="connsiteX30" fmla="*/ 249297 w 439091"/>
              <a:gd name="connsiteY30" fmla="*/ 958083 h 1601425"/>
              <a:gd name="connsiteX31" fmla="*/ 250098 w 439091"/>
              <a:gd name="connsiteY31" fmla="*/ 991931 h 1601425"/>
              <a:gd name="connsiteX32" fmla="*/ 248232 w 439091"/>
              <a:gd name="connsiteY32" fmla="*/ 1029767 h 1601425"/>
              <a:gd name="connsiteX33" fmla="*/ 243105 w 439091"/>
              <a:gd name="connsiteY33" fmla="*/ 1072107 h 1601425"/>
              <a:gd name="connsiteX34" fmla="*/ 235204 w 439091"/>
              <a:gd name="connsiteY34" fmla="*/ 1113715 h 1601425"/>
              <a:gd name="connsiteX35" fmla="*/ 225635 w 439091"/>
              <a:gd name="connsiteY35" fmla="*/ 1149520 h 1601425"/>
              <a:gd name="connsiteX36" fmla="*/ 214795 w 439091"/>
              <a:gd name="connsiteY36" fmla="*/ 1180300 h 1601425"/>
              <a:gd name="connsiteX37" fmla="*/ 203077 w 439091"/>
              <a:gd name="connsiteY37" fmla="*/ 1206830 h 1601425"/>
              <a:gd name="connsiteX38" fmla="*/ 197273 w 439091"/>
              <a:gd name="connsiteY38" fmla="*/ 1221705 h 1601425"/>
              <a:gd name="connsiteX39" fmla="*/ 193776 w 439091"/>
              <a:gd name="connsiteY39" fmla="*/ 1237594 h 1601425"/>
              <a:gd name="connsiteX40" fmla="*/ 192649 w 439091"/>
              <a:gd name="connsiteY40" fmla="*/ 1254046 h 1601425"/>
              <a:gd name="connsiteX41" fmla="*/ 193955 w 439091"/>
              <a:gd name="connsiteY41" fmla="*/ 1270605 h 1601425"/>
              <a:gd name="connsiteX42" fmla="*/ 197556 w 439091"/>
              <a:gd name="connsiteY42" fmla="*/ 1300791 h 1601425"/>
              <a:gd name="connsiteX43" fmla="*/ 199159 w 439091"/>
              <a:gd name="connsiteY43" fmla="*/ 1334524 h 1601425"/>
              <a:gd name="connsiteX44" fmla="*/ 198185 w 439091"/>
              <a:gd name="connsiteY44" fmla="*/ 1372339 h 1601425"/>
              <a:gd name="connsiteX45" fmla="*/ 194061 w 439091"/>
              <a:gd name="connsiteY45" fmla="*/ 1414762 h 1601425"/>
              <a:gd name="connsiteX46" fmla="*/ 187146 w 439091"/>
              <a:gd name="connsiteY46" fmla="*/ 1456576 h 1601425"/>
              <a:gd name="connsiteX47" fmla="*/ 178429 w 439091"/>
              <a:gd name="connsiteY47" fmla="*/ 1492662 h 1601425"/>
              <a:gd name="connsiteX48" fmla="*/ 168321 w 439091"/>
              <a:gd name="connsiteY48" fmla="*/ 1523780 h 1601425"/>
              <a:gd name="connsiteX49" fmla="*/ 157235 w 439091"/>
              <a:gd name="connsiteY49" fmla="*/ 1550686 h 1601425"/>
              <a:gd name="connsiteX50" fmla="*/ 151790 w 439091"/>
              <a:gd name="connsiteY50" fmla="*/ 1565742 h 1601425"/>
              <a:gd name="connsiteX51" fmla="*/ 148669 w 439091"/>
              <a:gd name="connsiteY51" fmla="*/ 1581731 h 1601425"/>
              <a:gd name="connsiteX52" fmla="*/ 147930 w 439091"/>
              <a:gd name="connsiteY52" fmla="*/ 1598196 h 1601425"/>
              <a:gd name="connsiteX53" fmla="*/ 148263 w 439091"/>
              <a:gd name="connsiteY53" fmla="*/ 1601425 h 1601425"/>
              <a:gd name="connsiteX54" fmla="*/ 0 w 439091"/>
              <a:gd name="connsiteY54" fmla="*/ 1465912 h 1601425"/>
              <a:gd name="connsiteX55" fmla="*/ 579 w 439091"/>
              <a:gd name="connsiteY55" fmla="*/ 1434598 h 1601425"/>
              <a:gd name="connsiteX56" fmla="*/ 4647 w 439091"/>
              <a:gd name="connsiteY56" fmla="*/ 1391260 h 1601425"/>
              <a:gd name="connsiteX57" fmla="*/ 11753 w 439091"/>
              <a:gd name="connsiteY57" fmla="*/ 1348568 h 1601425"/>
              <a:gd name="connsiteX58" fmla="*/ 20820 w 439091"/>
              <a:gd name="connsiteY58" fmla="*/ 1311810 h 1601425"/>
              <a:gd name="connsiteX59" fmla="*/ 31380 w 439091"/>
              <a:gd name="connsiteY59" fmla="*/ 1280230 h 1601425"/>
              <a:gd name="connsiteX60" fmla="*/ 42967 w 439091"/>
              <a:gd name="connsiteY60" fmla="*/ 1253073 h 1601425"/>
              <a:gd name="connsiteX61" fmla="*/ 48740 w 439091"/>
              <a:gd name="connsiteY61" fmla="*/ 1237911 h 1601425"/>
              <a:gd name="connsiteX62" fmla="*/ 52240 w 439091"/>
              <a:gd name="connsiteY62" fmla="*/ 1221756 h 1601425"/>
              <a:gd name="connsiteX63" fmla="*/ 53405 w 439091"/>
              <a:gd name="connsiteY63" fmla="*/ 1205042 h 1601425"/>
              <a:gd name="connsiteX64" fmla="*/ 52174 w 439091"/>
              <a:gd name="connsiteY64" fmla="*/ 1188207 h 1601425"/>
              <a:gd name="connsiteX65" fmla="*/ 48798 w 439091"/>
              <a:gd name="connsiteY65" fmla="*/ 1157476 h 1601425"/>
              <a:gd name="connsiteX66" fmla="*/ 47600 w 439091"/>
              <a:gd name="connsiteY66" fmla="*/ 1123069 h 1601425"/>
              <a:gd name="connsiteX67" fmla="*/ 49226 w 439091"/>
              <a:gd name="connsiteY67" fmla="*/ 1084488 h 1601425"/>
              <a:gd name="connsiteX68" fmla="*/ 54322 w 439091"/>
              <a:gd name="connsiteY68" fmla="*/ 1041243 h 1601425"/>
              <a:gd name="connsiteX69" fmla="*/ 62435 w 439091"/>
              <a:gd name="connsiteY69" fmla="*/ 998763 h 1601425"/>
              <a:gd name="connsiteX70" fmla="*/ 72375 w 439091"/>
              <a:gd name="connsiteY70" fmla="*/ 962297 h 1601425"/>
              <a:gd name="connsiteX71" fmla="*/ 83685 w 439091"/>
              <a:gd name="connsiteY71" fmla="*/ 931072 h 1601425"/>
              <a:gd name="connsiteX72" fmla="*/ 95909 w 439091"/>
              <a:gd name="connsiteY72" fmla="*/ 904312 h 1601425"/>
              <a:gd name="connsiteX73" fmla="*/ 102035 w 439091"/>
              <a:gd name="connsiteY73" fmla="*/ 889348 h 1601425"/>
              <a:gd name="connsiteX74" fmla="*/ 105918 w 439091"/>
              <a:gd name="connsiteY74" fmla="*/ 873300 h 1601425"/>
              <a:gd name="connsiteX75" fmla="*/ 107484 w 439091"/>
              <a:gd name="connsiteY75" fmla="*/ 856600 h 1601425"/>
              <a:gd name="connsiteX76" fmla="*/ 106653 w 439091"/>
              <a:gd name="connsiteY76" fmla="*/ 839691 h 1601425"/>
              <a:gd name="connsiteX77" fmla="*/ 104010 w 439091"/>
              <a:gd name="connsiteY77" fmla="*/ 808769 h 1601425"/>
              <a:gd name="connsiteX78" fmla="*/ 103630 w 439091"/>
              <a:gd name="connsiteY78" fmla="*/ 774252 h 1601425"/>
              <a:gd name="connsiteX79" fmla="*/ 106173 w 439091"/>
              <a:gd name="connsiteY79" fmla="*/ 735665 h 1601425"/>
              <a:gd name="connsiteX80" fmla="*/ 112300 w 439091"/>
              <a:gd name="connsiteY80" fmla="*/ 692535 h 1601425"/>
              <a:gd name="connsiteX81" fmla="*/ 121421 w 439091"/>
              <a:gd name="connsiteY81" fmla="*/ 650285 h 1601425"/>
              <a:gd name="connsiteX82" fmla="*/ 132225 w 439091"/>
              <a:gd name="connsiteY82" fmla="*/ 614135 h 1601425"/>
              <a:gd name="connsiteX83" fmla="*/ 144273 w 439091"/>
              <a:gd name="connsiteY83" fmla="*/ 583283 h 1601425"/>
              <a:gd name="connsiteX84" fmla="*/ 157129 w 439091"/>
              <a:gd name="connsiteY84" fmla="*/ 556940 h 1601425"/>
              <a:gd name="connsiteX85" fmla="*/ 163617 w 439091"/>
              <a:gd name="connsiteY85" fmla="*/ 542180 h 1601425"/>
              <a:gd name="connsiteX86" fmla="*/ 167887 w 439091"/>
              <a:gd name="connsiteY86" fmla="*/ 526252 h 1601425"/>
              <a:gd name="connsiteX87" fmla="*/ 169854 w 439091"/>
              <a:gd name="connsiteY87" fmla="*/ 509585 h 1601425"/>
              <a:gd name="connsiteX88" fmla="*/ 169433 w 439091"/>
              <a:gd name="connsiteY88" fmla="*/ 492617 h 1601425"/>
              <a:gd name="connsiteX89" fmla="*/ 167527 w 439091"/>
              <a:gd name="connsiteY89" fmla="*/ 461538 h 1601425"/>
              <a:gd name="connsiteX90" fmla="*/ 167971 w 439091"/>
              <a:gd name="connsiteY90" fmla="*/ 426934 h 1601425"/>
              <a:gd name="connsiteX91" fmla="*/ 178598 w 439091"/>
              <a:gd name="connsiteY91" fmla="*/ 345380 h 1601425"/>
              <a:gd name="connsiteX92" fmla="*/ 200400 w 439091"/>
              <a:gd name="connsiteY92" fmla="*/ 267570 h 1601425"/>
              <a:gd name="connsiteX93" fmla="*/ 213186 w 439091"/>
              <a:gd name="connsiteY93" fmla="*/ 237122 h 1601425"/>
              <a:gd name="connsiteX94" fmla="*/ 226672 w 439091"/>
              <a:gd name="connsiteY94" fmla="*/ 211230 h 1601425"/>
              <a:gd name="connsiteX95" fmla="*/ 233510 w 439091"/>
              <a:gd name="connsiteY95" fmla="*/ 196691 h 1601425"/>
              <a:gd name="connsiteX96" fmla="*/ 238160 w 439091"/>
              <a:gd name="connsiteY96" fmla="*/ 180887 h 1601425"/>
              <a:gd name="connsiteX97" fmla="*/ 240525 w 439091"/>
              <a:gd name="connsiteY97" fmla="*/ 164248 h 1601425"/>
              <a:gd name="connsiteX98" fmla="*/ 240513 w 439091"/>
              <a:gd name="connsiteY98" fmla="*/ 147210 h 1601425"/>
              <a:gd name="connsiteX99" fmla="*/ 239364 w 439091"/>
              <a:gd name="connsiteY99" fmla="*/ 115997 h 1601425"/>
              <a:gd name="connsiteX100" fmla="*/ 240639 w 439091"/>
              <a:gd name="connsiteY100" fmla="*/ 81344 h 1601425"/>
              <a:gd name="connsiteX101" fmla="*/ 245029 w 439091"/>
              <a:gd name="connsiteY101" fmla="*/ 42821 h 160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39091" h="1601425">
                <a:moveTo>
                  <a:pt x="253217" y="0"/>
                </a:moveTo>
                <a:lnTo>
                  <a:pt x="328532" y="28874"/>
                </a:lnTo>
                <a:lnTo>
                  <a:pt x="363819" y="23857"/>
                </a:lnTo>
                <a:lnTo>
                  <a:pt x="439091" y="52869"/>
                </a:lnTo>
                <a:lnTo>
                  <a:pt x="428218" y="93712"/>
                </a:lnTo>
                <a:lnTo>
                  <a:pt x="416105" y="128531"/>
                </a:lnTo>
                <a:lnTo>
                  <a:pt x="403088" y="158159"/>
                </a:lnTo>
                <a:lnTo>
                  <a:pt x="389499" y="183418"/>
                </a:lnTo>
                <a:lnTo>
                  <a:pt x="382658" y="197652"/>
                </a:lnTo>
                <a:lnTo>
                  <a:pt x="378033" y="213183"/>
                </a:lnTo>
                <a:lnTo>
                  <a:pt x="375724" y="229558"/>
                </a:lnTo>
                <a:lnTo>
                  <a:pt x="375827" y="246322"/>
                </a:lnTo>
                <a:lnTo>
                  <a:pt x="377247" y="277025"/>
                </a:lnTo>
                <a:lnTo>
                  <a:pt x="372737" y="348860"/>
                </a:lnTo>
                <a:lnTo>
                  <a:pt x="344455" y="467241"/>
                </a:lnTo>
                <a:lnTo>
                  <a:pt x="332168" y="497268"/>
                </a:lnTo>
                <a:lnTo>
                  <a:pt x="319200" y="522965"/>
                </a:lnTo>
                <a:lnTo>
                  <a:pt x="312696" y="537420"/>
                </a:lnTo>
                <a:lnTo>
                  <a:pt x="308444" y="553082"/>
                </a:lnTo>
                <a:lnTo>
                  <a:pt x="306531" y="569500"/>
                </a:lnTo>
                <a:lnTo>
                  <a:pt x="307044" y="586222"/>
                </a:lnTo>
                <a:lnTo>
                  <a:pt x="309199" y="616761"/>
                </a:lnTo>
                <a:lnTo>
                  <a:pt x="306422" y="688538"/>
                </a:lnTo>
                <a:lnTo>
                  <a:pt x="280972" y="807642"/>
                </a:lnTo>
                <a:lnTo>
                  <a:pt x="269405" y="838057"/>
                </a:lnTo>
                <a:lnTo>
                  <a:pt x="257052" y="864175"/>
                </a:lnTo>
                <a:lnTo>
                  <a:pt x="250906" y="878849"/>
                </a:lnTo>
                <a:lnTo>
                  <a:pt x="247031" y="894632"/>
                </a:lnTo>
                <a:lnTo>
                  <a:pt x="245507" y="911069"/>
                </a:lnTo>
                <a:lnTo>
                  <a:pt x="246412" y="927705"/>
                </a:lnTo>
                <a:lnTo>
                  <a:pt x="249297" y="958083"/>
                </a:lnTo>
                <a:lnTo>
                  <a:pt x="250098" y="991931"/>
                </a:lnTo>
                <a:lnTo>
                  <a:pt x="248232" y="1029767"/>
                </a:lnTo>
                <a:lnTo>
                  <a:pt x="243105" y="1072107"/>
                </a:lnTo>
                <a:lnTo>
                  <a:pt x="235204" y="1113715"/>
                </a:lnTo>
                <a:lnTo>
                  <a:pt x="225635" y="1149520"/>
                </a:lnTo>
                <a:lnTo>
                  <a:pt x="214795" y="1180300"/>
                </a:lnTo>
                <a:lnTo>
                  <a:pt x="203077" y="1206830"/>
                </a:lnTo>
                <a:lnTo>
                  <a:pt x="197273" y="1221705"/>
                </a:lnTo>
                <a:lnTo>
                  <a:pt x="193776" y="1237594"/>
                </a:lnTo>
                <a:lnTo>
                  <a:pt x="192649" y="1254046"/>
                </a:lnTo>
                <a:lnTo>
                  <a:pt x="193955" y="1270605"/>
                </a:lnTo>
                <a:lnTo>
                  <a:pt x="197556" y="1300791"/>
                </a:lnTo>
                <a:lnTo>
                  <a:pt x="199159" y="1334524"/>
                </a:lnTo>
                <a:lnTo>
                  <a:pt x="198185" y="1372339"/>
                </a:lnTo>
                <a:lnTo>
                  <a:pt x="194061" y="1414762"/>
                </a:lnTo>
                <a:lnTo>
                  <a:pt x="187146" y="1456576"/>
                </a:lnTo>
                <a:lnTo>
                  <a:pt x="178429" y="1492662"/>
                </a:lnTo>
                <a:lnTo>
                  <a:pt x="168321" y="1523780"/>
                </a:lnTo>
                <a:lnTo>
                  <a:pt x="157235" y="1550686"/>
                </a:lnTo>
                <a:lnTo>
                  <a:pt x="151790" y="1565742"/>
                </a:lnTo>
                <a:lnTo>
                  <a:pt x="148669" y="1581731"/>
                </a:lnTo>
                <a:lnTo>
                  <a:pt x="147930" y="1598196"/>
                </a:lnTo>
                <a:lnTo>
                  <a:pt x="148263" y="1601425"/>
                </a:lnTo>
                <a:lnTo>
                  <a:pt x="0" y="1465912"/>
                </a:lnTo>
                <a:lnTo>
                  <a:pt x="579" y="1434598"/>
                </a:lnTo>
                <a:lnTo>
                  <a:pt x="4647" y="1391260"/>
                </a:lnTo>
                <a:lnTo>
                  <a:pt x="11753" y="1348568"/>
                </a:lnTo>
                <a:lnTo>
                  <a:pt x="20820" y="1311810"/>
                </a:lnTo>
                <a:lnTo>
                  <a:pt x="31380" y="1280230"/>
                </a:lnTo>
                <a:lnTo>
                  <a:pt x="42967" y="1253073"/>
                </a:lnTo>
                <a:lnTo>
                  <a:pt x="48740" y="1237911"/>
                </a:lnTo>
                <a:lnTo>
                  <a:pt x="52240" y="1221756"/>
                </a:lnTo>
                <a:lnTo>
                  <a:pt x="53405" y="1205042"/>
                </a:lnTo>
                <a:lnTo>
                  <a:pt x="52174" y="1188207"/>
                </a:lnTo>
                <a:lnTo>
                  <a:pt x="48798" y="1157476"/>
                </a:lnTo>
                <a:lnTo>
                  <a:pt x="47600" y="1123069"/>
                </a:lnTo>
                <a:lnTo>
                  <a:pt x="49226" y="1084488"/>
                </a:lnTo>
                <a:lnTo>
                  <a:pt x="54322" y="1041243"/>
                </a:lnTo>
                <a:lnTo>
                  <a:pt x="62435" y="998763"/>
                </a:lnTo>
                <a:lnTo>
                  <a:pt x="72375" y="962297"/>
                </a:lnTo>
                <a:lnTo>
                  <a:pt x="83685" y="931072"/>
                </a:lnTo>
                <a:lnTo>
                  <a:pt x="95909" y="904312"/>
                </a:lnTo>
                <a:lnTo>
                  <a:pt x="102035" y="889348"/>
                </a:lnTo>
                <a:lnTo>
                  <a:pt x="105918" y="873300"/>
                </a:lnTo>
                <a:lnTo>
                  <a:pt x="107484" y="856600"/>
                </a:lnTo>
                <a:lnTo>
                  <a:pt x="106653" y="839691"/>
                </a:lnTo>
                <a:lnTo>
                  <a:pt x="104010" y="808769"/>
                </a:lnTo>
                <a:lnTo>
                  <a:pt x="103630" y="774252"/>
                </a:lnTo>
                <a:lnTo>
                  <a:pt x="106173" y="735665"/>
                </a:lnTo>
                <a:lnTo>
                  <a:pt x="112300" y="692535"/>
                </a:lnTo>
                <a:lnTo>
                  <a:pt x="121421" y="650285"/>
                </a:lnTo>
                <a:lnTo>
                  <a:pt x="132225" y="614135"/>
                </a:lnTo>
                <a:lnTo>
                  <a:pt x="144273" y="583283"/>
                </a:lnTo>
                <a:lnTo>
                  <a:pt x="157129" y="556940"/>
                </a:lnTo>
                <a:lnTo>
                  <a:pt x="163617" y="542180"/>
                </a:lnTo>
                <a:lnTo>
                  <a:pt x="167887" y="526252"/>
                </a:lnTo>
                <a:lnTo>
                  <a:pt x="169854" y="509585"/>
                </a:lnTo>
                <a:lnTo>
                  <a:pt x="169433" y="492617"/>
                </a:lnTo>
                <a:lnTo>
                  <a:pt x="167527" y="461538"/>
                </a:lnTo>
                <a:lnTo>
                  <a:pt x="167971" y="426934"/>
                </a:lnTo>
                <a:lnTo>
                  <a:pt x="178598" y="345380"/>
                </a:lnTo>
                <a:lnTo>
                  <a:pt x="200400" y="267570"/>
                </a:lnTo>
                <a:lnTo>
                  <a:pt x="213186" y="237122"/>
                </a:lnTo>
                <a:lnTo>
                  <a:pt x="226672" y="211230"/>
                </a:lnTo>
                <a:lnTo>
                  <a:pt x="233510" y="196691"/>
                </a:lnTo>
                <a:lnTo>
                  <a:pt x="238160" y="180887"/>
                </a:lnTo>
                <a:lnTo>
                  <a:pt x="240525" y="164248"/>
                </a:lnTo>
                <a:lnTo>
                  <a:pt x="240513" y="147210"/>
                </a:lnTo>
                <a:lnTo>
                  <a:pt x="239364" y="115997"/>
                </a:lnTo>
                <a:lnTo>
                  <a:pt x="240639" y="81344"/>
                </a:lnTo>
                <a:lnTo>
                  <a:pt x="245029" y="42821"/>
                </a:lnTo>
                <a:close/>
              </a:path>
            </a:pathLst>
          </a:custGeom>
          <a:solidFill>
            <a:schemeClr val="accent5">
              <a:alpha val="68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7" name="Freeform: Shape 119">
            <a:extLst>
              <a:ext uri="{FF2B5EF4-FFF2-40B4-BE49-F238E27FC236}">
                <a16:creationId xmlns:a16="http://schemas.microsoft.com/office/drawing/2014/main" id="{96F430D1-BA5F-3FE3-7492-937205C9FE44}"/>
              </a:ext>
            </a:extLst>
          </p:cNvPr>
          <p:cNvSpPr/>
          <p:nvPr/>
        </p:nvSpPr>
        <p:spPr>
          <a:xfrm rot="18383521">
            <a:off x="11360011" y="3018771"/>
            <a:ext cx="479765" cy="1819821"/>
          </a:xfrm>
          <a:custGeom>
            <a:avLst/>
            <a:gdLst>
              <a:gd name="connsiteX0" fmla="*/ 478881 w 478881"/>
              <a:gd name="connsiteY0" fmla="*/ 52869 h 1816469"/>
              <a:gd name="connsiteX1" fmla="*/ 403609 w 478881"/>
              <a:gd name="connsiteY1" fmla="*/ 23857 h 1816469"/>
              <a:gd name="connsiteX2" fmla="*/ 368322 w 478881"/>
              <a:gd name="connsiteY2" fmla="*/ 28875 h 1816469"/>
              <a:gd name="connsiteX3" fmla="*/ 293006 w 478881"/>
              <a:gd name="connsiteY3" fmla="*/ 0 h 1816469"/>
              <a:gd name="connsiteX4" fmla="*/ 284819 w 478881"/>
              <a:gd name="connsiteY4" fmla="*/ 42821 h 1816469"/>
              <a:gd name="connsiteX5" fmla="*/ 280429 w 478881"/>
              <a:gd name="connsiteY5" fmla="*/ 81344 h 1816469"/>
              <a:gd name="connsiteX6" fmla="*/ 279154 w 478881"/>
              <a:gd name="connsiteY6" fmla="*/ 115998 h 1816469"/>
              <a:gd name="connsiteX7" fmla="*/ 280303 w 478881"/>
              <a:gd name="connsiteY7" fmla="*/ 147210 h 1816469"/>
              <a:gd name="connsiteX8" fmla="*/ 280315 w 478881"/>
              <a:gd name="connsiteY8" fmla="*/ 164248 h 1816469"/>
              <a:gd name="connsiteX9" fmla="*/ 277949 w 478881"/>
              <a:gd name="connsiteY9" fmla="*/ 180887 h 1816469"/>
              <a:gd name="connsiteX10" fmla="*/ 273300 w 478881"/>
              <a:gd name="connsiteY10" fmla="*/ 196691 h 1816469"/>
              <a:gd name="connsiteX11" fmla="*/ 266462 w 478881"/>
              <a:gd name="connsiteY11" fmla="*/ 211230 h 1816469"/>
              <a:gd name="connsiteX12" fmla="*/ 252976 w 478881"/>
              <a:gd name="connsiteY12" fmla="*/ 237122 h 1816469"/>
              <a:gd name="connsiteX13" fmla="*/ 240190 w 478881"/>
              <a:gd name="connsiteY13" fmla="*/ 267570 h 1816469"/>
              <a:gd name="connsiteX14" fmla="*/ 218388 w 478881"/>
              <a:gd name="connsiteY14" fmla="*/ 345380 h 1816469"/>
              <a:gd name="connsiteX15" fmla="*/ 207761 w 478881"/>
              <a:gd name="connsiteY15" fmla="*/ 426934 h 1816469"/>
              <a:gd name="connsiteX16" fmla="*/ 207317 w 478881"/>
              <a:gd name="connsiteY16" fmla="*/ 461539 h 1816469"/>
              <a:gd name="connsiteX17" fmla="*/ 209223 w 478881"/>
              <a:gd name="connsiteY17" fmla="*/ 492618 h 1816469"/>
              <a:gd name="connsiteX18" fmla="*/ 209644 w 478881"/>
              <a:gd name="connsiteY18" fmla="*/ 509585 h 1816469"/>
              <a:gd name="connsiteX19" fmla="*/ 207677 w 478881"/>
              <a:gd name="connsiteY19" fmla="*/ 526252 h 1816469"/>
              <a:gd name="connsiteX20" fmla="*/ 203407 w 478881"/>
              <a:gd name="connsiteY20" fmla="*/ 542180 h 1816469"/>
              <a:gd name="connsiteX21" fmla="*/ 196919 w 478881"/>
              <a:gd name="connsiteY21" fmla="*/ 556940 h 1816469"/>
              <a:gd name="connsiteX22" fmla="*/ 184063 w 478881"/>
              <a:gd name="connsiteY22" fmla="*/ 583283 h 1816469"/>
              <a:gd name="connsiteX23" fmla="*/ 172015 w 478881"/>
              <a:gd name="connsiteY23" fmla="*/ 614135 h 1816469"/>
              <a:gd name="connsiteX24" fmla="*/ 161211 w 478881"/>
              <a:gd name="connsiteY24" fmla="*/ 650285 h 1816469"/>
              <a:gd name="connsiteX25" fmla="*/ 152089 w 478881"/>
              <a:gd name="connsiteY25" fmla="*/ 692535 h 1816469"/>
              <a:gd name="connsiteX26" fmla="*/ 145964 w 478881"/>
              <a:gd name="connsiteY26" fmla="*/ 735665 h 1816469"/>
              <a:gd name="connsiteX27" fmla="*/ 143420 w 478881"/>
              <a:gd name="connsiteY27" fmla="*/ 774253 h 1816469"/>
              <a:gd name="connsiteX28" fmla="*/ 143800 w 478881"/>
              <a:gd name="connsiteY28" fmla="*/ 808769 h 1816469"/>
              <a:gd name="connsiteX29" fmla="*/ 146443 w 478881"/>
              <a:gd name="connsiteY29" fmla="*/ 839691 h 1816469"/>
              <a:gd name="connsiteX30" fmla="*/ 147274 w 478881"/>
              <a:gd name="connsiteY30" fmla="*/ 856601 h 1816469"/>
              <a:gd name="connsiteX31" fmla="*/ 145708 w 478881"/>
              <a:gd name="connsiteY31" fmla="*/ 873300 h 1816469"/>
              <a:gd name="connsiteX32" fmla="*/ 141825 w 478881"/>
              <a:gd name="connsiteY32" fmla="*/ 889348 h 1816469"/>
              <a:gd name="connsiteX33" fmla="*/ 135699 w 478881"/>
              <a:gd name="connsiteY33" fmla="*/ 904312 h 1816469"/>
              <a:gd name="connsiteX34" fmla="*/ 123475 w 478881"/>
              <a:gd name="connsiteY34" fmla="*/ 931072 h 1816469"/>
              <a:gd name="connsiteX35" fmla="*/ 112165 w 478881"/>
              <a:gd name="connsiteY35" fmla="*/ 962297 h 1816469"/>
              <a:gd name="connsiteX36" fmla="*/ 102225 w 478881"/>
              <a:gd name="connsiteY36" fmla="*/ 998763 h 1816469"/>
              <a:gd name="connsiteX37" fmla="*/ 94112 w 478881"/>
              <a:gd name="connsiteY37" fmla="*/ 1041243 h 1816469"/>
              <a:gd name="connsiteX38" fmla="*/ 89016 w 478881"/>
              <a:gd name="connsiteY38" fmla="*/ 1084489 h 1816469"/>
              <a:gd name="connsiteX39" fmla="*/ 87390 w 478881"/>
              <a:gd name="connsiteY39" fmla="*/ 1123069 h 1816469"/>
              <a:gd name="connsiteX40" fmla="*/ 88588 w 478881"/>
              <a:gd name="connsiteY40" fmla="*/ 1157476 h 1816469"/>
              <a:gd name="connsiteX41" fmla="*/ 91964 w 478881"/>
              <a:gd name="connsiteY41" fmla="*/ 1188208 h 1816469"/>
              <a:gd name="connsiteX42" fmla="*/ 93195 w 478881"/>
              <a:gd name="connsiteY42" fmla="*/ 1205042 h 1816469"/>
              <a:gd name="connsiteX43" fmla="*/ 92030 w 478881"/>
              <a:gd name="connsiteY43" fmla="*/ 1221756 h 1816469"/>
              <a:gd name="connsiteX44" fmla="*/ 88530 w 478881"/>
              <a:gd name="connsiteY44" fmla="*/ 1237912 h 1816469"/>
              <a:gd name="connsiteX45" fmla="*/ 82757 w 478881"/>
              <a:gd name="connsiteY45" fmla="*/ 1253074 h 1816469"/>
              <a:gd name="connsiteX46" fmla="*/ 71170 w 478881"/>
              <a:gd name="connsiteY46" fmla="*/ 1280231 h 1816469"/>
              <a:gd name="connsiteX47" fmla="*/ 60610 w 478881"/>
              <a:gd name="connsiteY47" fmla="*/ 1311810 h 1816469"/>
              <a:gd name="connsiteX48" fmla="*/ 51543 w 478881"/>
              <a:gd name="connsiteY48" fmla="*/ 1348568 h 1816469"/>
              <a:gd name="connsiteX49" fmla="*/ 44437 w 478881"/>
              <a:gd name="connsiteY49" fmla="*/ 1391260 h 1816469"/>
              <a:gd name="connsiteX50" fmla="*/ 40369 w 478881"/>
              <a:gd name="connsiteY50" fmla="*/ 1434598 h 1816469"/>
              <a:gd name="connsiteX51" fmla="*/ 39656 w 478881"/>
              <a:gd name="connsiteY51" fmla="*/ 1473145 h 1816469"/>
              <a:gd name="connsiteX52" fmla="*/ 41667 w 478881"/>
              <a:gd name="connsiteY52" fmla="*/ 1507421 h 1816469"/>
              <a:gd name="connsiteX53" fmla="*/ 45764 w 478881"/>
              <a:gd name="connsiteY53" fmla="*/ 1537953 h 1816469"/>
              <a:gd name="connsiteX54" fmla="*/ 47391 w 478881"/>
              <a:gd name="connsiteY54" fmla="*/ 1554695 h 1816469"/>
              <a:gd name="connsiteX55" fmla="*/ 46622 w 478881"/>
              <a:gd name="connsiteY55" fmla="*/ 1571411 h 1816469"/>
              <a:gd name="connsiteX56" fmla="*/ 43506 w 478881"/>
              <a:gd name="connsiteY56" fmla="*/ 1587665 h 1816469"/>
              <a:gd name="connsiteX57" fmla="*/ 38095 w 478881"/>
              <a:gd name="connsiteY57" fmla="*/ 1603010 h 1816469"/>
              <a:gd name="connsiteX58" fmla="*/ 27152 w 478881"/>
              <a:gd name="connsiteY58" fmla="*/ 1630555 h 1816469"/>
              <a:gd name="connsiteX59" fmla="*/ 17336 w 478881"/>
              <a:gd name="connsiteY59" fmla="*/ 1662471 h 1816469"/>
              <a:gd name="connsiteX60" fmla="*/ 9137 w 478881"/>
              <a:gd name="connsiteY60" fmla="*/ 1699489 h 1816469"/>
              <a:gd name="connsiteX61" fmla="*/ 3039 w 478881"/>
              <a:gd name="connsiteY61" fmla="*/ 1742340 h 1816469"/>
              <a:gd name="connsiteX62" fmla="*/ 0 w 478881"/>
              <a:gd name="connsiteY62" fmla="*/ 1785739 h 1816469"/>
              <a:gd name="connsiteX63" fmla="*/ 160 w 478881"/>
              <a:gd name="connsiteY63" fmla="*/ 1816469 h 1816469"/>
              <a:gd name="connsiteX64" fmla="*/ 195710 w 478881"/>
              <a:gd name="connsiteY64" fmla="*/ 1672340 h 1816469"/>
              <a:gd name="connsiteX65" fmla="*/ 193734 w 478881"/>
              <a:gd name="connsiteY65" fmla="*/ 1644645 h 1816469"/>
              <a:gd name="connsiteX66" fmla="*/ 189420 w 478881"/>
              <a:gd name="connsiteY66" fmla="*/ 1614680 h 1816469"/>
              <a:gd name="connsiteX67" fmla="*/ 187719 w 478881"/>
              <a:gd name="connsiteY67" fmla="*/ 1598196 h 1816469"/>
              <a:gd name="connsiteX68" fmla="*/ 188459 w 478881"/>
              <a:gd name="connsiteY68" fmla="*/ 1581731 h 1816469"/>
              <a:gd name="connsiteX69" fmla="*/ 191580 w 478881"/>
              <a:gd name="connsiteY69" fmla="*/ 1565743 h 1816469"/>
              <a:gd name="connsiteX70" fmla="*/ 197025 w 478881"/>
              <a:gd name="connsiteY70" fmla="*/ 1550686 h 1816469"/>
              <a:gd name="connsiteX71" fmla="*/ 208111 w 478881"/>
              <a:gd name="connsiteY71" fmla="*/ 1523781 h 1816469"/>
              <a:gd name="connsiteX72" fmla="*/ 218218 w 478881"/>
              <a:gd name="connsiteY72" fmla="*/ 1492663 h 1816469"/>
              <a:gd name="connsiteX73" fmla="*/ 226935 w 478881"/>
              <a:gd name="connsiteY73" fmla="*/ 1456577 h 1816469"/>
              <a:gd name="connsiteX74" fmla="*/ 233851 w 478881"/>
              <a:gd name="connsiteY74" fmla="*/ 1414763 h 1816469"/>
              <a:gd name="connsiteX75" fmla="*/ 237975 w 478881"/>
              <a:gd name="connsiteY75" fmla="*/ 1372339 h 1816469"/>
              <a:gd name="connsiteX76" fmla="*/ 238949 w 478881"/>
              <a:gd name="connsiteY76" fmla="*/ 1334525 h 1816469"/>
              <a:gd name="connsiteX77" fmla="*/ 237347 w 478881"/>
              <a:gd name="connsiteY77" fmla="*/ 1300792 h 1816469"/>
              <a:gd name="connsiteX78" fmla="*/ 233745 w 478881"/>
              <a:gd name="connsiteY78" fmla="*/ 1270606 h 1816469"/>
              <a:gd name="connsiteX79" fmla="*/ 232440 w 478881"/>
              <a:gd name="connsiteY79" fmla="*/ 1254046 h 1816469"/>
              <a:gd name="connsiteX80" fmla="*/ 233566 w 478881"/>
              <a:gd name="connsiteY80" fmla="*/ 1237594 h 1816469"/>
              <a:gd name="connsiteX81" fmla="*/ 237063 w 478881"/>
              <a:gd name="connsiteY81" fmla="*/ 1221705 h 1816469"/>
              <a:gd name="connsiteX82" fmla="*/ 242867 w 478881"/>
              <a:gd name="connsiteY82" fmla="*/ 1206831 h 1816469"/>
              <a:gd name="connsiteX83" fmla="*/ 254585 w 478881"/>
              <a:gd name="connsiteY83" fmla="*/ 1180301 h 1816469"/>
              <a:gd name="connsiteX84" fmla="*/ 265425 w 478881"/>
              <a:gd name="connsiteY84" fmla="*/ 1149520 h 1816469"/>
              <a:gd name="connsiteX85" fmla="*/ 274994 w 478881"/>
              <a:gd name="connsiteY85" fmla="*/ 1113715 h 1816469"/>
              <a:gd name="connsiteX86" fmla="*/ 282894 w 478881"/>
              <a:gd name="connsiteY86" fmla="*/ 1072107 h 1816469"/>
              <a:gd name="connsiteX87" fmla="*/ 288022 w 478881"/>
              <a:gd name="connsiteY87" fmla="*/ 1029767 h 1816469"/>
              <a:gd name="connsiteX88" fmla="*/ 289888 w 478881"/>
              <a:gd name="connsiteY88" fmla="*/ 991932 h 1816469"/>
              <a:gd name="connsiteX89" fmla="*/ 289087 w 478881"/>
              <a:gd name="connsiteY89" fmla="*/ 958083 h 1816469"/>
              <a:gd name="connsiteX90" fmla="*/ 286202 w 478881"/>
              <a:gd name="connsiteY90" fmla="*/ 927706 h 1816469"/>
              <a:gd name="connsiteX91" fmla="*/ 285296 w 478881"/>
              <a:gd name="connsiteY91" fmla="*/ 911069 h 1816469"/>
              <a:gd name="connsiteX92" fmla="*/ 286821 w 478881"/>
              <a:gd name="connsiteY92" fmla="*/ 894632 h 1816469"/>
              <a:gd name="connsiteX93" fmla="*/ 290696 w 478881"/>
              <a:gd name="connsiteY93" fmla="*/ 878850 h 1816469"/>
              <a:gd name="connsiteX94" fmla="*/ 296842 w 478881"/>
              <a:gd name="connsiteY94" fmla="*/ 864175 h 1816469"/>
              <a:gd name="connsiteX95" fmla="*/ 309195 w 478881"/>
              <a:gd name="connsiteY95" fmla="*/ 838058 h 1816469"/>
              <a:gd name="connsiteX96" fmla="*/ 320762 w 478881"/>
              <a:gd name="connsiteY96" fmla="*/ 807642 h 1816469"/>
              <a:gd name="connsiteX97" fmla="*/ 346212 w 478881"/>
              <a:gd name="connsiteY97" fmla="*/ 688538 h 1816469"/>
              <a:gd name="connsiteX98" fmla="*/ 348988 w 478881"/>
              <a:gd name="connsiteY98" fmla="*/ 616761 h 1816469"/>
              <a:gd name="connsiteX99" fmla="*/ 346834 w 478881"/>
              <a:gd name="connsiteY99" fmla="*/ 586223 h 1816469"/>
              <a:gd name="connsiteX100" fmla="*/ 346321 w 478881"/>
              <a:gd name="connsiteY100" fmla="*/ 569500 h 1816469"/>
              <a:gd name="connsiteX101" fmla="*/ 348234 w 478881"/>
              <a:gd name="connsiteY101" fmla="*/ 553082 h 1816469"/>
              <a:gd name="connsiteX102" fmla="*/ 352485 w 478881"/>
              <a:gd name="connsiteY102" fmla="*/ 537420 h 1816469"/>
              <a:gd name="connsiteX103" fmla="*/ 358989 w 478881"/>
              <a:gd name="connsiteY103" fmla="*/ 522965 h 1816469"/>
              <a:gd name="connsiteX104" fmla="*/ 371958 w 478881"/>
              <a:gd name="connsiteY104" fmla="*/ 497268 h 1816469"/>
              <a:gd name="connsiteX105" fmla="*/ 384245 w 478881"/>
              <a:gd name="connsiteY105" fmla="*/ 467241 h 1816469"/>
              <a:gd name="connsiteX106" fmla="*/ 412527 w 478881"/>
              <a:gd name="connsiteY106" fmla="*/ 348860 h 1816469"/>
              <a:gd name="connsiteX107" fmla="*/ 417037 w 478881"/>
              <a:gd name="connsiteY107" fmla="*/ 277025 h 1816469"/>
              <a:gd name="connsiteX108" fmla="*/ 415617 w 478881"/>
              <a:gd name="connsiteY108" fmla="*/ 246322 h 1816469"/>
              <a:gd name="connsiteX109" fmla="*/ 415514 w 478881"/>
              <a:gd name="connsiteY109" fmla="*/ 229558 h 1816469"/>
              <a:gd name="connsiteX110" fmla="*/ 417823 w 478881"/>
              <a:gd name="connsiteY110" fmla="*/ 213184 h 1816469"/>
              <a:gd name="connsiteX111" fmla="*/ 422448 w 478881"/>
              <a:gd name="connsiteY111" fmla="*/ 197653 h 1816469"/>
              <a:gd name="connsiteX112" fmla="*/ 429289 w 478881"/>
              <a:gd name="connsiteY112" fmla="*/ 183418 h 1816469"/>
              <a:gd name="connsiteX113" fmla="*/ 442878 w 478881"/>
              <a:gd name="connsiteY113" fmla="*/ 158159 h 1816469"/>
              <a:gd name="connsiteX114" fmla="*/ 455895 w 478881"/>
              <a:gd name="connsiteY114" fmla="*/ 128531 h 1816469"/>
              <a:gd name="connsiteX115" fmla="*/ 468008 w 478881"/>
              <a:gd name="connsiteY115" fmla="*/ 93712 h 181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78881" h="1816469">
                <a:moveTo>
                  <a:pt x="478881" y="52869"/>
                </a:moveTo>
                <a:lnTo>
                  <a:pt x="403609" y="23857"/>
                </a:lnTo>
                <a:lnTo>
                  <a:pt x="368322" y="28875"/>
                </a:lnTo>
                <a:lnTo>
                  <a:pt x="293006" y="0"/>
                </a:lnTo>
                <a:lnTo>
                  <a:pt x="284819" y="42821"/>
                </a:lnTo>
                <a:lnTo>
                  <a:pt x="280429" y="81344"/>
                </a:lnTo>
                <a:lnTo>
                  <a:pt x="279154" y="115998"/>
                </a:lnTo>
                <a:lnTo>
                  <a:pt x="280303" y="147210"/>
                </a:lnTo>
                <a:lnTo>
                  <a:pt x="280315" y="164248"/>
                </a:lnTo>
                <a:lnTo>
                  <a:pt x="277949" y="180887"/>
                </a:lnTo>
                <a:lnTo>
                  <a:pt x="273300" y="196691"/>
                </a:lnTo>
                <a:lnTo>
                  <a:pt x="266462" y="211230"/>
                </a:lnTo>
                <a:lnTo>
                  <a:pt x="252976" y="237122"/>
                </a:lnTo>
                <a:lnTo>
                  <a:pt x="240190" y="267570"/>
                </a:lnTo>
                <a:lnTo>
                  <a:pt x="218388" y="345380"/>
                </a:lnTo>
                <a:lnTo>
                  <a:pt x="207761" y="426934"/>
                </a:lnTo>
                <a:lnTo>
                  <a:pt x="207317" y="461539"/>
                </a:lnTo>
                <a:lnTo>
                  <a:pt x="209223" y="492618"/>
                </a:lnTo>
                <a:lnTo>
                  <a:pt x="209644" y="509585"/>
                </a:lnTo>
                <a:lnTo>
                  <a:pt x="207677" y="526252"/>
                </a:lnTo>
                <a:lnTo>
                  <a:pt x="203407" y="542180"/>
                </a:lnTo>
                <a:lnTo>
                  <a:pt x="196919" y="556940"/>
                </a:lnTo>
                <a:lnTo>
                  <a:pt x="184063" y="583283"/>
                </a:lnTo>
                <a:lnTo>
                  <a:pt x="172015" y="614135"/>
                </a:lnTo>
                <a:lnTo>
                  <a:pt x="161211" y="650285"/>
                </a:lnTo>
                <a:lnTo>
                  <a:pt x="152089" y="692535"/>
                </a:lnTo>
                <a:lnTo>
                  <a:pt x="145964" y="735665"/>
                </a:lnTo>
                <a:lnTo>
                  <a:pt x="143420" y="774253"/>
                </a:lnTo>
                <a:lnTo>
                  <a:pt x="143800" y="808769"/>
                </a:lnTo>
                <a:lnTo>
                  <a:pt x="146443" y="839691"/>
                </a:lnTo>
                <a:lnTo>
                  <a:pt x="147274" y="856601"/>
                </a:lnTo>
                <a:lnTo>
                  <a:pt x="145708" y="873300"/>
                </a:lnTo>
                <a:lnTo>
                  <a:pt x="141825" y="889348"/>
                </a:lnTo>
                <a:lnTo>
                  <a:pt x="135699" y="904312"/>
                </a:lnTo>
                <a:lnTo>
                  <a:pt x="123475" y="931072"/>
                </a:lnTo>
                <a:lnTo>
                  <a:pt x="112165" y="962297"/>
                </a:lnTo>
                <a:lnTo>
                  <a:pt x="102225" y="998763"/>
                </a:lnTo>
                <a:lnTo>
                  <a:pt x="94112" y="1041243"/>
                </a:lnTo>
                <a:lnTo>
                  <a:pt x="89016" y="1084489"/>
                </a:lnTo>
                <a:lnTo>
                  <a:pt x="87390" y="1123069"/>
                </a:lnTo>
                <a:lnTo>
                  <a:pt x="88588" y="1157476"/>
                </a:lnTo>
                <a:lnTo>
                  <a:pt x="91964" y="1188208"/>
                </a:lnTo>
                <a:lnTo>
                  <a:pt x="93195" y="1205042"/>
                </a:lnTo>
                <a:lnTo>
                  <a:pt x="92030" y="1221756"/>
                </a:lnTo>
                <a:lnTo>
                  <a:pt x="88530" y="1237912"/>
                </a:lnTo>
                <a:lnTo>
                  <a:pt x="82757" y="1253074"/>
                </a:lnTo>
                <a:lnTo>
                  <a:pt x="71170" y="1280231"/>
                </a:lnTo>
                <a:lnTo>
                  <a:pt x="60610" y="1311810"/>
                </a:lnTo>
                <a:lnTo>
                  <a:pt x="51543" y="1348568"/>
                </a:lnTo>
                <a:lnTo>
                  <a:pt x="44437" y="1391260"/>
                </a:lnTo>
                <a:lnTo>
                  <a:pt x="40369" y="1434598"/>
                </a:lnTo>
                <a:lnTo>
                  <a:pt x="39656" y="1473145"/>
                </a:lnTo>
                <a:lnTo>
                  <a:pt x="41667" y="1507421"/>
                </a:lnTo>
                <a:lnTo>
                  <a:pt x="45764" y="1537953"/>
                </a:lnTo>
                <a:lnTo>
                  <a:pt x="47391" y="1554695"/>
                </a:lnTo>
                <a:lnTo>
                  <a:pt x="46622" y="1571411"/>
                </a:lnTo>
                <a:lnTo>
                  <a:pt x="43506" y="1587665"/>
                </a:lnTo>
                <a:lnTo>
                  <a:pt x="38095" y="1603010"/>
                </a:lnTo>
                <a:lnTo>
                  <a:pt x="27152" y="1630555"/>
                </a:lnTo>
                <a:lnTo>
                  <a:pt x="17336" y="1662471"/>
                </a:lnTo>
                <a:lnTo>
                  <a:pt x="9137" y="1699489"/>
                </a:lnTo>
                <a:lnTo>
                  <a:pt x="3039" y="1742340"/>
                </a:lnTo>
                <a:lnTo>
                  <a:pt x="0" y="1785739"/>
                </a:lnTo>
                <a:lnTo>
                  <a:pt x="160" y="1816469"/>
                </a:lnTo>
                <a:lnTo>
                  <a:pt x="195710" y="1672340"/>
                </a:lnTo>
                <a:lnTo>
                  <a:pt x="193734" y="1644645"/>
                </a:lnTo>
                <a:lnTo>
                  <a:pt x="189420" y="1614680"/>
                </a:lnTo>
                <a:lnTo>
                  <a:pt x="187719" y="1598196"/>
                </a:lnTo>
                <a:lnTo>
                  <a:pt x="188459" y="1581731"/>
                </a:lnTo>
                <a:lnTo>
                  <a:pt x="191580" y="1565743"/>
                </a:lnTo>
                <a:lnTo>
                  <a:pt x="197025" y="1550686"/>
                </a:lnTo>
                <a:lnTo>
                  <a:pt x="208111" y="1523781"/>
                </a:lnTo>
                <a:lnTo>
                  <a:pt x="218218" y="1492663"/>
                </a:lnTo>
                <a:lnTo>
                  <a:pt x="226935" y="1456577"/>
                </a:lnTo>
                <a:lnTo>
                  <a:pt x="233851" y="1414763"/>
                </a:lnTo>
                <a:lnTo>
                  <a:pt x="237975" y="1372339"/>
                </a:lnTo>
                <a:lnTo>
                  <a:pt x="238949" y="1334525"/>
                </a:lnTo>
                <a:lnTo>
                  <a:pt x="237347" y="1300792"/>
                </a:lnTo>
                <a:lnTo>
                  <a:pt x="233745" y="1270606"/>
                </a:lnTo>
                <a:lnTo>
                  <a:pt x="232440" y="1254046"/>
                </a:lnTo>
                <a:lnTo>
                  <a:pt x="233566" y="1237594"/>
                </a:lnTo>
                <a:lnTo>
                  <a:pt x="237063" y="1221705"/>
                </a:lnTo>
                <a:lnTo>
                  <a:pt x="242867" y="1206831"/>
                </a:lnTo>
                <a:lnTo>
                  <a:pt x="254585" y="1180301"/>
                </a:lnTo>
                <a:lnTo>
                  <a:pt x="265425" y="1149520"/>
                </a:lnTo>
                <a:lnTo>
                  <a:pt x="274994" y="1113715"/>
                </a:lnTo>
                <a:lnTo>
                  <a:pt x="282894" y="1072107"/>
                </a:lnTo>
                <a:lnTo>
                  <a:pt x="288022" y="1029767"/>
                </a:lnTo>
                <a:lnTo>
                  <a:pt x="289888" y="991932"/>
                </a:lnTo>
                <a:lnTo>
                  <a:pt x="289087" y="958083"/>
                </a:lnTo>
                <a:lnTo>
                  <a:pt x="286202" y="927706"/>
                </a:lnTo>
                <a:lnTo>
                  <a:pt x="285296" y="911069"/>
                </a:lnTo>
                <a:lnTo>
                  <a:pt x="286821" y="894632"/>
                </a:lnTo>
                <a:lnTo>
                  <a:pt x="290696" y="878850"/>
                </a:lnTo>
                <a:lnTo>
                  <a:pt x="296842" y="864175"/>
                </a:lnTo>
                <a:lnTo>
                  <a:pt x="309195" y="838058"/>
                </a:lnTo>
                <a:lnTo>
                  <a:pt x="320762" y="807642"/>
                </a:lnTo>
                <a:lnTo>
                  <a:pt x="346212" y="688538"/>
                </a:lnTo>
                <a:lnTo>
                  <a:pt x="348988" y="616761"/>
                </a:lnTo>
                <a:lnTo>
                  <a:pt x="346834" y="586223"/>
                </a:lnTo>
                <a:lnTo>
                  <a:pt x="346321" y="569500"/>
                </a:lnTo>
                <a:lnTo>
                  <a:pt x="348234" y="553082"/>
                </a:lnTo>
                <a:lnTo>
                  <a:pt x="352485" y="537420"/>
                </a:lnTo>
                <a:lnTo>
                  <a:pt x="358989" y="522965"/>
                </a:lnTo>
                <a:lnTo>
                  <a:pt x="371958" y="497268"/>
                </a:lnTo>
                <a:lnTo>
                  <a:pt x="384245" y="467241"/>
                </a:lnTo>
                <a:lnTo>
                  <a:pt x="412527" y="348860"/>
                </a:lnTo>
                <a:lnTo>
                  <a:pt x="417037" y="277025"/>
                </a:lnTo>
                <a:lnTo>
                  <a:pt x="415617" y="246322"/>
                </a:lnTo>
                <a:lnTo>
                  <a:pt x="415514" y="229558"/>
                </a:lnTo>
                <a:lnTo>
                  <a:pt x="417823" y="213184"/>
                </a:lnTo>
                <a:lnTo>
                  <a:pt x="422448" y="197653"/>
                </a:lnTo>
                <a:lnTo>
                  <a:pt x="429289" y="183418"/>
                </a:lnTo>
                <a:lnTo>
                  <a:pt x="442878" y="158159"/>
                </a:lnTo>
                <a:lnTo>
                  <a:pt x="455895" y="128531"/>
                </a:lnTo>
                <a:lnTo>
                  <a:pt x="468008" y="93712"/>
                </a:lnTo>
                <a:close/>
              </a:path>
            </a:pathLst>
          </a:custGeom>
          <a:solidFill>
            <a:schemeClr val="accent5">
              <a:alpha val="68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0" name="Freeform: Shape 129">
            <a:extLst>
              <a:ext uri="{FF2B5EF4-FFF2-40B4-BE49-F238E27FC236}">
                <a16:creationId xmlns:a16="http://schemas.microsoft.com/office/drawing/2014/main" id="{73E78902-D16C-A051-890E-46F71632D94F}"/>
              </a:ext>
            </a:extLst>
          </p:cNvPr>
          <p:cNvSpPr/>
          <p:nvPr/>
        </p:nvSpPr>
        <p:spPr>
          <a:xfrm rot="16200000" flipH="1">
            <a:off x="7586895" y="-257583"/>
            <a:ext cx="593956" cy="1046150"/>
          </a:xfrm>
          <a:custGeom>
            <a:avLst/>
            <a:gdLst>
              <a:gd name="connsiteX0" fmla="*/ 0 w 592862"/>
              <a:gd name="connsiteY0" fmla="*/ 1044223 h 1044223"/>
              <a:gd name="connsiteX1" fmla="*/ 0 w 592862"/>
              <a:gd name="connsiteY1" fmla="*/ 656675 h 1044223"/>
              <a:gd name="connsiteX2" fmla="*/ 394922 w 592862"/>
              <a:gd name="connsiteY2" fmla="*/ 0 h 1044223"/>
              <a:gd name="connsiteX3" fmla="*/ 538483 w 592862"/>
              <a:gd name="connsiteY3" fmla="*/ 42983 h 1044223"/>
              <a:gd name="connsiteX4" fmla="*/ 546097 w 592862"/>
              <a:gd name="connsiteY4" fmla="*/ 30309 h 1044223"/>
              <a:gd name="connsiteX5" fmla="*/ 592862 w 592862"/>
              <a:gd name="connsiteY5" fmla="*/ 58431 h 104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862" h="1044223">
                <a:moveTo>
                  <a:pt x="0" y="1044223"/>
                </a:moveTo>
                <a:lnTo>
                  <a:pt x="0" y="656675"/>
                </a:lnTo>
                <a:lnTo>
                  <a:pt x="394922" y="0"/>
                </a:lnTo>
                <a:lnTo>
                  <a:pt x="538483" y="42983"/>
                </a:lnTo>
                <a:lnTo>
                  <a:pt x="546097" y="30309"/>
                </a:lnTo>
                <a:lnTo>
                  <a:pt x="592862" y="58431"/>
                </a:lnTo>
                <a:close/>
              </a:path>
            </a:pathLst>
          </a:custGeom>
          <a:solidFill>
            <a:schemeClr val="accent5">
              <a:alpha val="68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4" name="Freeform 799">
            <a:extLst>
              <a:ext uri="{FF2B5EF4-FFF2-40B4-BE49-F238E27FC236}">
                <a16:creationId xmlns:a16="http://schemas.microsoft.com/office/drawing/2014/main" id="{A99C9CF2-F28E-262F-4907-74618A7A1100}"/>
              </a:ext>
            </a:extLst>
          </p:cNvPr>
          <p:cNvSpPr/>
          <p:nvPr/>
        </p:nvSpPr>
        <p:spPr>
          <a:xfrm rot="21439830" flipH="1">
            <a:off x="7997344" y="475246"/>
            <a:ext cx="1022705" cy="1142956"/>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chemeClr val="accent5">
              <a:alpha val="68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33" name="Graphic 32">
            <a:extLst>
              <a:ext uri="{FF2B5EF4-FFF2-40B4-BE49-F238E27FC236}">
                <a16:creationId xmlns:a16="http://schemas.microsoft.com/office/drawing/2014/main" id="{98C560BC-C268-0F49-67A3-0E1E7D836B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2247" y="816857"/>
            <a:ext cx="1728171" cy="487700"/>
          </a:xfrm>
          <a:prstGeom prst="rect">
            <a:avLst/>
          </a:prstGeom>
        </p:spPr>
      </p:pic>
      <p:sp>
        <p:nvSpPr>
          <p:cNvPr id="44" name="Freeform: Shape 43">
            <a:extLst>
              <a:ext uri="{FF2B5EF4-FFF2-40B4-BE49-F238E27FC236}">
                <a16:creationId xmlns:a16="http://schemas.microsoft.com/office/drawing/2014/main" id="{CB5A25B5-0FC4-C018-256D-533929E43EC7}"/>
              </a:ext>
            </a:extLst>
          </p:cNvPr>
          <p:cNvSpPr/>
          <p:nvPr/>
        </p:nvSpPr>
        <p:spPr>
          <a:xfrm rot="17966026">
            <a:off x="11419013" y="2012600"/>
            <a:ext cx="513448" cy="1305203"/>
          </a:xfrm>
          <a:custGeom>
            <a:avLst/>
            <a:gdLst>
              <a:gd name="connsiteX0" fmla="*/ 347516 w 513448"/>
              <a:gd name="connsiteY0" fmla="*/ 2293 h 1305203"/>
              <a:gd name="connsiteX1" fmla="*/ 355652 w 513448"/>
              <a:gd name="connsiteY1" fmla="*/ 17928 h 1305203"/>
              <a:gd name="connsiteX2" fmla="*/ 353179 w 513448"/>
              <a:gd name="connsiteY2" fmla="*/ 204704 h 1305203"/>
              <a:gd name="connsiteX3" fmla="*/ 330913 w 513448"/>
              <a:gd name="connsiteY3" fmla="*/ 311082 h 1305203"/>
              <a:gd name="connsiteX4" fmla="*/ 199799 w 513448"/>
              <a:gd name="connsiteY4" fmla="*/ 602998 h 1305203"/>
              <a:gd name="connsiteX5" fmla="*/ 182481 w 513448"/>
              <a:gd name="connsiteY5" fmla="*/ 729165 h 1305203"/>
              <a:gd name="connsiteX6" fmla="*/ 241855 w 513448"/>
              <a:gd name="connsiteY6" fmla="*/ 606709 h 1305203"/>
              <a:gd name="connsiteX7" fmla="*/ 354416 w 513448"/>
              <a:gd name="connsiteY7" fmla="*/ 442197 h 1305203"/>
              <a:gd name="connsiteX8" fmla="*/ 358126 w 513448"/>
              <a:gd name="connsiteY8" fmla="*/ 468171 h 1305203"/>
              <a:gd name="connsiteX9" fmla="*/ 510269 w 513448"/>
              <a:gd name="connsiteY9" fmla="*/ 1039635 h 1305203"/>
              <a:gd name="connsiteX10" fmla="*/ 513448 w 513448"/>
              <a:gd name="connsiteY10" fmla="*/ 1100522 h 1305203"/>
              <a:gd name="connsiteX11" fmla="*/ 150696 w 513448"/>
              <a:gd name="connsiteY11" fmla="*/ 1305203 h 1305203"/>
              <a:gd name="connsiteX12" fmla="*/ 134242 w 513448"/>
              <a:gd name="connsiteY12" fmla="*/ 1158380 h 1305203"/>
              <a:gd name="connsiteX13" fmla="*/ 130530 w 513448"/>
              <a:gd name="connsiteY13" fmla="*/ 630210 h 1305203"/>
              <a:gd name="connsiteX14" fmla="*/ 11786 w 513448"/>
              <a:gd name="connsiteY14" fmla="*/ 125541 h 1305203"/>
              <a:gd name="connsiteX15" fmla="*/ 26629 w 513448"/>
              <a:gd name="connsiteY15" fmla="*/ 48852 h 1305203"/>
              <a:gd name="connsiteX16" fmla="*/ 313597 w 513448"/>
              <a:gd name="connsiteY16" fmla="*/ 8032 h 1305203"/>
              <a:gd name="connsiteX17" fmla="*/ 347516 w 513448"/>
              <a:gd name="connsiteY17" fmla="*/ 2293 h 130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448" h="1305203">
                <a:moveTo>
                  <a:pt x="347516" y="2293"/>
                </a:moveTo>
                <a:cubicBezTo>
                  <a:pt x="351632" y="4786"/>
                  <a:pt x="354724" y="9579"/>
                  <a:pt x="355652" y="17928"/>
                </a:cubicBezTo>
                <a:cubicBezTo>
                  <a:pt x="356889" y="34007"/>
                  <a:pt x="354417" y="114409"/>
                  <a:pt x="353179" y="204704"/>
                </a:cubicBezTo>
                <a:cubicBezTo>
                  <a:pt x="349469" y="243049"/>
                  <a:pt x="338335" y="262841"/>
                  <a:pt x="330913" y="311082"/>
                </a:cubicBezTo>
                <a:cubicBezTo>
                  <a:pt x="309887" y="457039"/>
                  <a:pt x="236906" y="505280"/>
                  <a:pt x="199799" y="602998"/>
                </a:cubicBezTo>
                <a:cubicBezTo>
                  <a:pt x="177535" y="659897"/>
                  <a:pt x="182481" y="729165"/>
                  <a:pt x="182481" y="729165"/>
                </a:cubicBezTo>
                <a:cubicBezTo>
                  <a:pt x="182481" y="729165"/>
                  <a:pt x="180009" y="698242"/>
                  <a:pt x="241855" y="606709"/>
                </a:cubicBezTo>
                <a:cubicBezTo>
                  <a:pt x="267830" y="567126"/>
                  <a:pt x="318545" y="518885"/>
                  <a:pt x="354416" y="442197"/>
                </a:cubicBezTo>
                <a:cubicBezTo>
                  <a:pt x="355652" y="453328"/>
                  <a:pt x="356890" y="461987"/>
                  <a:pt x="358126" y="468171"/>
                </a:cubicBezTo>
                <a:cubicBezTo>
                  <a:pt x="374207" y="533730"/>
                  <a:pt x="495427" y="847911"/>
                  <a:pt x="510269" y="1039635"/>
                </a:cubicBezTo>
                <a:lnTo>
                  <a:pt x="513448" y="1100522"/>
                </a:lnTo>
                <a:lnTo>
                  <a:pt x="150696" y="1305203"/>
                </a:lnTo>
                <a:lnTo>
                  <a:pt x="134242" y="1158380"/>
                </a:lnTo>
                <a:cubicBezTo>
                  <a:pt x="116926" y="970365"/>
                  <a:pt x="165164" y="798433"/>
                  <a:pt x="130530" y="630210"/>
                </a:cubicBezTo>
                <a:cubicBezTo>
                  <a:pt x="100844" y="486726"/>
                  <a:pt x="11786" y="125541"/>
                  <a:pt x="11786" y="125541"/>
                </a:cubicBezTo>
                <a:cubicBezTo>
                  <a:pt x="11786" y="125541"/>
                  <a:pt x="-22849" y="66168"/>
                  <a:pt x="26629" y="48852"/>
                </a:cubicBezTo>
                <a:cubicBezTo>
                  <a:pt x="76106" y="31535"/>
                  <a:pt x="313597" y="8032"/>
                  <a:pt x="313597" y="8032"/>
                </a:cubicBezTo>
                <a:cubicBezTo>
                  <a:pt x="313597" y="8032"/>
                  <a:pt x="335166" y="-5187"/>
                  <a:pt x="347516" y="2293"/>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41" name="Freeform: Shape 40">
            <a:extLst>
              <a:ext uri="{FF2B5EF4-FFF2-40B4-BE49-F238E27FC236}">
                <a16:creationId xmlns:a16="http://schemas.microsoft.com/office/drawing/2014/main" id="{588ED590-7225-2E9B-A5B0-5CB2EBECC23B}"/>
              </a:ext>
            </a:extLst>
          </p:cNvPr>
          <p:cNvSpPr/>
          <p:nvPr/>
        </p:nvSpPr>
        <p:spPr>
          <a:xfrm rot="17873927">
            <a:off x="11585177" y="1664989"/>
            <a:ext cx="584275" cy="1093123"/>
          </a:xfrm>
          <a:custGeom>
            <a:avLst/>
            <a:gdLst>
              <a:gd name="connsiteX0" fmla="*/ 66366 w 584275"/>
              <a:gd name="connsiteY0" fmla="*/ 1022165 h 1093123"/>
              <a:gd name="connsiteX1" fmla="*/ 62826 w 584275"/>
              <a:gd name="connsiteY1" fmla="*/ 1024039 h 1093123"/>
              <a:gd name="connsiteX2" fmla="*/ 86143 w 584275"/>
              <a:gd name="connsiteY2" fmla="*/ 1068080 h 1093123"/>
              <a:gd name="connsiteX3" fmla="*/ 0 w 584275"/>
              <a:gd name="connsiteY3" fmla="*/ 1093123 h 1093123"/>
              <a:gd name="connsiteX4" fmla="*/ 46181 w 584275"/>
              <a:gd name="connsiteY4" fmla="*/ 998309 h 1093123"/>
              <a:gd name="connsiteX5" fmla="*/ 578096 w 584275"/>
              <a:gd name="connsiteY5" fmla="*/ 110991 h 1093123"/>
              <a:gd name="connsiteX6" fmla="*/ 584247 w 584275"/>
              <a:gd name="connsiteY6" fmla="*/ 129982 h 1093123"/>
              <a:gd name="connsiteX7" fmla="*/ 496425 w 584275"/>
              <a:gd name="connsiteY7" fmla="*/ 293259 h 1093123"/>
              <a:gd name="connsiteX8" fmla="*/ 425919 w 584275"/>
              <a:gd name="connsiteY8" fmla="*/ 455295 h 1093123"/>
              <a:gd name="connsiteX9" fmla="*/ 408602 w 584275"/>
              <a:gd name="connsiteY9" fmla="*/ 754635 h 1093123"/>
              <a:gd name="connsiteX10" fmla="*/ 388519 w 584275"/>
              <a:gd name="connsiteY10" fmla="*/ 821398 h 1093123"/>
              <a:gd name="connsiteX11" fmla="*/ 377401 w 584275"/>
              <a:gd name="connsiteY11" fmla="*/ 857489 h 1093123"/>
              <a:gd name="connsiteX12" fmla="*/ 126165 w 584275"/>
              <a:gd name="connsiteY12" fmla="*/ 990505 h 1093123"/>
              <a:gd name="connsiteX13" fmla="*/ 112975 w 584275"/>
              <a:gd name="connsiteY13" fmla="*/ 967385 h 1093123"/>
              <a:gd name="connsiteX14" fmla="*/ 82051 w 584275"/>
              <a:gd name="connsiteY14" fmla="*/ 832561 h 1093123"/>
              <a:gd name="connsiteX15" fmla="*/ 114212 w 584275"/>
              <a:gd name="connsiteY15" fmla="*/ 444163 h 1093123"/>
              <a:gd name="connsiteX16" fmla="*/ 203271 w 584275"/>
              <a:gd name="connsiteY16" fmla="*/ 214093 h 1093123"/>
              <a:gd name="connsiteX17" fmla="*/ 268829 w 584275"/>
              <a:gd name="connsiteY17" fmla="*/ 266045 h 1093123"/>
              <a:gd name="connsiteX18" fmla="*/ 406128 w 584275"/>
              <a:gd name="connsiteY18" fmla="*/ 419425 h 1093123"/>
              <a:gd name="connsiteX19" fmla="*/ 377680 w 584275"/>
              <a:gd name="connsiteY19" fmla="*/ 334076 h 1093123"/>
              <a:gd name="connsiteX20" fmla="*/ 275013 w 584275"/>
              <a:gd name="connsiteY20" fmla="*/ 204198 h 1093123"/>
              <a:gd name="connsiteX21" fmla="*/ 235431 w 584275"/>
              <a:gd name="connsiteY21" fmla="*/ 61950 h 1093123"/>
              <a:gd name="connsiteX22" fmla="*/ 251434 w 584275"/>
              <a:gd name="connsiteY22" fmla="*/ 5592 h 1093123"/>
              <a:gd name="connsiteX23" fmla="*/ 276251 w 584275"/>
              <a:gd name="connsiteY23" fmla="*/ 104 h 1093123"/>
              <a:gd name="connsiteX24" fmla="*/ 422209 w 584275"/>
              <a:gd name="connsiteY24" fmla="*/ 43397 h 1093123"/>
              <a:gd name="connsiteX25" fmla="*/ 578096 w 584275"/>
              <a:gd name="connsiteY25" fmla="*/ 110991 h 109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4275" h="1093123">
                <a:moveTo>
                  <a:pt x="66366" y="1022165"/>
                </a:moveTo>
                <a:lnTo>
                  <a:pt x="62826" y="1024039"/>
                </a:lnTo>
                <a:lnTo>
                  <a:pt x="86143" y="1068080"/>
                </a:lnTo>
                <a:lnTo>
                  <a:pt x="0" y="1093123"/>
                </a:lnTo>
                <a:lnTo>
                  <a:pt x="46181" y="998309"/>
                </a:lnTo>
                <a:close/>
                <a:moveTo>
                  <a:pt x="578096" y="110991"/>
                </a:moveTo>
                <a:cubicBezTo>
                  <a:pt x="582295" y="116994"/>
                  <a:pt x="584556" y="123334"/>
                  <a:pt x="584247" y="129982"/>
                </a:cubicBezTo>
                <a:cubicBezTo>
                  <a:pt x="583010" y="149773"/>
                  <a:pt x="529821" y="231411"/>
                  <a:pt x="496425" y="293259"/>
                </a:cubicBezTo>
                <a:cubicBezTo>
                  <a:pt x="460553" y="360053"/>
                  <a:pt x="425919" y="455295"/>
                  <a:pt x="425919" y="455295"/>
                </a:cubicBezTo>
                <a:cubicBezTo>
                  <a:pt x="425919" y="455295"/>
                  <a:pt x="442000" y="639599"/>
                  <a:pt x="408602" y="754635"/>
                </a:cubicBezTo>
                <a:cubicBezTo>
                  <a:pt x="403191" y="773035"/>
                  <a:pt x="396349" y="795744"/>
                  <a:pt x="388519" y="821398"/>
                </a:cubicBezTo>
                <a:lnTo>
                  <a:pt x="377401" y="857489"/>
                </a:lnTo>
                <a:lnTo>
                  <a:pt x="126165" y="990505"/>
                </a:lnTo>
                <a:lnTo>
                  <a:pt x="112975" y="967385"/>
                </a:lnTo>
                <a:cubicBezTo>
                  <a:pt x="95659" y="938938"/>
                  <a:pt x="86999" y="889460"/>
                  <a:pt x="82051" y="832561"/>
                </a:cubicBezTo>
                <a:cubicBezTo>
                  <a:pt x="70920" y="611151"/>
                  <a:pt x="114212" y="444163"/>
                  <a:pt x="114212" y="444163"/>
                </a:cubicBezTo>
                <a:cubicBezTo>
                  <a:pt x="114212" y="444163"/>
                  <a:pt x="161215" y="298205"/>
                  <a:pt x="203271" y="214093"/>
                </a:cubicBezTo>
                <a:cubicBezTo>
                  <a:pt x="223063" y="232647"/>
                  <a:pt x="245327" y="251202"/>
                  <a:pt x="268829" y="266045"/>
                </a:cubicBezTo>
                <a:cubicBezTo>
                  <a:pt x="343045" y="313049"/>
                  <a:pt x="406128" y="419425"/>
                  <a:pt x="406128" y="419425"/>
                </a:cubicBezTo>
                <a:cubicBezTo>
                  <a:pt x="406128" y="419425"/>
                  <a:pt x="403654" y="378605"/>
                  <a:pt x="377680" y="334076"/>
                </a:cubicBezTo>
                <a:cubicBezTo>
                  <a:pt x="351703" y="289547"/>
                  <a:pt x="347993" y="289546"/>
                  <a:pt x="275013" y="204198"/>
                </a:cubicBezTo>
                <a:cubicBezTo>
                  <a:pt x="231720" y="152247"/>
                  <a:pt x="223063" y="107718"/>
                  <a:pt x="235431" y="61950"/>
                </a:cubicBezTo>
                <a:cubicBezTo>
                  <a:pt x="240070" y="45252"/>
                  <a:pt x="234967" y="17421"/>
                  <a:pt x="251434" y="5592"/>
                </a:cubicBezTo>
                <a:cubicBezTo>
                  <a:pt x="256924" y="1650"/>
                  <a:pt x="264809" y="-515"/>
                  <a:pt x="276251" y="104"/>
                </a:cubicBezTo>
                <a:cubicBezTo>
                  <a:pt x="322017" y="2578"/>
                  <a:pt x="422209" y="43397"/>
                  <a:pt x="422209" y="43397"/>
                </a:cubicBezTo>
                <a:cubicBezTo>
                  <a:pt x="424374" y="43398"/>
                  <a:pt x="548704" y="68967"/>
                  <a:pt x="578096" y="110991"/>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19" name="Text Placeholder 41">
            <a:extLst>
              <a:ext uri="{FF2B5EF4-FFF2-40B4-BE49-F238E27FC236}">
                <a16:creationId xmlns:a16="http://schemas.microsoft.com/office/drawing/2014/main" id="{17687B18-94CE-72D0-32A3-C9DB38D17402}"/>
              </a:ext>
            </a:extLst>
          </p:cNvPr>
          <p:cNvSpPr>
            <a:spLocks noGrp="1"/>
          </p:cNvSpPr>
          <p:nvPr>
            <p:ph type="body" sz="quarter" idx="12" hasCustomPrompt="1"/>
          </p:nvPr>
        </p:nvSpPr>
        <p:spPr>
          <a:xfrm>
            <a:off x="361368" y="4441873"/>
            <a:ext cx="6908404" cy="450759"/>
          </a:xfrm>
        </p:spPr>
        <p:txBody>
          <a:bodyPr>
            <a:noAutofit/>
          </a:bodyPr>
          <a:lstStyle>
            <a:lvl1pPr marL="0" indent="0">
              <a:buNone/>
              <a:defRPr sz="2400" b="0" i="0">
                <a:solidFill>
                  <a:schemeClr val="bg1"/>
                </a:solidFill>
                <a:latin typeface="TT Norms Pro" panose="02000503030000020003" pitchFamily="2" charset="0"/>
              </a:defRPr>
            </a:lvl1pPr>
            <a:lvl2pPr marL="456742" indent="0">
              <a:buNone/>
              <a:defRPr/>
            </a:lvl2pPr>
            <a:lvl3pPr marL="913486" indent="0">
              <a:buNone/>
              <a:defRPr/>
            </a:lvl3pPr>
            <a:lvl4pPr marL="1370228" indent="0">
              <a:buNone/>
              <a:defRPr/>
            </a:lvl4pPr>
            <a:lvl5pPr marL="1826971" indent="0">
              <a:buNone/>
              <a:defRPr/>
            </a:lvl5pPr>
          </a:lstStyle>
          <a:p>
            <a:pPr lvl="0"/>
            <a:r>
              <a:rPr lang="en-US"/>
              <a:t>Subtitle / Date</a:t>
            </a:r>
            <a:endParaRPr lang="en-IN"/>
          </a:p>
        </p:txBody>
      </p:sp>
      <p:sp>
        <p:nvSpPr>
          <p:cNvPr id="27" name="Text Placeholder 38">
            <a:extLst>
              <a:ext uri="{FF2B5EF4-FFF2-40B4-BE49-F238E27FC236}">
                <a16:creationId xmlns:a16="http://schemas.microsoft.com/office/drawing/2014/main" id="{F6E850D2-227E-629B-43FB-2E840E3E62B7}"/>
              </a:ext>
            </a:extLst>
          </p:cNvPr>
          <p:cNvSpPr>
            <a:spLocks noGrp="1"/>
          </p:cNvSpPr>
          <p:nvPr>
            <p:ph type="body" sz="quarter" idx="11" hasCustomPrompt="1"/>
          </p:nvPr>
        </p:nvSpPr>
        <p:spPr>
          <a:xfrm>
            <a:off x="361368" y="3057729"/>
            <a:ext cx="6908404" cy="1309205"/>
          </a:xfrm>
        </p:spPr>
        <p:txBody>
          <a:bodyPr wrap="square" lIns="0" tIns="0" rIns="0" bIns="0" anchor="b">
            <a:spAutoFit/>
          </a:bodyPr>
          <a:lstStyle>
            <a:lvl1pPr marL="0" indent="0">
              <a:lnSpc>
                <a:spcPct val="87000"/>
              </a:lnSpc>
              <a:buNone/>
              <a:defRPr sz="4800">
                <a:solidFill>
                  <a:schemeClr val="bg1"/>
                </a:solidFill>
                <a:latin typeface="+mj-lt"/>
              </a:defRPr>
            </a:lvl1pPr>
            <a:lvl2pPr marL="456742" indent="0">
              <a:buNone/>
              <a:defRPr/>
            </a:lvl2pPr>
            <a:lvl3pPr marL="913486" indent="0">
              <a:buNone/>
              <a:defRPr/>
            </a:lvl3pPr>
            <a:lvl4pPr marL="1370228" indent="0">
              <a:buNone/>
              <a:defRPr/>
            </a:lvl4pPr>
            <a:lvl5pPr marL="1826971" indent="0">
              <a:buNone/>
              <a:defRPr/>
            </a:lvl5pPr>
          </a:lstStyle>
          <a:p>
            <a:pPr lvl="0"/>
            <a:r>
              <a:rPr lang="en-US"/>
              <a:t>Presenter or Presentation Name</a:t>
            </a:r>
          </a:p>
        </p:txBody>
      </p:sp>
      <p:pic>
        <p:nvPicPr>
          <p:cNvPr id="2" name="Graphic 1">
            <a:extLst>
              <a:ext uri="{FF2B5EF4-FFF2-40B4-BE49-F238E27FC236}">
                <a16:creationId xmlns:a16="http://schemas.microsoft.com/office/drawing/2014/main" id="{D6186192-50A4-732C-C9AE-F81D8FAA4FA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2247" y="816857"/>
            <a:ext cx="1728171" cy="487700"/>
          </a:xfrm>
          <a:prstGeom prst="rect">
            <a:avLst/>
          </a:prstGeom>
        </p:spPr>
      </p:pic>
      <p:sp>
        <p:nvSpPr>
          <p:cNvPr id="3" name="Freeform: Shape 2">
            <a:extLst>
              <a:ext uri="{FF2B5EF4-FFF2-40B4-BE49-F238E27FC236}">
                <a16:creationId xmlns:a16="http://schemas.microsoft.com/office/drawing/2014/main" id="{18ABEC11-4654-79F2-EB77-D3109D108068}"/>
              </a:ext>
            </a:extLst>
          </p:cNvPr>
          <p:cNvSpPr/>
          <p:nvPr userDrawn="1"/>
        </p:nvSpPr>
        <p:spPr>
          <a:xfrm rot="17966026">
            <a:off x="11419013" y="2012600"/>
            <a:ext cx="513448" cy="1305203"/>
          </a:xfrm>
          <a:custGeom>
            <a:avLst/>
            <a:gdLst>
              <a:gd name="connsiteX0" fmla="*/ 347516 w 513448"/>
              <a:gd name="connsiteY0" fmla="*/ 2293 h 1305203"/>
              <a:gd name="connsiteX1" fmla="*/ 355652 w 513448"/>
              <a:gd name="connsiteY1" fmla="*/ 17928 h 1305203"/>
              <a:gd name="connsiteX2" fmla="*/ 353179 w 513448"/>
              <a:gd name="connsiteY2" fmla="*/ 204704 h 1305203"/>
              <a:gd name="connsiteX3" fmla="*/ 330913 w 513448"/>
              <a:gd name="connsiteY3" fmla="*/ 311082 h 1305203"/>
              <a:gd name="connsiteX4" fmla="*/ 199799 w 513448"/>
              <a:gd name="connsiteY4" fmla="*/ 602998 h 1305203"/>
              <a:gd name="connsiteX5" fmla="*/ 182481 w 513448"/>
              <a:gd name="connsiteY5" fmla="*/ 729165 h 1305203"/>
              <a:gd name="connsiteX6" fmla="*/ 241855 w 513448"/>
              <a:gd name="connsiteY6" fmla="*/ 606709 h 1305203"/>
              <a:gd name="connsiteX7" fmla="*/ 354416 w 513448"/>
              <a:gd name="connsiteY7" fmla="*/ 442197 h 1305203"/>
              <a:gd name="connsiteX8" fmla="*/ 358126 w 513448"/>
              <a:gd name="connsiteY8" fmla="*/ 468171 h 1305203"/>
              <a:gd name="connsiteX9" fmla="*/ 510269 w 513448"/>
              <a:gd name="connsiteY9" fmla="*/ 1039635 h 1305203"/>
              <a:gd name="connsiteX10" fmla="*/ 513448 w 513448"/>
              <a:gd name="connsiteY10" fmla="*/ 1100522 h 1305203"/>
              <a:gd name="connsiteX11" fmla="*/ 150696 w 513448"/>
              <a:gd name="connsiteY11" fmla="*/ 1305203 h 1305203"/>
              <a:gd name="connsiteX12" fmla="*/ 134242 w 513448"/>
              <a:gd name="connsiteY12" fmla="*/ 1158380 h 1305203"/>
              <a:gd name="connsiteX13" fmla="*/ 130530 w 513448"/>
              <a:gd name="connsiteY13" fmla="*/ 630210 h 1305203"/>
              <a:gd name="connsiteX14" fmla="*/ 11786 w 513448"/>
              <a:gd name="connsiteY14" fmla="*/ 125541 h 1305203"/>
              <a:gd name="connsiteX15" fmla="*/ 26629 w 513448"/>
              <a:gd name="connsiteY15" fmla="*/ 48852 h 1305203"/>
              <a:gd name="connsiteX16" fmla="*/ 313597 w 513448"/>
              <a:gd name="connsiteY16" fmla="*/ 8032 h 1305203"/>
              <a:gd name="connsiteX17" fmla="*/ 347516 w 513448"/>
              <a:gd name="connsiteY17" fmla="*/ 2293 h 130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448" h="1305203">
                <a:moveTo>
                  <a:pt x="347516" y="2293"/>
                </a:moveTo>
                <a:cubicBezTo>
                  <a:pt x="351632" y="4786"/>
                  <a:pt x="354724" y="9579"/>
                  <a:pt x="355652" y="17928"/>
                </a:cubicBezTo>
                <a:cubicBezTo>
                  <a:pt x="356889" y="34007"/>
                  <a:pt x="354417" y="114409"/>
                  <a:pt x="353179" y="204704"/>
                </a:cubicBezTo>
                <a:cubicBezTo>
                  <a:pt x="349469" y="243049"/>
                  <a:pt x="338335" y="262841"/>
                  <a:pt x="330913" y="311082"/>
                </a:cubicBezTo>
                <a:cubicBezTo>
                  <a:pt x="309887" y="457039"/>
                  <a:pt x="236906" y="505280"/>
                  <a:pt x="199799" y="602998"/>
                </a:cubicBezTo>
                <a:cubicBezTo>
                  <a:pt x="177535" y="659897"/>
                  <a:pt x="182481" y="729165"/>
                  <a:pt x="182481" y="729165"/>
                </a:cubicBezTo>
                <a:cubicBezTo>
                  <a:pt x="182481" y="729165"/>
                  <a:pt x="180009" y="698242"/>
                  <a:pt x="241855" y="606709"/>
                </a:cubicBezTo>
                <a:cubicBezTo>
                  <a:pt x="267830" y="567126"/>
                  <a:pt x="318545" y="518885"/>
                  <a:pt x="354416" y="442197"/>
                </a:cubicBezTo>
                <a:cubicBezTo>
                  <a:pt x="355652" y="453328"/>
                  <a:pt x="356890" y="461987"/>
                  <a:pt x="358126" y="468171"/>
                </a:cubicBezTo>
                <a:cubicBezTo>
                  <a:pt x="374207" y="533730"/>
                  <a:pt x="495427" y="847911"/>
                  <a:pt x="510269" y="1039635"/>
                </a:cubicBezTo>
                <a:lnTo>
                  <a:pt x="513448" y="1100522"/>
                </a:lnTo>
                <a:lnTo>
                  <a:pt x="150696" y="1305203"/>
                </a:lnTo>
                <a:lnTo>
                  <a:pt x="134242" y="1158380"/>
                </a:lnTo>
                <a:cubicBezTo>
                  <a:pt x="116926" y="970365"/>
                  <a:pt x="165164" y="798433"/>
                  <a:pt x="130530" y="630210"/>
                </a:cubicBezTo>
                <a:cubicBezTo>
                  <a:pt x="100844" y="486726"/>
                  <a:pt x="11786" y="125541"/>
                  <a:pt x="11786" y="125541"/>
                </a:cubicBezTo>
                <a:cubicBezTo>
                  <a:pt x="11786" y="125541"/>
                  <a:pt x="-22849" y="66168"/>
                  <a:pt x="26629" y="48852"/>
                </a:cubicBezTo>
                <a:cubicBezTo>
                  <a:pt x="76106" y="31535"/>
                  <a:pt x="313597" y="8032"/>
                  <a:pt x="313597" y="8032"/>
                </a:cubicBezTo>
                <a:cubicBezTo>
                  <a:pt x="313597" y="8032"/>
                  <a:pt x="335166" y="-5187"/>
                  <a:pt x="347516" y="2293"/>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18" name="Freeform: Shape 17">
            <a:extLst>
              <a:ext uri="{FF2B5EF4-FFF2-40B4-BE49-F238E27FC236}">
                <a16:creationId xmlns:a16="http://schemas.microsoft.com/office/drawing/2014/main" id="{D895A194-5423-17D0-BE7D-061E981887F4}"/>
              </a:ext>
            </a:extLst>
          </p:cNvPr>
          <p:cNvSpPr/>
          <p:nvPr userDrawn="1"/>
        </p:nvSpPr>
        <p:spPr>
          <a:xfrm rot="17873927">
            <a:off x="11585177" y="1664989"/>
            <a:ext cx="584275" cy="1093123"/>
          </a:xfrm>
          <a:custGeom>
            <a:avLst/>
            <a:gdLst>
              <a:gd name="connsiteX0" fmla="*/ 66366 w 584275"/>
              <a:gd name="connsiteY0" fmla="*/ 1022165 h 1093123"/>
              <a:gd name="connsiteX1" fmla="*/ 62826 w 584275"/>
              <a:gd name="connsiteY1" fmla="*/ 1024039 h 1093123"/>
              <a:gd name="connsiteX2" fmla="*/ 86143 w 584275"/>
              <a:gd name="connsiteY2" fmla="*/ 1068080 h 1093123"/>
              <a:gd name="connsiteX3" fmla="*/ 0 w 584275"/>
              <a:gd name="connsiteY3" fmla="*/ 1093123 h 1093123"/>
              <a:gd name="connsiteX4" fmla="*/ 46181 w 584275"/>
              <a:gd name="connsiteY4" fmla="*/ 998309 h 1093123"/>
              <a:gd name="connsiteX5" fmla="*/ 578096 w 584275"/>
              <a:gd name="connsiteY5" fmla="*/ 110991 h 1093123"/>
              <a:gd name="connsiteX6" fmla="*/ 584247 w 584275"/>
              <a:gd name="connsiteY6" fmla="*/ 129982 h 1093123"/>
              <a:gd name="connsiteX7" fmla="*/ 496425 w 584275"/>
              <a:gd name="connsiteY7" fmla="*/ 293259 h 1093123"/>
              <a:gd name="connsiteX8" fmla="*/ 425919 w 584275"/>
              <a:gd name="connsiteY8" fmla="*/ 455295 h 1093123"/>
              <a:gd name="connsiteX9" fmla="*/ 408602 w 584275"/>
              <a:gd name="connsiteY9" fmla="*/ 754635 h 1093123"/>
              <a:gd name="connsiteX10" fmla="*/ 388519 w 584275"/>
              <a:gd name="connsiteY10" fmla="*/ 821398 h 1093123"/>
              <a:gd name="connsiteX11" fmla="*/ 377401 w 584275"/>
              <a:gd name="connsiteY11" fmla="*/ 857489 h 1093123"/>
              <a:gd name="connsiteX12" fmla="*/ 126165 w 584275"/>
              <a:gd name="connsiteY12" fmla="*/ 990505 h 1093123"/>
              <a:gd name="connsiteX13" fmla="*/ 112975 w 584275"/>
              <a:gd name="connsiteY13" fmla="*/ 967385 h 1093123"/>
              <a:gd name="connsiteX14" fmla="*/ 82051 w 584275"/>
              <a:gd name="connsiteY14" fmla="*/ 832561 h 1093123"/>
              <a:gd name="connsiteX15" fmla="*/ 114212 w 584275"/>
              <a:gd name="connsiteY15" fmla="*/ 444163 h 1093123"/>
              <a:gd name="connsiteX16" fmla="*/ 203271 w 584275"/>
              <a:gd name="connsiteY16" fmla="*/ 214093 h 1093123"/>
              <a:gd name="connsiteX17" fmla="*/ 268829 w 584275"/>
              <a:gd name="connsiteY17" fmla="*/ 266045 h 1093123"/>
              <a:gd name="connsiteX18" fmla="*/ 406128 w 584275"/>
              <a:gd name="connsiteY18" fmla="*/ 419425 h 1093123"/>
              <a:gd name="connsiteX19" fmla="*/ 377680 w 584275"/>
              <a:gd name="connsiteY19" fmla="*/ 334076 h 1093123"/>
              <a:gd name="connsiteX20" fmla="*/ 275013 w 584275"/>
              <a:gd name="connsiteY20" fmla="*/ 204198 h 1093123"/>
              <a:gd name="connsiteX21" fmla="*/ 235431 w 584275"/>
              <a:gd name="connsiteY21" fmla="*/ 61950 h 1093123"/>
              <a:gd name="connsiteX22" fmla="*/ 251434 w 584275"/>
              <a:gd name="connsiteY22" fmla="*/ 5592 h 1093123"/>
              <a:gd name="connsiteX23" fmla="*/ 276251 w 584275"/>
              <a:gd name="connsiteY23" fmla="*/ 104 h 1093123"/>
              <a:gd name="connsiteX24" fmla="*/ 422209 w 584275"/>
              <a:gd name="connsiteY24" fmla="*/ 43397 h 1093123"/>
              <a:gd name="connsiteX25" fmla="*/ 578096 w 584275"/>
              <a:gd name="connsiteY25" fmla="*/ 110991 h 109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4275" h="1093123">
                <a:moveTo>
                  <a:pt x="66366" y="1022165"/>
                </a:moveTo>
                <a:lnTo>
                  <a:pt x="62826" y="1024039"/>
                </a:lnTo>
                <a:lnTo>
                  <a:pt x="86143" y="1068080"/>
                </a:lnTo>
                <a:lnTo>
                  <a:pt x="0" y="1093123"/>
                </a:lnTo>
                <a:lnTo>
                  <a:pt x="46181" y="998309"/>
                </a:lnTo>
                <a:close/>
                <a:moveTo>
                  <a:pt x="578096" y="110991"/>
                </a:moveTo>
                <a:cubicBezTo>
                  <a:pt x="582295" y="116994"/>
                  <a:pt x="584556" y="123334"/>
                  <a:pt x="584247" y="129982"/>
                </a:cubicBezTo>
                <a:cubicBezTo>
                  <a:pt x="583010" y="149773"/>
                  <a:pt x="529821" y="231411"/>
                  <a:pt x="496425" y="293259"/>
                </a:cubicBezTo>
                <a:cubicBezTo>
                  <a:pt x="460553" y="360053"/>
                  <a:pt x="425919" y="455295"/>
                  <a:pt x="425919" y="455295"/>
                </a:cubicBezTo>
                <a:cubicBezTo>
                  <a:pt x="425919" y="455295"/>
                  <a:pt x="442000" y="639599"/>
                  <a:pt x="408602" y="754635"/>
                </a:cubicBezTo>
                <a:cubicBezTo>
                  <a:pt x="403191" y="773035"/>
                  <a:pt x="396349" y="795744"/>
                  <a:pt x="388519" y="821398"/>
                </a:cubicBezTo>
                <a:lnTo>
                  <a:pt x="377401" y="857489"/>
                </a:lnTo>
                <a:lnTo>
                  <a:pt x="126165" y="990505"/>
                </a:lnTo>
                <a:lnTo>
                  <a:pt x="112975" y="967385"/>
                </a:lnTo>
                <a:cubicBezTo>
                  <a:pt x="95659" y="938938"/>
                  <a:pt x="86999" y="889460"/>
                  <a:pt x="82051" y="832561"/>
                </a:cubicBezTo>
                <a:cubicBezTo>
                  <a:pt x="70920" y="611151"/>
                  <a:pt x="114212" y="444163"/>
                  <a:pt x="114212" y="444163"/>
                </a:cubicBezTo>
                <a:cubicBezTo>
                  <a:pt x="114212" y="444163"/>
                  <a:pt x="161215" y="298205"/>
                  <a:pt x="203271" y="214093"/>
                </a:cubicBezTo>
                <a:cubicBezTo>
                  <a:pt x="223063" y="232647"/>
                  <a:pt x="245327" y="251202"/>
                  <a:pt x="268829" y="266045"/>
                </a:cubicBezTo>
                <a:cubicBezTo>
                  <a:pt x="343045" y="313049"/>
                  <a:pt x="406128" y="419425"/>
                  <a:pt x="406128" y="419425"/>
                </a:cubicBezTo>
                <a:cubicBezTo>
                  <a:pt x="406128" y="419425"/>
                  <a:pt x="403654" y="378605"/>
                  <a:pt x="377680" y="334076"/>
                </a:cubicBezTo>
                <a:cubicBezTo>
                  <a:pt x="351703" y="289547"/>
                  <a:pt x="347993" y="289546"/>
                  <a:pt x="275013" y="204198"/>
                </a:cubicBezTo>
                <a:cubicBezTo>
                  <a:pt x="231720" y="152247"/>
                  <a:pt x="223063" y="107718"/>
                  <a:pt x="235431" y="61950"/>
                </a:cubicBezTo>
                <a:cubicBezTo>
                  <a:pt x="240070" y="45252"/>
                  <a:pt x="234967" y="17421"/>
                  <a:pt x="251434" y="5592"/>
                </a:cubicBezTo>
                <a:cubicBezTo>
                  <a:pt x="256924" y="1650"/>
                  <a:pt x="264809" y="-515"/>
                  <a:pt x="276251" y="104"/>
                </a:cubicBezTo>
                <a:cubicBezTo>
                  <a:pt x="322017" y="2578"/>
                  <a:pt x="422209" y="43397"/>
                  <a:pt x="422209" y="43397"/>
                </a:cubicBezTo>
                <a:cubicBezTo>
                  <a:pt x="424374" y="43398"/>
                  <a:pt x="548704" y="68967"/>
                  <a:pt x="578096" y="110991"/>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Tree>
    <p:extLst>
      <p:ext uri="{BB962C8B-B14F-4D97-AF65-F5344CB8AC3E}">
        <p14:creationId xmlns:p14="http://schemas.microsoft.com/office/powerpoint/2010/main" val="19883524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1 - Teal">
    <p:bg>
      <p:bgPr>
        <a:solidFill>
          <a:schemeClr val="accent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33E4284-51D7-8918-61F2-AF2A1AA04527}"/>
              </a:ext>
            </a:extLst>
          </p:cNvPr>
          <p:cNvGrpSpPr/>
          <p:nvPr/>
        </p:nvGrpSpPr>
        <p:grpSpPr>
          <a:xfrm flipH="1">
            <a:off x="6760464" y="4450296"/>
            <a:ext cx="1874961" cy="2088384"/>
            <a:chOff x="3544292" y="4551489"/>
            <a:chExt cx="2527193" cy="2814866"/>
          </a:xfrm>
          <a:solidFill>
            <a:schemeClr val="accent5">
              <a:alpha val="68000"/>
            </a:schemeClr>
          </a:solidFill>
        </p:grpSpPr>
        <p:sp>
          <p:nvSpPr>
            <p:cNvPr id="24" name="Freeform: Shape 34">
              <a:extLst>
                <a:ext uri="{FF2B5EF4-FFF2-40B4-BE49-F238E27FC236}">
                  <a16:creationId xmlns:a16="http://schemas.microsoft.com/office/drawing/2014/main" id="{D2CB58BE-A73B-3C76-A9EC-F322E5DAF496}"/>
                </a:ext>
              </a:extLst>
            </p:cNvPr>
            <p:cNvSpPr/>
            <p:nvPr/>
          </p:nvSpPr>
          <p:spPr>
            <a:xfrm rot="20018510">
              <a:off x="3544292" y="5981920"/>
              <a:ext cx="1163406" cy="1384435"/>
            </a:xfrm>
            <a:custGeom>
              <a:avLst/>
              <a:gdLst>
                <a:gd name="connsiteX0" fmla="*/ 1019074 w 1163406"/>
                <a:gd name="connsiteY0" fmla="*/ 895713 h 1384435"/>
                <a:gd name="connsiteX1" fmla="*/ 796268 w 1163406"/>
                <a:gd name="connsiteY1" fmla="*/ 729391 h 1384435"/>
                <a:gd name="connsiteX2" fmla="*/ 606580 w 1163406"/>
                <a:gd name="connsiteY2" fmla="*/ 757540 h 1384435"/>
                <a:gd name="connsiteX3" fmla="*/ 582478 w 1163406"/>
                <a:gd name="connsiteY3" fmla="*/ 719088 h 1384435"/>
                <a:gd name="connsiteX4" fmla="*/ 514404 w 1163406"/>
                <a:gd name="connsiteY4" fmla="*/ 684315 h 1384435"/>
                <a:gd name="connsiteX5" fmla="*/ 545681 w 1163406"/>
                <a:gd name="connsiteY5" fmla="*/ 616792 h 1384435"/>
                <a:gd name="connsiteX6" fmla="*/ 544025 w 1163406"/>
                <a:gd name="connsiteY6" fmla="*/ 577787 h 1384435"/>
                <a:gd name="connsiteX7" fmla="*/ 592229 w 1163406"/>
                <a:gd name="connsiteY7" fmla="*/ 560309 h 1384435"/>
                <a:gd name="connsiteX8" fmla="*/ 628842 w 1163406"/>
                <a:gd name="connsiteY8" fmla="*/ 556261 h 1384435"/>
                <a:gd name="connsiteX9" fmla="*/ 728010 w 1163406"/>
                <a:gd name="connsiteY9" fmla="*/ 654509 h 1384435"/>
                <a:gd name="connsiteX10" fmla="*/ 924138 w 1163406"/>
                <a:gd name="connsiteY10" fmla="*/ 662420 h 1384435"/>
                <a:gd name="connsiteX11" fmla="*/ 1100395 w 1163406"/>
                <a:gd name="connsiteY11" fmla="*/ 577051 h 1384435"/>
                <a:gd name="connsiteX12" fmla="*/ 1163318 w 1163406"/>
                <a:gd name="connsiteY12" fmla="*/ 412201 h 1384435"/>
                <a:gd name="connsiteX13" fmla="*/ 1077581 w 1163406"/>
                <a:gd name="connsiteY13" fmla="*/ 229872 h 1384435"/>
                <a:gd name="connsiteX14" fmla="*/ 982645 w 1163406"/>
                <a:gd name="connsiteY14" fmla="*/ 151311 h 1384435"/>
                <a:gd name="connsiteX15" fmla="*/ 939224 w 1163406"/>
                <a:gd name="connsiteY15" fmla="*/ 99979 h 1384435"/>
                <a:gd name="connsiteX16" fmla="*/ 858823 w 1163406"/>
                <a:gd name="connsiteY16" fmla="*/ 56375 h 1384435"/>
                <a:gd name="connsiteX17" fmla="*/ 649449 w 1163406"/>
                <a:gd name="connsiteY17" fmla="*/ 4491 h 1384435"/>
                <a:gd name="connsiteX18" fmla="*/ 486806 w 1163406"/>
                <a:gd name="connsiteY18" fmla="*/ 69070 h 1384435"/>
                <a:gd name="connsiteX19" fmla="*/ 358385 w 1163406"/>
                <a:gd name="connsiteY19" fmla="*/ 106971 h 1384435"/>
                <a:gd name="connsiteX20" fmla="*/ 298958 w 1163406"/>
                <a:gd name="connsiteY20" fmla="*/ 161246 h 1384435"/>
                <a:gd name="connsiteX21" fmla="*/ 223340 w 1163406"/>
                <a:gd name="connsiteY21" fmla="*/ 213866 h 1384435"/>
                <a:gd name="connsiteX22" fmla="*/ 159497 w 1163406"/>
                <a:gd name="connsiteY22" fmla="*/ 282676 h 1384435"/>
                <a:gd name="connsiteX23" fmla="*/ 72472 w 1163406"/>
                <a:gd name="connsiteY23" fmla="*/ 404658 h 1384435"/>
                <a:gd name="connsiteX24" fmla="*/ 59961 w 1163406"/>
                <a:gd name="connsiteY24" fmla="*/ 465005 h 1384435"/>
                <a:gd name="connsiteX25" fmla="*/ 62721 w 1163406"/>
                <a:gd name="connsiteY25" fmla="*/ 470340 h 1384435"/>
                <a:gd name="connsiteX26" fmla="*/ 44323 w 1163406"/>
                <a:gd name="connsiteY26" fmla="*/ 509529 h 1384435"/>
                <a:gd name="connsiteX27" fmla="*/ 41747 w 1163406"/>
                <a:gd name="connsiteY27" fmla="*/ 588275 h 1384435"/>
                <a:gd name="connsiteX28" fmla="*/ 11573 w 1163406"/>
                <a:gd name="connsiteY28" fmla="*/ 611273 h 1384435"/>
                <a:gd name="connsiteX29" fmla="*/ 20589 w 1163406"/>
                <a:gd name="connsiteY29" fmla="*/ 680635 h 1384435"/>
                <a:gd name="connsiteX30" fmla="*/ 3110 w 1163406"/>
                <a:gd name="connsiteY30" fmla="*/ 774467 h 1384435"/>
                <a:gd name="connsiteX31" fmla="*/ 52234 w 1163406"/>
                <a:gd name="connsiteY31" fmla="*/ 894609 h 1384435"/>
                <a:gd name="connsiteX32" fmla="*/ 151034 w 1163406"/>
                <a:gd name="connsiteY32" fmla="*/ 1066451 h 1384435"/>
                <a:gd name="connsiteX33" fmla="*/ 246706 w 1163406"/>
                <a:gd name="connsiteY33" fmla="*/ 1174082 h 1384435"/>
                <a:gd name="connsiteX34" fmla="*/ 377887 w 1163406"/>
                <a:gd name="connsiteY34" fmla="*/ 1242708 h 1384435"/>
                <a:gd name="connsiteX35" fmla="*/ 443938 w 1163406"/>
                <a:gd name="connsiteY35" fmla="*/ 1287784 h 1384435"/>
                <a:gd name="connsiteX36" fmla="*/ 568311 w 1163406"/>
                <a:gd name="connsiteY36" fmla="*/ 1314278 h 1384435"/>
                <a:gd name="connsiteX37" fmla="*/ 750272 w 1163406"/>
                <a:gd name="connsiteY37" fmla="*/ 1384192 h 1384435"/>
                <a:gd name="connsiteX38" fmla="*/ 856431 w 1163406"/>
                <a:gd name="connsiteY38" fmla="*/ 1328445 h 1384435"/>
                <a:gd name="connsiteX39" fmla="*/ 1011346 w 1163406"/>
                <a:gd name="connsiteY39" fmla="*/ 1209959 h 1384435"/>
                <a:gd name="connsiteX40" fmla="*/ 1019074 w 1163406"/>
                <a:gd name="connsiteY40" fmla="*/ 895713 h 138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63406" h="1384435">
                  <a:moveTo>
                    <a:pt x="1019074" y="895713"/>
                  </a:moveTo>
                  <a:cubicBezTo>
                    <a:pt x="980621" y="805192"/>
                    <a:pt x="910339" y="767292"/>
                    <a:pt x="796268" y="729391"/>
                  </a:cubicBezTo>
                  <a:cubicBezTo>
                    <a:pt x="682198" y="691490"/>
                    <a:pt x="606580" y="757540"/>
                    <a:pt x="606580" y="757540"/>
                  </a:cubicBezTo>
                  <a:cubicBezTo>
                    <a:pt x="606580" y="757540"/>
                    <a:pt x="599773" y="741534"/>
                    <a:pt x="582478" y="719088"/>
                  </a:cubicBezTo>
                  <a:cubicBezTo>
                    <a:pt x="565367" y="696641"/>
                    <a:pt x="514404" y="684315"/>
                    <a:pt x="514404" y="684315"/>
                  </a:cubicBezTo>
                  <a:cubicBezTo>
                    <a:pt x="514404" y="684315"/>
                    <a:pt x="538690" y="661684"/>
                    <a:pt x="545681" y="616792"/>
                  </a:cubicBezTo>
                  <a:cubicBezTo>
                    <a:pt x="547521" y="605017"/>
                    <a:pt x="546417" y="591586"/>
                    <a:pt x="544025" y="577787"/>
                  </a:cubicBezTo>
                  <a:cubicBezTo>
                    <a:pt x="555616" y="570796"/>
                    <a:pt x="572359" y="562517"/>
                    <a:pt x="592229" y="560309"/>
                  </a:cubicBezTo>
                  <a:cubicBezTo>
                    <a:pt x="628842" y="556261"/>
                    <a:pt x="628842" y="556261"/>
                    <a:pt x="628842" y="556261"/>
                  </a:cubicBezTo>
                  <a:cubicBezTo>
                    <a:pt x="628842" y="556261"/>
                    <a:pt x="621299" y="616976"/>
                    <a:pt x="728010" y="654509"/>
                  </a:cubicBezTo>
                  <a:cubicBezTo>
                    <a:pt x="834721" y="692042"/>
                    <a:pt x="883477" y="656533"/>
                    <a:pt x="924138" y="662420"/>
                  </a:cubicBezTo>
                  <a:cubicBezTo>
                    <a:pt x="964798" y="668308"/>
                    <a:pt x="1032505" y="683579"/>
                    <a:pt x="1100395" y="577051"/>
                  </a:cubicBezTo>
                  <a:cubicBezTo>
                    <a:pt x="1168469" y="470524"/>
                    <a:pt x="1163318" y="412201"/>
                    <a:pt x="1163318" y="412201"/>
                  </a:cubicBezTo>
                  <a:cubicBezTo>
                    <a:pt x="1163318" y="412201"/>
                    <a:pt x="1134064" y="271453"/>
                    <a:pt x="1077581" y="229872"/>
                  </a:cubicBezTo>
                  <a:cubicBezTo>
                    <a:pt x="1020914" y="188292"/>
                    <a:pt x="993868" y="178725"/>
                    <a:pt x="982645" y="151311"/>
                  </a:cubicBezTo>
                  <a:cubicBezTo>
                    <a:pt x="971422" y="123897"/>
                    <a:pt x="951183" y="108074"/>
                    <a:pt x="939224" y="99979"/>
                  </a:cubicBezTo>
                  <a:cubicBezTo>
                    <a:pt x="906107" y="77717"/>
                    <a:pt x="893412" y="79741"/>
                    <a:pt x="858823" y="56375"/>
                  </a:cubicBezTo>
                  <a:cubicBezTo>
                    <a:pt x="824234" y="33009"/>
                    <a:pt x="763519" y="-14827"/>
                    <a:pt x="649449" y="4491"/>
                  </a:cubicBezTo>
                  <a:cubicBezTo>
                    <a:pt x="535378" y="23809"/>
                    <a:pt x="519371" y="58767"/>
                    <a:pt x="486806" y="69070"/>
                  </a:cubicBezTo>
                  <a:cubicBezTo>
                    <a:pt x="454241" y="79373"/>
                    <a:pt x="393342" y="79189"/>
                    <a:pt x="358385" y="106971"/>
                  </a:cubicBezTo>
                  <a:cubicBezTo>
                    <a:pt x="323428" y="134936"/>
                    <a:pt x="332443" y="136960"/>
                    <a:pt x="298958" y="161246"/>
                  </a:cubicBezTo>
                  <a:cubicBezTo>
                    <a:pt x="265472" y="185532"/>
                    <a:pt x="242842" y="182956"/>
                    <a:pt x="223340" y="213866"/>
                  </a:cubicBezTo>
                  <a:cubicBezTo>
                    <a:pt x="203837" y="244775"/>
                    <a:pt x="206413" y="253974"/>
                    <a:pt x="159497" y="282676"/>
                  </a:cubicBezTo>
                  <a:cubicBezTo>
                    <a:pt x="112581" y="311562"/>
                    <a:pt x="74680" y="365101"/>
                    <a:pt x="72472" y="404658"/>
                  </a:cubicBezTo>
                  <a:cubicBezTo>
                    <a:pt x="70449" y="444214"/>
                    <a:pt x="73208" y="438143"/>
                    <a:pt x="59961" y="465005"/>
                  </a:cubicBezTo>
                  <a:cubicBezTo>
                    <a:pt x="59226" y="466661"/>
                    <a:pt x="60329" y="468316"/>
                    <a:pt x="62721" y="470340"/>
                  </a:cubicBezTo>
                  <a:cubicBezTo>
                    <a:pt x="55730" y="482483"/>
                    <a:pt x="49106" y="495914"/>
                    <a:pt x="44323" y="509529"/>
                  </a:cubicBezTo>
                  <a:cubicBezTo>
                    <a:pt x="28684" y="554053"/>
                    <a:pt x="41747" y="588275"/>
                    <a:pt x="41747" y="588275"/>
                  </a:cubicBezTo>
                  <a:cubicBezTo>
                    <a:pt x="41747" y="588275"/>
                    <a:pt x="24452" y="591770"/>
                    <a:pt x="11573" y="611273"/>
                  </a:cubicBezTo>
                  <a:cubicBezTo>
                    <a:pt x="-1305" y="630775"/>
                    <a:pt x="27764" y="656717"/>
                    <a:pt x="20589" y="680635"/>
                  </a:cubicBezTo>
                  <a:cubicBezTo>
                    <a:pt x="13413" y="704553"/>
                    <a:pt x="-7929" y="712832"/>
                    <a:pt x="3110" y="774467"/>
                  </a:cubicBezTo>
                  <a:cubicBezTo>
                    <a:pt x="13965" y="836102"/>
                    <a:pt x="36963" y="839414"/>
                    <a:pt x="52234" y="894609"/>
                  </a:cubicBezTo>
                  <a:cubicBezTo>
                    <a:pt x="67505" y="949804"/>
                    <a:pt x="109453" y="1035173"/>
                    <a:pt x="151034" y="1066451"/>
                  </a:cubicBezTo>
                  <a:cubicBezTo>
                    <a:pt x="192614" y="1097544"/>
                    <a:pt x="194270" y="1108215"/>
                    <a:pt x="246706" y="1174082"/>
                  </a:cubicBezTo>
                  <a:cubicBezTo>
                    <a:pt x="299142" y="1240132"/>
                    <a:pt x="377887" y="1242708"/>
                    <a:pt x="377887" y="1242708"/>
                  </a:cubicBezTo>
                  <a:cubicBezTo>
                    <a:pt x="377887" y="1242708"/>
                    <a:pt x="406221" y="1270306"/>
                    <a:pt x="443938" y="1287784"/>
                  </a:cubicBezTo>
                  <a:cubicBezTo>
                    <a:pt x="481654" y="1305447"/>
                    <a:pt x="541633" y="1297352"/>
                    <a:pt x="568311" y="1314278"/>
                  </a:cubicBezTo>
                  <a:cubicBezTo>
                    <a:pt x="594989" y="1331205"/>
                    <a:pt x="691397" y="1380144"/>
                    <a:pt x="750272" y="1384192"/>
                  </a:cubicBezTo>
                  <a:cubicBezTo>
                    <a:pt x="809147" y="1388240"/>
                    <a:pt x="817059" y="1340588"/>
                    <a:pt x="856431" y="1328445"/>
                  </a:cubicBezTo>
                  <a:cubicBezTo>
                    <a:pt x="895804" y="1316302"/>
                    <a:pt x="934993" y="1321269"/>
                    <a:pt x="1011346" y="1209959"/>
                  </a:cubicBezTo>
                  <a:cubicBezTo>
                    <a:pt x="1087332" y="1098832"/>
                    <a:pt x="1057527" y="986417"/>
                    <a:pt x="1019074" y="895713"/>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5" name="Freeform: Shape 38">
              <a:extLst>
                <a:ext uri="{FF2B5EF4-FFF2-40B4-BE49-F238E27FC236}">
                  <a16:creationId xmlns:a16="http://schemas.microsoft.com/office/drawing/2014/main" id="{1C30D79C-2A55-7E47-811F-11CECEC0AC40}"/>
                </a:ext>
              </a:extLst>
            </p:cNvPr>
            <p:cNvSpPr/>
            <p:nvPr/>
          </p:nvSpPr>
          <p:spPr>
            <a:xfrm rot="20018510">
              <a:off x="4926541" y="5725891"/>
              <a:ext cx="1144944" cy="1194921"/>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6" name="Freeform: Shape 39">
              <a:extLst>
                <a:ext uri="{FF2B5EF4-FFF2-40B4-BE49-F238E27FC236}">
                  <a16:creationId xmlns:a16="http://schemas.microsoft.com/office/drawing/2014/main" id="{E89AA130-33D1-1036-408E-F39133A31102}"/>
                </a:ext>
              </a:extLst>
            </p:cNvPr>
            <p:cNvSpPr/>
            <p:nvPr/>
          </p:nvSpPr>
          <p:spPr>
            <a:xfrm rot="20018510">
              <a:off x="4068661" y="4551489"/>
              <a:ext cx="1314392" cy="1282656"/>
            </a:xfrm>
            <a:custGeom>
              <a:avLst/>
              <a:gdLst>
                <a:gd name="connsiteX0" fmla="*/ 1289211 w 1314392"/>
                <a:gd name="connsiteY0" fmla="*/ 506242 h 1282656"/>
                <a:gd name="connsiteX1" fmla="*/ 1274125 w 1314392"/>
                <a:gd name="connsiteY1" fmla="*/ 436695 h 1282656"/>
                <a:gd name="connsiteX2" fmla="*/ 1268605 w 1314392"/>
                <a:gd name="connsiteY2" fmla="*/ 410386 h 1282656"/>
                <a:gd name="connsiteX3" fmla="*/ 1266213 w 1314392"/>
                <a:gd name="connsiteY3" fmla="*/ 375981 h 1282656"/>
                <a:gd name="connsiteX4" fmla="*/ 1218561 w 1314392"/>
                <a:gd name="connsiteY4" fmla="*/ 209106 h 1282656"/>
                <a:gd name="connsiteX5" fmla="*/ 1091612 w 1314392"/>
                <a:gd name="connsiteY5" fmla="*/ 103683 h 1282656"/>
                <a:gd name="connsiteX6" fmla="*/ 1065854 w 1314392"/>
                <a:gd name="connsiteY6" fmla="*/ 87125 h 1282656"/>
                <a:gd name="connsiteX7" fmla="*/ 797236 w 1314392"/>
                <a:gd name="connsiteY7" fmla="*/ 18498 h 1282656"/>
                <a:gd name="connsiteX8" fmla="*/ 648025 w 1314392"/>
                <a:gd name="connsiteY8" fmla="*/ 113434 h 1282656"/>
                <a:gd name="connsiteX9" fmla="*/ 591725 w 1314392"/>
                <a:gd name="connsiteY9" fmla="*/ 191260 h 1282656"/>
                <a:gd name="connsiteX10" fmla="*/ 619323 w 1314392"/>
                <a:gd name="connsiteY10" fmla="*/ 385548 h 1282656"/>
                <a:gd name="connsiteX11" fmla="*/ 714627 w 1314392"/>
                <a:gd name="connsiteY11" fmla="*/ 491155 h 1282656"/>
                <a:gd name="connsiteX12" fmla="*/ 728610 w 1314392"/>
                <a:gd name="connsiteY12" fmla="*/ 596026 h 1282656"/>
                <a:gd name="connsiteX13" fmla="*/ 760255 w 1314392"/>
                <a:gd name="connsiteY13" fmla="*/ 656189 h 1282656"/>
                <a:gd name="connsiteX14" fmla="*/ 703220 w 1314392"/>
                <a:gd name="connsiteY14" fmla="*/ 687099 h 1282656"/>
                <a:gd name="connsiteX15" fmla="*/ 683534 w 1314392"/>
                <a:gd name="connsiteY15" fmla="*/ 703841 h 1282656"/>
                <a:gd name="connsiteX16" fmla="*/ 654464 w 1314392"/>
                <a:gd name="connsiteY16" fmla="*/ 711753 h 1282656"/>
                <a:gd name="connsiteX17" fmla="*/ 622819 w 1314392"/>
                <a:gd name="connsiteY17" fmla="*/ 680107 h 1282656"/>
                <a:gd name="connsiteX18" fmla="*/ 563392 w 1314392"/>
                <a:gd name="connsiteY18" fmla="*/ 651406 h 1282656"/>
                <a:gd name="connsiteX19" fmla="*/ 539658 w 1314392"/>
                <a:gd name="connsiteY19" fmla="*/ 582779 h 1282656"/>
                <a:gd name="connsiteX20" fmla="*/ 538554 w 1314392"/>
                <a:gd name="connsiteY20" fmla="*/ 580755 h 1282656"/>
                <a:gd name="connsiteX21" fmla="*/ 550329 w 1314392"/>
                <a:gd name="connsiteY21" fmla="*/ 510657 h 1282656"/>
                <a:gd name="connsiteX22" fmla="*/ 531194 w 1314392"/>
                <a:gd name="connsiteY22" fmla="*/ 438903 h 1282656"/>
                <a:gd name="connsiteX23" fmla="*/ 491454 w 1314392"/>
                <a:gd name="connsiteY23" fmla="*/ 276629 h 1282656"/>
                <a:gd name="connsiteX24" fmla="*/ 305445 w 1314392"/>
                <a:gd name="connsiteY24" fmla="*/ 209106 h 1282656"/>
                <a:gd name="connsiteX25" fmla="*/ 56330 w 1314392"/>
                <a:gd name="connsiteY25" fmla="*/ 327961 h 1282656"/>
                <a:gd name="connsiteX26" fmla="*/ 1686 w 1314392"/>
                <a:gd name="connsiteY26" fmla="*/ 501090 h 1282656"/>
                <a:gd name="connsiteX27" fmla="*/ 26892 w 1314392"/>
                <a:gd name="connsiteY27" fmla="*/ 572844 h 1282656"/>
                <a:gd name="connsiteX28" fmla="*/ 18797 w 1314392"/>
                <a:gd name="connsiteY28" fmla="*/ 714880 h 1282656"/>
                <a:gd name="connsiteX29" fmla="*/ 106742 w 1314392"/>
                <a:gd name="connsiteY29" fmla="*/ 880283 h 1282656"/>
                <a:gd name="connsiteX30" fmla="*/ 110053 w 1314392"/>
                <a:gd name="connsiteY30" fmla="*/ 884514 h 1282656"/>
                <a:gd name="connsiteX31" fmla="*/ 114469 w 1314392"/>
                <a:gd name="connsiteY31" fmla="*/ 919655 h 1282656"/>
                <a:gd name="connsiteX32" fmla="*/ 160097 w 1314392"/>
                <a:gd name="connsiteY32" fmla="*/ 1052308 h 1282656"/>
                <a:gd name="connsiteX33" fmla="*/ 342058 w 1314392"/>
                <a:gd name="connsiteY33" fmla="*/ 1218630 h 1282656"/>
                <a:gd name="connsiteX34" fmla="*/ 456497 w 1314392"/>
                <a:gd name="connsiteY34" fmla="*/ 1236661 h 1282656"/>
                <a:gd name="connsiteX35" fmla="*/ 509668 w 1314392"/>
                <a:gd name="connsiteY35" fmla="*/ 1242364 h 1282656"/>
                <a:gd name="connsiteX36" fmla="*/ 530642 w 1314392"/>
                <a:gd name="connsiteY36" fmla="*/ 1252668 h 1282656"/>
                <a:gd name="connsiteX37" fmla="*/ 624107 w 1314392"/>
                <a:gd name="connsiteY37" fmla="*/ 1282657 h 1282656"/>
                <a:gd name="connsiteX38" fmla="*/ 651152 w 1314392"/>
                <a:gd name="connsiteY38" fmla="*/ 1279713 h 1282656"/>
                <a:gd name="connsiteX39" fmla="*/ 768351 w 1314392"/>
                <a:gd name="connsiteY39" fmla="*/ 1217343 h 1282656"/>
                <a:gd name="connsiteX40" fmla="*/ 813611 w 1314392"/>
                <a:gd name="connsiteY40" fmla="*/ 1212559 h 1282656"/>
                <a:gd name="connsiteX41" fmla="*/ 882789 w 1314392"/>
                <a:gd name="connsiteY41" fmla="*/ 1173738 h 1282656"/>
                <a:gd name="connsiteX42" fmla="*/ 996860 w 1314392"/>
                <a:gd name="connsiteY42" fmla="*/ 1138597 h 1282656"/>
                <a:gd name="connsiteX43" fmla="*/ 1076893 w 1314392"/>
                <a:gd name="connsiteY43" fmla="*/ 1068315 h 1282656"/>
                <a:gd name="connsiteX44" fmla="*/ 1189860 w 1314392"/>
                <a:gd name="connsiteY44" fmla="*/ 965467 h 1282656"/>
                <a:gd name="connsiteX45" fmla="*/ 1204394 w 1314392"/>
                <a:gd name="connsiteY45" fmla="*/ 932534 h 1282656"/>
                <a:gd name="connsiteX46" fmla="*/ 1229232 w 1314392"/>
                <a:gd name="connsiteY46" fmla="*/ 889666 h 1282656"/>
                <a:gd name="connsiteX47" fmla="*/ 1239351 w 1314392"/>
                <a:gd name="connsiteY47" fmla="*/ 874947 h 1282656"/>
                <a:gd name="connsiteX48" fmla="*/ 1279644 w 1314392"/>
                <a:gd name="connsiteY48" fmla="*/ 719296 h 1282656"/>
                <a:gd name="connsiteX49" fmla="*/ 1313681 w 1314392"/>
                <a:gd name="connsiteY49" fmla="*/ 631167 h 1282656"/>
                <a:gd name="connsiteX50" fmla="*/ 1289211 w 1314392"/>
                <a:gd name="connsiteY50" fmla="*/ 506242 h 1282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314392" h="1282656">
                  <a:moveTo>
                    <a:pt x="1289211" y="506242"/>
                  </a:moveTo>
                  <a:cubicBezTo>
                    <a:pt x="1289395" y="493547"/>
                    <a:pt x="1288475" y="459510"/>
                    <a:pt x="1274125" y="436695"/>
                  </a:cubicBezTo>
                  <a:cubicBezTo>
                    <a:pt x="1269709" y="429520"/>
                    <a:pt x="1269341" y="427128"/>
                    <a:pt x="1268605" y="410386"/>
                  </a:cubicBezTo>
                  <a:cubicBezTo>
                    <a:pt x="1268237" y="401922"/>
                    <a:pt x="1267685" y="391067"/>
                    <a:pt x="1266213" y="375981"/>
                  </a:cubicBezTo>
                  <a:cubicBezTo>
                    <a:pt x="1258486" y="296315"/>
                    <a:pt x="1254622" y="256390"/>
                    <a:pt x="1218561" y="209106"/>
                  </a:cubicBezTo>
                  <a:cubicBezTo>
                    <a:pt x="1174773" y="151519"/>
                    <a:pt x="1124729" y="122634"/>
                    <a:pt x="1091612" y="103683"/>
                  </a:cubicBezTo>
                  <a:cubicBezTo>
                    <a:pt x="1081125" y="97612"/>
                    <a:pt x="1068246" y="90252"/>
                    <a:pt x="1065854" y="87125"/>
                  </a:cubicBezTo>
                  <a:cubicBezTo>
                    <a:pt x="1032737" y="31745"/>
                    <a:pt x="933937" y="-32281"/>
                    <a:pt x="797236" y="18498"/>
                  </a:cubicBezTo>
                  <a:cubicBezTo>
                    <a:pt x="760623" y="32113"/>
                    <a:pt x="705244" y="59343"/>
                    <a:pt x="648025" y="113434"/>
                  </a:cubicBezTo>
                  <a:cubicBezTo>
                    <a:pt x="631834" y="129073"/>
                    <a:pt x="606260" y="162190"/>
                    <a:pt x="591725" y="191260"/>
                  </a:cubicBezTo>
                  <a:cubicBezTo>
                    <a:pt x="575535" y="223457"/>
                    <a:pt x="568543" y="304778"/>
                    <a:pt x="619323" y="385548"/>
                  </a:cubicBezTo>
                  <a:cubicBezTo>
                    <a:pt x="652992" y="439087"/>
                    <a:pt x="696781" y="476804"/>
                    <a:pt x="714627" y="491155"/>
                  </a:cubicBezTo>
                  <a:cubicBezTo>
                    <a:pt x="714075" y="512313"/>
                    <a:pt x="714259" y="561989"/>
                    <a:pt x="728610" y="596026"/>
                  </a:cubicBezTo>
                  <a:cubicBezTo>
                    <a:pt x="736521" y="614977"/>
                    <a:pt x="748664" y="637055"/>
                    <a:pt x="760255" y="656189"/>
                  </a:cubicBezTo>
                  <a:cubicBezTo>
                    <a:pt x="736521" y="665388"/>
                    <a:pt x="717387" y="675876"/>
                    <a:pt x="703220" y="687099"/>
                  </a:cubicBezTo>
                  <a:cubicBezTo>
                    <a:pt x="697149" y="691882"/>
                    <a:pt x="690709" y="697402"/>
                    <a:pt x="683534" y="703841"/>
                  </a:cubicBezTo>
                  <a:cubicBezTo>
                    <a:pt x="673782" y="704577"/>
                    <a:pt x="662927" y="708257"/>
                    <a:pt x="654464" y="711753"/>
                  </a:cubicBezTo>
                  <a:cubicBezTo>
                    <a:pt x="647657" y="704209"/>
                    <a:pt x="637354" y="693354"/>
                    <a:pt x="622819" y="680107"/>
                  </a:cubicBezTo>
                  <a:cubicBezTo>
                    <a:pt x="606444" y="665021"/>
                    <a:pt x="583078" y="656373"/>
                    <a:pt x="563392" y="651406"/>
                  </a:cubicBezTo>
                  <a:cubicBezTo>
                    <a:pt x="556768" y="628224"/>
                    <a:pt x="546649" y="595474"/>
                    <a:pt x="539658" y="582779"/>
                  </a:cubicBezTo>
                  <a:lnTo>
                    <a:pt x="538554" y="580755"/>
                  </a:lnTo>
                  <a:cubicBezTo>
                    <a:pt x="546281" y="568612"/>
                    <a:pt x="554008" y="546902"/>
                    <a:pt x="550329" y="510657"/>
                  </a:cubicBezTo>
                  <a:cubicBezTo>
                    <a:pt x="546281" y="472572"/>
                    <a:pt x="537266" y="449942"/>
                    <a:pt x="531194" y="438903"/>
                  </a:cubicBezTo>
                  <a:cubicBezTo>
                    <a:pt x="537082" y="412961"/>
                    <a:pt x="549225" y="332376"/>
                    <a:pt x="491454" y="276629"/>
                  </a:cubicBezTo>
                  <a:cubicBezTo>
                    <a:pt x="440122" y="227137"/>
                    <a:pt x="377567" y="204507"/>
                    <a:pt x="305445" y="209106"/>
                  </a:cubicBezTo>
                  <a:cubicBezTo>
                    <a:pt x="189167" y="216834"/>
                    <a:pt x="81536" y="296131"/>
                    <a:pt x="56330" y="327961"/>
                  </a:cubicBezTo>
                  <a:cubicBezTo>
                    <a:pt x="18613" y="375429"/>
                    <a:pt x="-6961" y="456382"/>
                    <a:pt x="1686" y="501090"/>
                  </a:cubicBezTo>
                  <a:cubicBezTo>
                    <a:pt x="7758" y="532736"/>
                    <a:pt x="20453" y="560149"/>
                    <a:pt x="26892" y="572844"/>
                  </a:cubicBezTo>
                  <a:cubicBezTo>
                    <a:pt x="20269" y="594738"/>
                    <a:pt x="4446" y="657293"/>
                    <a:pt x="18797" y="714880"/>
                  </a:cubicBezTo>
                  <a:cubicBezTo>
                    <a:pt x="39219" y="796202"/>
                    <a:pt x="83192" y="850845"/>
                    <a:pt x="106742" y="880283"/>
                  </a:cubicBezTo>
                  <a:lnTo>
                    <a:pt x="110053" y="884514"/>
                  </a:lnTo>
                  <a:cubicBezTo>
                    <a:pt x="112261" y="896473"/>
                    <a:pt x="113365" y="907696"/>
                    <a:pt x="114469" y="919655"/>
                  </a:cubicBezTo>
                  <a:cubicBezTo>
                    <a:pt x="117965" y="956452"/>
                    <a:pt x="121644" y="994353"/>
                    <a:pt x="160097" y="1052308"/>
                  </a:cubicBezTo>
                  <a:cubicBezTo>
                    <a:pt x="220260" y="1142645"/>
                    <a:pt x="274536" y="1192321"/>
                    <a:pt x="342058" y="1218630"/>
                  </a:cubicBezTo>
                  <a:cubicBezTo>
                    <a:pt x="376831" y="1232245"/>
                    <a:pt x="420987" y="1234637"/>
                    <a:pt x="456497" y="1236661"/>
                  </a:cubicBezTo>
                  <a:cubicBezTo>
                    <a:pt x="478207" y="1237949"/>
                    <a:pt x="498813" y="1239053"/>
                    <a:pt x="509668" y="1242364"/>
                  </a:cubicBezTo>
                  <a:cubicBezTo>
                    <a:pt x="514452" y="1243836"/>
                    <a:pt x="522363" y="1248068"/>
                    <a:pt x="530642" y="1252668"/>
                  </a:cubicBezTo>
                  <a:cubicBezTo>
                    <a:pt x="553273" y="1265179"/>
                    <a:pt x="585470" y="1282657"/>
                    <a:pt x="624107" y="1282657"/>
                  </a:cubicBezTo>
                  <a:cubicBezTo>
                    <a:pt x="632754" y="1282657"/>
                    <a:pt x="641953" y="1281737"/>
                    <a:pt x="651152" y="1279713"/>
                  </a:cubicBezTo>
                  <a:cubicBezTo>
                    <a:pt x="681142" y="1273090"/>
                    <a:pt x="729714" y="1251012"/>
                    <a:pt x="768351" y="1217343"/>
                  </a:cubicBezTo>
                  <a:cubicBezTo>
                    <a:pt x="780678" y="1218079"/>
                    <a:pt x="796500" y="1218446"/>
                    <a:pt x="813611" y="1212559"/>
                  </a:cubicBezTo>
                  <a:cubicBezTo>
                    <a:pt x="836977" y="1204280"/>
                    <a:pt x="870278" y="1182385"/>
                    <a:pt x="882789" y="1173738"/>
                  </a:cubicBezTo>
                  <a:cubicBezTo>
                    <a:pt x="900636" y="1173738"/>
                    <a:pt x="949944" y="1170426"/>
                    <a:pt x="996860" y="1138597"/>
                  </a:cubicBezTo>
                  <a:cubicBezTo>
                    <a:pt x="1042672" y="1107872"/>
                    <a:pt x="1068246" y="1078986"/>
                    <a:pt x="1076893" y="1068315"/>
                  </a:cubicBezTo>
                  <a:cubicBezTo>
                    <a:pt x="1095292" y="1059852"/>
                    <a:pt x="1162814" y="1025262"/>
                    <a:pt x="1189860" y="965467"/>
                  </a:cubicBezTo>
                  <a:cubicBezTo>
                    <a:pt x="1196851" y="950013"/>
                    <a:pt x="1201267" y="939894"/>
                    <a:pt x="1204394" y="932534"/>
                  </a:cubicBezTo>
                  <a:cubicBezTo>
                    <a:pt x="1211938" y="914872"/>
                    <a:pt x="1211938" y="914872"/>
                    <a:pt x="1229232" y="889666"/>
                  </a:cubicBezTo>
                  <a:lnTo>
                    <a:pt x="1239351" y="874947"/>
                  </a:lnTo>
                  <a:cubicBezTo>
                    <a:pt x="1274309" y="823983"/>
                    <a:pt x="1279092" y="743950"/>
                    <a:pt x="1279644" y="719296"/>
                  </a:cubicBezTo>
                  <a:cubicBezTo>
                    <a:pt x="1289579" y="707337"/>
                    <a:pt x="1309082" y="678267"/>
                    <a:pt x="1313681" y="631167"/>
                  </a:cubicBezTo>
                  <a:cubicBezTo>
                    <a:pt x="1318649" y="578548"/>
                    <a:pt x="1296203" y="522064"/>
                    <a:pt x="1289211" y="506242"/>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pic>
        <p:nvPicPr>
          <p:cNvPr id="6" name="Graphic 5">
            <a:extLst>
              <a:ext uri="{FF2B5EF4-FFF2-40B4-BE49-F238E27FC236}">
                <a16:creationId xmlns:a16="http://schemas.microsoft.com/office/drawing/2014/main" id="{34FDF57F-073C-F503-ED64-8A607371066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5132851" flipH="1">
            <a:off x="7718713" y="1632640"/>
            <a:ext cx="2702583" cy="3005458"/>
          </a:xfrm>
          <a:prstGeom prst="rect">
            <a:avLst/>
          </a:prstGeom>
        </p:spPr>
      </p:pic>
      <p:sp>
        <p:nvSpPr>
          <p:cNvPr id="7" name="Freeform: Shape 137">
            <a:extLst>
              <a:ext uri="{FF2B5EF4-FFF2-40B4-BE49-F238E27FC236}">
                <a16:creationId xmlns:a16="http://schemas.microsoft.com/office/drawing/2014/main" id="{0C41417B-0E8B-E37D-8888-24E8BD169E31}"/>
              </a:ext>
            </a:extLst>
          </p:cNvPr>
          <p:cNvSpPr/>
          <p:nvPr/>
        </p:nvSpPr>
        <p:spPr>
          <a:xfrm rot="1800000" flipH="1">
            <a:off x="10994656" y="5787781"/>
            <a:ext cx="1309415" cy="1421085"/>
          </a:xfrm>
          <a:custGeom>
            <a:avLst/>
            <a:gdLst>
              <a:gd name="connsiteX0" fmla="*/ 725293 w 1307003"/>
              <a:gd name="connsiteY0" fmla="*/ 85508 h 1418468"/>
              <a:gd name="connsiteX1" fmla="*/ 848480 w 1307003"/>
              <a:gd name="connsiteY1" fmla="*/ 216611 h 1418468"/>
              <a:gd name="connsiteX2" fmla="*/ 880142 w 1307003"/>
              <a:gd name="connsiteY2" fmla="*/ 244317 h 1418468"/>
              <a:gd name="connsiteX3" fmla="*/ 1208644 w 1307003"/>
              <a:gd name="connsiteY3" fmla="*/ 549071 h 1418468"/>
              <a:gd name="connsiteX4" fmla="*/ 1252179 w 1307003"/>
              <a:gd name="connsiteY4" fmla="*/ 640101 h 1418468"/>
              <a:gd name="connsiteX5" fmla="*/ 1268010 w 1307003"/>
              <a:gd name="connsiteY5" fmla="*/ 1202113 h 1418468"/>
              <a:gd name="connsiteX6" fmla="*/ 1244264 w 1307003"/>
              <a:gd name="connsiteY6" fmla="*/ 1249606 h 1418468"/>
              <a:gd name="connsiteX7" fmla="*/ 1165107 w 1307003"/>
              <a:gd name="connsiteY7" fmla="*/ 1249606 h 1418468"/>
              <a:gd name="connsiteX8" fmla="*/ 1162138 w 1307003"/>
              <a:gd name="connsiteY8" fmla="*/ 1386647 h 1418468"/>
              <a:gd name="connsiteX9" fmla="*/ 1137707 w 1307003"/>
              <a:gd name="connsiteY9" fmla="*/ 1418468 h 1418468"/>
              <a:gd name="connsiteX10" fmla="*/ 359691 w 1307003"/>
              <a:gd name="connsiteY10" fmla="*/ 969280 h 1418468"/>
              <a:gd name="connsiteX11" fmla="*/ 361668 w 1307003"/>
              <a:gd name="connsiteY11" fmla="*/ 964642 h 1418468"/>
              <a:gd name="connsiteX12" fmla="*/ 346467 w 1307003"/>
              <a:gd name="connsiteY12" fmla="*/ 961645 h 1418468"/>
              <a:gd name="connsiteX13" fmla="*/ 0 w 1307003"/>
              <a:gd name="connsiteY13" fmla="*/ 761612 h 1418468"/>
              <a:gd name="connsiteX14" fmla="*/ 439717 w 1307003"/>
              <a:gd name="connsiteY14" fmla="*/ 0 h 1418468"/>
              <a:gd name="connsiteX15" fmla="*/ 452698 w 1307003"/>
              <a:gd name="connsiteY15" fmla="*/ 6846 h 1418468"/>
              <a:gd name="connsiteX16" fmla="*/ 551643 w 1307003"/>
              <a:gd name="connsiteY16" fmla="*/ 46425 h 1418468"/>
              <a:gd name="connsiteX17" fmla="*/ 725293 w 1307003"/>
              <a:gd name="connsiteY17" fmla="*/ 85508 h 141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7003" h="1418468">
                <a:moveTo>
                  <a:pt x="725293" y="85508"/>
                </a:moveTo>
                <a:cubicBezTo>
                  <a:pt x="776251" y="111729"/>
                  <a:pt x="818797" y="153286"/>
                  <a:pt x="848480" y="216611"/>
                </a:cubicBezTo>
                <a:cubicBezTo>
                  <a:pt x="856397" y="228486"/>
                  <a:pt x="868270" y="236401"/>
                  <a:pt x="880142" y="244317"/>
                </a:cubicBezTo>
                <a:cubicBezTo>
                  <a:pt x="1018666" y="315558"/>
                  <a:pt x="1117613" y="426378"/>
                  <a:pt x="1208644" y="549071"/>
                </a:cubicBezTo>
                <a:cubicBezTo>
                  <a:pt x="1228431" y="576774"/>
                  <a:pt x="1248221" y="608437"/>
                  <a:pt x="1252179" y="640101"/>
                </a:cubicBezTo>
                <a:cubicBezTo>
                  <a:pt x="1271968" y="826118"/>
                  <a:pt x="1355082" y="1012137"/>
                  <a:pt x="1268010" y="1202113"/>
                </a:cubicBezTo>
                <a:cubicBezTo>
                  <a:pt x="1260096" y="1217944"/>
                  <a:pt x="1256137" y="1237734"/>
                  <a:pt x="1244264" y="1249606"/>
                </a:cubicBezTo>
                <a:cubicBezTo>
                  <a:pt x="1220517" y="1281268"/>
                  <a:pt x="1200727" y="1305016"/>
                  <a:pt x="1165107" y="1249606"/>
                </a:cubicBezTo>
                <a:cubicBezTo>
                  <a:pt x="1178959" y="1303037"/>
                  <a:pt x="1176980" y="1347563"/>
                  <a:pt x="1162138" y="1386647"/>
                </a:cubicBezTo>
                <a:lnTo>
                  <a:pt x="1137707" y="1418468"/>
                </a:lnTo>
                <a:lnTo>
                  <a:pt x="359691" y="969280"/>
                </a:lnTo>
                <a:lnTo>
                  <a:pt x="361668" y="964642"/>
                </a:lnTo>
                <a:lnTo>
                  <a:pt x="346467" y="961645"/>
                </a:lnTo>
                <a:lnTo>
                  <a:pt x="0" y="761612"/>
                </a:lnTo>
                <a:lnTo>
                  <a:pt x="439717" y="0"/>
                </a:lnTo>
                <a:lnTo>
                  <a:pt x="452698" y="6846"/>
                </a:lnTo>
                <a:cubicBezTo>
                  <a:pt x="484360" y="34552"/>
                  <a:pt x="516022" y="46425"/>
                  <a:pt x="551643" y="46425"/>
                </a:cubicBezTo>
                <a:cubicBezTo>
                  <a:pt x="614969" y="48404"/>
                  <a:pt x="674336" y="59288"/>
                  <a:pt x="725293" y="85508"/>
                </a:cubicBezTo>
                <a:close/>
              </a:path>
            </a:pathLst>
          </a:custGeom>
          <a:solidFill>
            <a:schemeClr val="accent5">
              <a:alpha val="68000"/>
            </a:schemeClr>
          </a:solidFill>
          <a:ln w="2322" cap="flat">
            <a:noFill/>
            <a:prstDash val="solid"/>
            <a:miter/>
          </a:ln>
        </p:spPr>
        <p:txBody>
          <a:bodyPr rtlCol="0" anchor="ctr"/>
          <a:lstStyle/>
          <a:p>
            <a:pPr marR="0" lvl="0" indent="0" fontAlgn="auto">
              <a:lnSpc>
                <a:spcPct val="100000"/>
              </a:lnSpc>
              <a:spcBef>
                <a:spcPts val="0"/>
              </a:spcBef>
              <a:spcAft>
                <a:spcPts val="0"/>
              </a:spcAft>
              <a:buClrTx/>
              <a:buSzTx/>
              <a:buFontTx/>
              <a:buNone/>
              <a:tabLst/>
            </a:pPr>
            <a:endParaRPr kumimoji="0" lang="en-IN" sz="1799" b="0" i="0" u="none" strike="noStrike" cap="none" spc="0" normalizeH="0" baseline="0" noProof="0">
              <a:ln>
                <a:noFill/>
              </a:ln>
              <a:solidFill>
                <a:srgbClr val="3F000B"/>
              </a:solidFill>
              <a:effectLst/>
              <a:uLnTx/>
              <a:uFillTx/>
              <a:latin typeface="TT Norms Pro" panose="02000503030000020003" pitchFamily="2" charset="0"/>
            </a:endParaRPr>
          </a:p>
        </p:txBody>
      </p:sp>
      <p:sp>
        <p:nvSpPr>
          <p:cNvPr id="8" name="Freeform: Shape 131">
            <a:extLst>
              <a:ext uri="{FF2B5EF4-FFF2-40B4-BE49-F238E27FC236}">
                <a16:creationId xmlns:a16="http://schemas.microsoft.com/office/drawing/2014/main" id="{81A6CC49-775C-84D3-EF5E-E1A9653AC534}"/>
              </a:ext>
            </a:extLst>
          </p:cNvPr>
          <p:cNvSpPr/>
          <p:nvPr/>
        </p:nvSpPr>
        <p:spPr>
          <a:xfrm flipH="1">
            <a:off x="9021330" y="-7871"/>
            <a:ext cx="1541047" cy="781134"/>
          </a:xfrm>
          <a:custGeom>
            <a:avLst/>
            <a:gdLst>
              <a:gd name="connsiteX0" fmla="*/ 11655 w 1538209"/>
              <a:gd name="connsiteY0" fmla="*/ 0 h 779695"/>
              <a:gd name="connsiteX1" fmla="*/ 1492424 w 1538209"/>
              <a:gd name="connsiteY1" fmla="*/ 0 h 779695"/>
              <a:gd name="connsiteX2" fmla="*/ 1474929 w 1538209"/>
              <a:gd name="connsiteY2" fmla="*/ 26748 h 779695"/>
              <a:gd name="connsiteX3" fmla="*/ 1427135 w 1538209"/>
              <a:gd name="connsiteY3" fmla="*/ 77327 h 779695"/>
              <a:gd name="connsiteX4" fmla="*/ 1512809 w 1538209"/>
              <a:gd name="connsiteY4" fmla="*/ 429283 h 779695"/>
              <a:gd name="connsiteX5" fmla="*/ 1052796 w 1538209"/>
              <a:gd name="connsiteY5" fmla="*/ 779695 h 779695"/>
              <a:gd name="connsiteX6" fmla="*/ 1048165 w 1538209"/>
              <a:gd name="connsiteY6" fmla="*/ 779695 h 779695"/>
              <a:gd name="connsiteX7" fmla="*/ 788057 w 1538209"/>
              <a:gd name="connsiteY7" fmla="*/ 575159 h 779695"/>
              <a:gd name="connsiteX8" fmla="*/ 371267 w 1538209"/>
              <a:gd name="connsiteY8" fmla="*/ 765030 h 779695"/>
              <a:gd name="connsiteX9" fmla="*/ 203008 w 1538209"/>
              <a:gd name="connsiteY9" fmla="*/ 708686 h 779695"/>
              <a:gd name="connsiteX10" fmla="*/ 787 w 1538209"/>
              <a:gd name="connsiteY10" fmla="*/ 179981 h 779695"/>
              <a:gd name="connsiteX11" fmla="*/ 5454 w 1538209"/>
              <a:gd name="connsiteY11" fmla="*/ 32658 h 77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38209" h="779695">
                <a:moveTo>
                  <a:pt x="11655" y="0"/>
                </a:moveTo>
                <a:lnTo>
                  <a:pt x="1492424" y="0"/>
                </a:lnTo>
                <a:lnTo>
                  <a:pt x="1474929" y="26748"/>
                </a:lnTo>
                <a:cubicBezTo>
                  <a:pt x="1458925" y="46550"/>
                  <a:pt x="1442379" y="63434"/>
                  <a:pt x="1427135" y="77327"/>
                </a:cubicBezTo>
                <a:cubicBezTo>
                  <a:pt x="1505090" y="141389"/>
                  <a:pt x="1578414" y="261024"/>
                  <a:pt x="1512809" y="429283"/>
                </a:cubicBezTo>
                <a:cubicBezTo>
                  <a:pt x="1418645" y="671638"/>
                  <a:pt x="1281259" y="776608"/>
                  <a:pt x="1052796" y="779695"/>
                </a:cubicBezTo>
                <a:lnTo>
                  <a:pt x="1048165" y="779695"/>
                </a:lnTo>
                <a:cubicBezTo>
                  <a:pt x="904604" y="779695"/>
                  <a:pt x="825105" y="670867"/>
                  <a:pt x="788057" y="575159"/>
                </a:cubicBezTo>
                <a:cubicBezTo>
                  <a:pt x="699296" y="646940"/>
                  <a:pt x="529493" y="765030"/>
                  <a:pt x="371267" y="765030"/>
                </a:cubicBezTo>
                <a:cubicBezTo>
                  <a:pt x="307205" y="765030"/>
                  <a:pt x="250861" y="745734"/>
                  <a:pt x="203008" y="708686"/>
                </a:cubicBezTo>
                <a:cubicBezTo>
                  <a:pt x="64078" y="599086"/>
                  <a:pt x="7734" y="363677"/>
                  <a:pt x="787" y="179981"/>
                </a:cubicBezTo>
                <a:cubicBezTo>
                  <a:pt x="-1143" y="128461"/>
                  <a:pt x="498" y="79064"/>
                  <a:pt x="5454" y="32658"/>
                </a:cubicBezTo>
                <a:close/>
              </a:path>
            </a:pathLst>
          </a:custGeom>
          <a:solidFill>
            <a:schemeClr val="accent5">
              <a:alpha val="68000"/>
            </a:schemeClr>
          </a:solidFill>
          <a:ln w="76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9" name="Freeform 799">
            <a:extLst>
              <a:ext uri="{FF2B5EF4-FFF2-40B4-BE49-F238E27FC236}">
                <a16:creationId xmlns:a16="http://schemas.microsoft.com/office/drawing/2014/main" id="{D51E2119-EFC2-0DF4-0794-888A71798319}"/>
              </a:ext>
            </a:extLst>
          </p:cNvPr>
          <p:cNvSpPr/>
          <p:nvPr/>
        </p:nvSpPr>
        <p:spPr>
          <a:xfrm rot="3306600" flipH="1">
            <a:off x="9314718" y="4552997"/>
            <a:ext cx="1688834" cy="1887411"/>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chemeClr val="accent5">
              <a:alpha val="68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804">
            <a:extLst>
              <a:ext uri="{FF2B5EF4-FFF2-40B4-BE49-F238E27FC236}">
                <a16:creationId xmlns:a16="http://schemas.microsoft.com/office/drawing/2014/main" id="{494F3F2D-203F-D977-47AD-C4318244A040}"/>
              </a:ext>
            </a:extLst>
          </p:cNvPr>
          <p:cNvSpPr/>
          <p:nvPr/>
        </p:nvSpPr>
        <p:spPr>
          <a:xfrm rot="1059384" flipH="1">
            <a:off x="7279782" y="1727095"/>
            <a:ext cx="1038220" cy="481805"/>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solidFill>
            <a:schemeClr val="accent5">
              <a:alpha val="68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1" name="Freeform: Shape 141">
            <a:extLst>
              <a:ext uri="{FF2B5EF4-FFF2-40B4-BE49-F238E27FC236}">
                <a16:creationId xmlns:a16="http://schemas.microsoft.com/office/drawing/2014/main" id="{FD6CBDAA-7F56-7BCB-739D-6A2414A9441B}"/>
              </a:ext>
            </a:extLst>
          </p:cNvPr>
          <p:cNvSpPr/>
          <p:nvPr/>
        </p:nvSpPr>
        <p:spPr>
          <a:xfrm rot="20198272" flipH="1">
            <a:off x="8998964" y="6348763"/>
            <a:ext cx="588142" cy="666282"/>
          </a:xfrm>
          <a:custGeom>
            <a:avLst/>
            <a:gdLst>
              <a:gd name="connsiteX0" fmla="*/ 399962 w 587059"/>
              <a:gd name="connsiteY0" fmla="*/ 0 h 665055"/>
              <a:gd name="connsiteX1" fmla="*/ 535659 w 587059"/>
              <a:gd name="connsiteY1" fmla="*/ 40628 h 665055"/>
              <a:gd name="connsiteX2" fmla="*/ 542856 w 587059"/>
              <a:gd name="connsiteY2" fmla="*/ 28648 h 665055"/>
              <a:gd name="connsiteX3" fmla="*/ 587059 w 587059"/>
              <a:gd name="connsiteY3" fmla="*/ 55230 h 665055"/>
              <a:gd name="connsiteX4" fmla="*/ 297623 w 587059"/>
              <a:gd name="connsiteY4" fmla="*/ 536495 h 665055"/>
              <a:gd name="connsiteX5" fmla="*/ 0 w 587059"/>
              <a:gd name="connsiteY5" fmla="*/ 665055 h 66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7059" h="665055">
                <a:moveTo>
                  <a:pt x="399962" y="0"/>
                </a:moveTo>
                <a:lnTo>
                  <a:pt x="535659" y="40628"/>
                </a:lnTo>
                <a:lnTo>
                  <a:pt x="542856" y="28648"/>
                </a:lnTo>
                <a:lnTo>
                  <a:pt x="587059" y="55230"/>
                </a:lnTo>
                <a:lnTo>
                  <a:pt x="297623" y="536495"/>
                </a:lnTo>
                <a:lnTo>
                  <a:pt x="0" y="665055"/>
                </a:lnTo>
                <a:close/>
              </a:path>
            </a:pathLst>
          </a:custGeom>
          <a:solidFill>
            <a:schemeClr val="accent5">
              <a:alpha val="68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nvGrpSpPr>
          <p:cNvPr id="12" name="Group 11">
            <a:extLst>
              <a:ext uri="{FF2B5EF4-FFF2-40B4-BE49-F238E27FC236}">
                <a16:creationId xmlns:a16="http://schemas.microsoft.com/office/drawing/2014/main" id="{02B7FFB0-A3B6-4965-C8D6-68F609CC0A59}"/>
              </a:ext>
            </a:extLst>
          </p:cNvPr>
          <p:cNvGrpSpPr/>
          <p:nvPr/>
        </p:nvGrpSpPr>
        <p:grpSpPr>
          <a:xfrm rot="13154511" flipH="1">
            <a:off x="9785235" y="1474729"/>
            <a:ext cx="1039358" cy="977946"/>
            <a:chOff x="1099539" y="1183824"/>
            <a:chExt cx="993348" cy="934655"/>
          </a:xfrm>
          <a:solidFill>
            <a:schemeClr val="accent5">
              <a:alpha val="68000"/>
            </a:schemeClr>
          </a:solidFill>
        </p:grpSpPr>
        <p:pic>
          <p:nvPicPr>
            <p:cNvPr id="21" name="Graphic 20">
              <a:extLst>
                <a:ext uri="{FF2B5EF4-FFF2-40B4-BE49-F238E27FC236}">
                  <a16:creationId xmlns:a16="http://schemas.microsoft.com/office/drawing/2014/main" id="{36674755-6DA2-3769-53F2-CFE44933885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642075" y="1435654"/>
              <a:ext cx="426892" cy="474733"/>
            </a:xfrm>
            <a:prstGeom prst="rect">
              <a:avLst/>
            </a:prstGeom>
          </p:spPr>
        </p:pic>
        <p:pic>
          <p:nvPicPr>
            <p:cNvPr id="22" name="Graphic 21">
              <a:extLst>
                <a:ext uri="{FF2B5EF4-FFF2-40B4-BE49-F238E27FC236}">
                  <a16:creationId xmlns:a16="http://schemas.microsoft.com/office/drawing/2014/main" id="{D098390A-7CC8-2FDD-58AD-0FE4CA20301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164161" y="1159903"/>
              <a:ext cx="426892" cy="474733"/>
            </a:xfrm>
            <a:prstGeom prst="rect">
              <a:avLst/>
            </a:prstGeom>
          </p:spPr>
        </p:pic>
        <p:pic>
          <p:nvPicPr>
            <p:cNvPr id="23" name="Graphic 22">
              <a:extLst>
                <a:ext uri="{FF2B5EF4-FFF2-40B4-BE49-F238E27FC236}">
                  <a16:creationId xmlns:a16="http://schemas.microsoft.com/office/drawing/2014/main" id="{B805B314-7083-2EE8-5E1F-330EB43DB02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6467149">
              <a:off x="1123460" y="1667666"/>
              <a:ext cx="426892" cy="474733"/>
            </a:xfrm>
            <a:prstGeom prst="rect">
              <a:avLst/>
            </a:prstGeom>
          </p:spPr>
        </p:pic>
      </p:grpSp>
      <p:sp>
        <p:nvSpPr>
          <p:cNvPr id="13" name="Freeform: Shape 139">
            <a:extLst>
              <a:ext uri="{FF2B5EF4-FFF2-40B4-BE49-F238E27FC236}">
                <a16:creationId xmlns:a16="http://schemas.microsoft.com/office/drawing/2014/main" id="{15975D46-C1F9-8991-BEA0-F28D0CAA4B0E}"/>
              </a:ext>
            </a:extLst>
          </p:cNvPr>
          <p:cNvSpPr/>
          <p:nvPr/>
        </p:nvSpPr>
        <p:spPr>
          <a:xfrm rot="20198272" flipH="1">
            <a:off x="9247192" y="6014083"/>
            <a:ext cx="827824" cy="1064821"/>
          </a:xfrm>
          <a:custGeom>
            <a:avLst/>
            <a:gdLst>
              <a:gd name="connsiteX0" fmla="*/ 639202 w 826299"/>
              <a:gd name="connsiteY0" fmla="*/ 0 h 1062860"/>
              <a:gd name="connsiteX1" fmla="*/ 774899 w 826299"/>
              <a:gd name="connsiteY1" fmla="*/ 40628 h 1062860"/>
              <a:gd name="connsiteX2" fmla="*/ 782096 w 826299"/>
              <a:gd name="connsiteY2" fmla="*/ 28648 h 1062860"/>
              <a:gd name="connsiteX3" fmla="*/ 826299 w 826299"/>
              <a:gd name="connsiteY3" fmla="*/ 55230 h 1062860"/>
              <a:gd name="connsiteX4" fmla="*/ 297618 w 826299"/>
              <a:gd name="connsiteY4" fmla="*/ 934303 h 1062860"/>
              <a:gd name="connsiteX5" fmla="*/ 0 w 826299"/>
              <a:gd name="connsiteY5" fmla="*/ 1062860 h 1062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9" h="1062860">
                <a:moveTo>
                  <a:pt x="639202" y="0"/>
                </a:moveTo>
                <a:lnTo>
                  <a:pt x="774899" y="40628"/>
                </a:lnTo>
                <a:lnTo>
                  <a:pt x="782096" y="28648"/>
                </a:lnTo>
                <a:lnTo>
                  <a:pt x="826299" y="55230"/>
                </a:lnTo>
                <a:lnTo>
                  <a:pt x="297618" y="934303"/>
                </a:lnTo>
                <a:lnTo>
                  <a:pt x="0" y="1062860"/>
                </a:lnTo>
                <a:close/>
              </a:path>
            </a:pathLst>
          </a:custGeom>
          <a:solidFill>
            <a:schemeClr val="accent5">
              <a:alpha val="68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4" name="Freeform: Shape 133">
            <a:extLst>
              <a:ext uri="{FF2B5EF4-FFF2-40B4-BE49-F238E27FC236}">
                <a16:creationId xmlns:a16="http://schemas.microsoft.com/office/drawing/2014/main" id="{AD5BEA61-1CD3-F098-3FDE-1055C3788C0B}"/>
              </a:ext>
            </a:extLst>
          </p:cNvPr>
          <p:cNvSpPr/>
          <p:nvPr/>
        </p:nvSpPr>
        <p:spPr>
          <a:xfrm rot="15072588" flipH="1">
            <a:off x="10798639" y="-226712"/>
            <a:ext cx="1443268" cy="1662971"/>
          </a:xfrm>
          <a:custGeom>
            <a:avLst/>
            <a:gdLst>
              <a:gd name="connsiteX0" fmla="*/ 356742 w 1440610"/>
              <a:gd name="connsiteY0" fmla="*/ 1659908 h 1659908"/>
              <a:gd name="connsiteX1" fmla="*/ 0 w 1440610"/>
              <a:gd name="connsiteY1" fmla="*/ 611396 h 1659908"/>
              <a:gd name="connsiteX2" fmla="*/ 2674 w 1440610"/>
              <a:gd name="connsiteY2" fmla="*/ 610219 h 1659908"/>
              <a:gd name="connsiteX3" fmla="*/ 603020 w 1440610"/>
              <a:gd name="connsiteY3" fmla="*/ 437599 h 1659908"/>
              <a:gd name="connsiteX4" fmla="*/ 1314768 w 1440610"/>
              <a:gd name="connsiteY4" fmla="*/ 13273 h 1659908"/>
              <a:gd name="connsiteX5" fmla="*/ 1353969 w 1440610"/>
              <a:gd name="connsiteY5" fmla="*/ 3836 h 1659908"/>
              <a:gd name="connsiteX6" fmla="*/ 1364597 w 1440610"/>
              <a:gd name="connsiteY6" fmla="*/ 42524 h 1659908"/>
              <a:gd name="connsiteX7" fmla="*/ 1340446 w 1440610"/>
              <a:gd name="connsiteY7" fmla="*/ 870854 h 1659908"/>
              <a:gd name="connsiteX8" fmla="*/ 1414683 w 1440610"/>
              <a:gd name="connsiteY8" fmla="*/ 1173324 h 1659908"/>
              <a:gd name="connsiteX9" fmla="*/ 1440610 w 1440610"/>
              <a:gd name="connsiteY9" fmla="*/ 1291137 h 165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610" h="1659908">
                <a:moveTo>
                  <a:pt x="356742" y="1659908"/>
                </a:moveTo>
                <a:lnTo>
                  <a:pt x="0" y="611396"/>
                </a:lnTo>
                <a:lnTo>
                  <a:pt x="2674" y="610219"/>
                </a:lnTo>
                <a:cubicBezTo>
                  <a:pt x="198679" y="540577"/>
                  <a:pt x="406590" y="496869"/>
                  <a:pt x="603020" y="437599"/>
                </a:cubicBezTo>
                <a:cubicBezTo>
                  <a:pt x="978451" y="324927"/>
                  <a:pt x="1163236" y="172121"/>
                  <a:pt x="1314768" y="13273"/>
                </a:cubicBezTo>
                <a:cubicBezTo>
                  <a:pt x="1323609" y="3836"/>
                  <a:pt x="1338150" y="-5434"/>
                  <a:pt x="1353969" y="3836"/>
                </a:cubicBezTo>
                <a:cubicBezTo>
                  <a:pt x="1369616" y="13017"/>
                  <a:pt x="1368510" y="30194"/>
                  <a:pt x="1364597" y="42524"/>
                </a:cubicBezTo>
                <a:cubicBezTo>
                  <a:pt x="1299630" y="252306"/>
                  <a:pt x="1256263" y="488109"/>
                  <a:pt x="1340446" y="870854"/>
                </a:cubicBezTo>
                <a:cubicBezTo>
                  <a:pt x="1362386" y="971068"/>
                  <a:pt x="1389109" y="1071898"/>
                  <a:pt x="1414683" y="1173324"/>
                </a:cubicBezTo>
                <a:lnTo>
                  <a:pt x="1440610" y="1291137"/>
                </a:lnTo>
                <a:close/>
              </a:path>
            </a:pathLst>
          </a:custGeom>
          <a:solidFill>
            <a:schemeClr val="accent5">
              <a:alpha val="77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5" name="Freeform: Shape 123">
            <a:extLst>
              <a:ext uri="{FF2B5EF4-FFF2-40B4-BE49-F238E27FC236}">
                <a16:creationId xmlns:a16="http://schemas.microsoft.com/office/drawing/2014/main" id="{01655576-3F52-3197-78ED-95FE7F3F7A69}"/>
              </a:ext>
            </a:extLst>
          </p:cNvPr>
          <p:cNvSpPr/>
          <p:nvPr/>
        </p:nvSpPr>
        <p:spPr>
          <a:xfrm rot="7444483" flipH="1">
            <a:off x="11433129" y="4101984"/>
            <a:ext cx="247712" cy="1585642"/>
          </a:xfrm>
          <a:custGeom>
            <a:avLst/>
            <a:gdLst>
              <a:gd name="connsiteX0" fmla="*/ 169695 w 247256"/>
              <a:gd name="connsiteY0" fmla="*/ 1582722 h 1582722"/>
              <a:gd name="connsiteX1" fmla="*/ 21845 w 247256"/>
              <a:gd name="connsiteY1" fmla="*/ 1582722 h 1582722"/>
              <a:gd name="connsiteX2" fmla="*/ 24226 w 247256"/>
              <a:gd name="connsiteY2" fmla="*/ 1566309 h 1582722"/>
              <a:gd name="connsiteX3" fmla="*/ 23046 w 247256"/>
              <a:gd name="connsiteY3" fmla="*/ 1549238 h 1582722"/>
              <a:gd name="connsiteX4" fmla="*/ 18328 w 247256"/>
              <a:gd name="connsiteY4" fmla="*/ 1533480 h 1582722"/>
              <a:gd name="connsiteX5" fmla="*/ 10736 w 247256"/>
              <a:gd name="connsiteY5" fmla="*/ 1504301 h 1582722"/>
              <a:gd name="connsiteX6" fmla="*/ 4771 w 247256"/>
              <a:gd name="connsiteY6" fmla="*/ 1471029 h 1582722"/>
              <a:gd name="connsiteX7" fmla="*/ 1002 w 247256"/>
              <a:gd name="connsiteY7" fmla="*/ 1433039 h 1582722"/>
              <a:gd name="connsiteX8" fmla="*/ 0 w 247256"/>
              <a:gd name="connsiteY8" fmla="*/ 1389705 h 1582722"/>
              <a:gd name="connsiteX9" fmla="*/ 2069 w 247256"/>
              <a:gd name="connsiteY9" fmla="*/ 1346431 h 1582722"/>
              <a:gd name="connsiteX10" fmla="*/ 6769 w 247256"/>
              <a:gd name="connsiteY10" fmla="*/ 1308608 h 1582722"/>
              <a:gd name="connsiteX11" fmla="*/ 13553 w 247256"/>
              <a:gd name="connsiteY11" fmla="*/ 1275580 h 1582722"/>
              <a:gd name="connsiteX12" fmla="*/ 21867 w 247256"/>
              <a:gd name="connsiteY12" fmla="*/ 1246693 h 1582722"/>
              <a:gd name="connsiteX13" fmla="*/ 25808 w 247256"/>
              <a:gd name="connsiteY13" fmla="*/ 1230713 h 1582722"/>
              <a:gd name="connsiteX14" fmla="*/ 27387 w 247256"/>
              <a:gd name="connsiteY14" fmla="*/ 1214192 h 1582722"/>
              <a:gd name="connsiteX15" fmla="*/ 26594 w 247256"/>
              <a:gd name="connsiteY15" fmla="*/ 1197568 h 1582722"/>
              <a:gd name="connsiteX16" fmla="*/ 23426 w 247256"/>
              <a:gd name="connsiteY16" fmla="*/ 1181282 h 1582722"/>
              <a:gd name="connsiteX17" fmla="*/ 16512 w 247256"/>
              <a:gd name="connsiteY17" fmla="*/ 1151787 h 1582722"/>
              <a:gd name="connsiteX18" fmla="*/ 11323 w 247256"/>
              <a:gd name="connsiteY18" fmla="*/ 1118275 h 1582722"/>
              <a:gd name="connsiteX19" fmla="*/ 8442 w 247256"/>
              <a:gd name="connsiteY19" fmla="*/ 1080132 h 1582722"/>
              <a:gd name="connsiteX20" fmla="*/ 8447 w 247256"/>
              <a:gd name="connsiteY20" fmla="*/ 1036742 h 1582722"/>
              <a:gd name="connsiteX21" fmla="*/ 11522 w 247256"/>
              <a:gd name="connsiteY21" fmla="*/ 993526 h 1582722"/>
              <a:gd name="connsiteX22" fmla="*/ 17101 w 247256"/>
              <a:gd name="connsiteY22" fmla="*/ 955865 h 1582722"/>
              <a:gd name="connsiteX23" fmla="*/ 24647 w 247256"/>
              <a:gd name="connsiteY23" fmla="*/ 923079 h 1582722"/>
              <a:gd name="connsiteX24" fmla="*/ 33623 w 247256"/>
              <a:gd name="connsiteY24" fmla="*/ 894494 h 1582722"/>
              <a:gd name="connsiteX25" fmla="*/ 37928 w 247256"/>
              <a:gd name="connsiteY25" fmla="*/ 878654 h 1582722"/>
              <a:gd name="connsiteX26" fmla="*/ 39893 w 247256"/>
              <a:gd name="connsiteY26" fmla="*/ 862181 h 1582722"/>
              <a:gd name="connsiteX27" fmla="*/ 39492 w 247256"/>
              <a:gd name="connsiteY27" fmla="*/ 845518 h 1582722"/>
              <a:gd name="connsiteX28" fmla="*/ 36698 w 247256"/>
              <a:gd name="connsiteY28" fmla="*/ 829111 h 1582722"/>
              <a:gd name="connsiteX29" fmla="*/ 30484 w 247256"/>
              <a:gd name="connsiteY29" fmla="*/ 799328 h 1582722"/>
              <a:gd name="connsiteX30" fmla="*/ 26084 w 247256"/>
              <a:gd name="connsiteY30" fmla="*/ 765587 h 1582722"/>
              <a:gd name="connsiteX31" fmla="*/ 24086 w 247256"/>
              <a:gd name="connsiteY31" fmla="*/ 727294 h 1582722"/>
              <a:gd name="connsiteX32" fmla="*/ 25090 w 247256"/>
              <a:gd name="connsiteY32" fmla="*/ 683863 h 1582722"/>
              <a:gd name="connsiteX33" fmla="*/ 29179 w 247256"/>
              <a:gd name="connsiteY33" fmla="*/ 640742 h 1582722"/>
              <a:gd name="connsiteX34" fmla="*/ 35635 w 247256"/>
              <a:gd name="connsiteY34" fmla="*/ 603271 h 1582722"/>
              <a:gd name="connsiteX35" fmla="*/ 43937 w 247256"/>
              <a:gd name="connsiteY35" fmla="*/ 570758 h 1582722"/>
              <a:gd name="connsiteX36" fmla="*/ 53573 w 247256"/>
              <a:gd name="connsiteY36" fmla="*/ 542515 h 1582722"/>
              <a:gd name="connsiteX37" fmla="*/ 58248 w 247256"/>
              <a:gd name="connsiteY37" fmla="*/ 526827 h 1582722"/>
              <a:gd name="connsiteX38" fmla="*/ 60595 w 247256"/>
              <a:gd name="connsiteY38" fmla="*/ 510411 h 1582722"/>
              <a:gd name="connsiteX39" fmla="*/ 60585 w 247256"/>
              <a:gd name="connsiteY39" fmla="*/ 493714 h 1582722"/>
              <a:gd name="connsiteX40" fmla="*/ 58187 w 247256"/>
              <a:gd name="connsiteY40" fmla="*/ 477185 h 1582722"/>
              <a:gd name="connsiteX41" fmla="*/ 52663 w 247256"/>
              <a:gd name="connsiteY41" fmla="*/ 447126 h 1582722"/>
              <a:gd name="connsiteX42" fmla="*/ 49046 w 247256"/>
              <a:gd name="connsiteY42" fmla="*/ 413180 h 1582722"/>
              <a:gd name="connsiteX43" fmla="*/ 47945 w 247256"/>
              <a:gd name="connsiteY43" fmla="*/ 374782 h 1582722"/>
              <a:gd name="connsiteX44" fmla="*/ 49971 w 247256"/>
              <a:gd name="connsiteY44" fmla="*/ 331364 h 1582722"/>
              <a:gd name="connsiteX45" fmla="*/ 55065 w 247256"/>
              <a:gd name="connsiteY45" fmla="*/ 288346 h 1582722"/>
              <a:gd name="connsiteX46" fmla="*/ 62395 w 247256"/>
              <a:gd name="connsiteY46" fmla="*/ 251086 h 1582722"/>
              <a:gd name="connsiteX47" fmla="*/ 71456 w 247256"/>
              <a:gd name="connsiteY47" fmla="*/ 218866 h 1582722"/>
              <a:gd name="connsiteX48" fmla="*/ 81741 w 247256"/>
              <a:gd name="connsiteY48" fmla="*/ 190971 h 1582722"/>
              <a:gd name="connsiteX49" fmla="*/ 86780 w 247256"/>
              <a:gd name="connsiteY49" fmla="*/ 175446 h 1582722"/>
              <a:gd name="connsiteX50" fmla="*/ 89514 w 247256"/>
              <a:gd name="connsiteY50" fmla="*/ 159106 h 1582722"/>
              <a:gd name="connsiteX51" fmla="*/ 89892 w 247256"/>
              <a:gd name="connsiteY51" fmla="*/ 142394 h 1582722"/>
              <a:gd name="connsiteX52" fmla="*/ 87870 w 247256"/>
              <a:gd name="connsiteY52" fmla="*/ 125749 h 1582722"/>
              <a:gd name="connsiteX53" fmla="*/ 83064 w 247256"/>
              <a:gd name="connsiteY53" fmla="*/ 95451 h 1582722"/>
              <a:gd name="connsiteX54" fmla="*/ 80249 w 247256"/>
              <a:gd name="connsiteY54" fmla="*/ 61325 h 1582722"/>
              <a:gd name="connsiteX55" fmla="*/ 80049 w 247256"/>
              <a:gd name="connsiteY55" fmla="*/ 22837 h 1582722"/>
              <a:gd name="connsiteX56" fmla="*/ 81648 w 247256"/>
              <a:gd name="connsiteY56" fmla="*/ 0 h 1582722"/>
              <a:gd name="connsiteX57" fmla="*/ 247256 w 247256"/>
              <a:gd name="connsiteY57" fmla="*/ 112018 h 1582722"/>
              <a:gd name="connsiteX58" fmla="*/ 239364 w 247256"/>
              <a:gd name="connsiteY58" fmla="*/ 132621 h 1582722"/>
              <a:gd name="connsiteX59" fmla="*/ 234279 w 247256"/>
              <a:gd name="connsiteY59" fmla="*/ 147841 h 1582722"/>
              <a:gd name="connsiteX60" fmla="*/ 231537 w 247256"/>
              <a:gd name="connsiteY60" fmla="*/ 163909 h 1582722"/>
              <a:gd name="connsiteX61" fmla="*/ 231181 w 247256"/>
              <a:gd name="connsiteY61" fmla="*/ 180365 h 1582722"/>
              <a:gd name="connsiteX62" fmla="*/ 233254 w 247256"/>
              <a:gd name="connsiteY62" fmla="*/ 196751 h 1582722"/>
              <a:gd name="connsiteX63" fmla="*/ 238274 w 247256"/>
              <a:gd name="connsiteY63" fmla="*/ 226479 h 1582722"/>
              <a:gd name="connsiteX64" fmla="*/ 241462 w 247256"/>
              <a:gd name="connsiteY64" fmla="*/ 259892 h 1582722"/>
              <a:gd name="connsiteX65" fmla="*/ 242270 w 247256"/>
              <a:gd name="connsiteY65" fmla="*/ 297571 h 1582722"/>
              <a:gd name="connsiteX66" fmla="*/ 240143 w 247256"/>
              <a:gd name="connsiteY66" fmla="*/ 340090 h 1582722"/>
              <a:gd name="connsiteX67" fmla="*/ 235192 w 247256"/>
              <a:gd name="connsiteY67" fmla="*/ 382219 h 1582722"/>
              <a:gd name="connsiteX68" fmla="*/ 228185 w 247256"/>
              <a:gd name="connsiteY68" fmla="*/ 418790 h 1582722"/>
              <a:gd name="connsiteX69" fmla="*/ 219562 w 247256"/>
              <a:gd name="connsiteY69" fmla="*/ 450529 h 1582722"/>
              <a:gd name="connsiteX70" fmla="*/ 209764 w 247256"/>
              <a:gd name="connsiteY70" fmla="*/ 478166 h 1582722"/>
              <a:gd name="connsiteX71" fmla="*/ 205029 w 247256"/>
              <a:gd name="connsiteY71" fmla="*/ 493564 h 1582722"/>
              <a:gd name="connsiteX72" fmla="*/ 202662 w 247256"/>
              <a:gd name="connsiteY72" fmla="*/ 509714 h 1582722"/>
              <a:gd name="connsiteX73" fmla="*/ 202692 w 247256"/>
              <a:gd name="connsiteY73" fmla="*/ 526148 h 1582722"/>
              <a:gd name="connsiteX74" fmla="*/ 205150 w 247256"/>
              <a:gd name="connsiteY74" fmla="*/ 542405 h 1582722"/>
              <a:gd name="connsiteX75" fmla="*/ 210857 w 247256"/>
              <a:gd name="connsiteY75" fmla="*/ 571891 h 1582722"/>
              <a:gd name="connsiteX76" fmla="*/ 214818 w 247256"/>
              <a:gd name="connsiteY76" fmla="*/ 605124 h 1582722"/>
              <a:gd name="connsiteX77" fmla="*/ 216500 w 247256"/>
              <a:gd name="connsiteY77" fmla="*/ 642704 h 1582722"/>
              <a:gd name="connsiteX78" fmla="*/ 215369 w 247256"/>
              <a:gd name="connsiteY78" fmla="*/ 685227 h 1582722"/>
              <a:gd name="connsiteX79" fmla="*/ 211416 w 247256"/>
              <a:gd name="connsiteY79" fmla="*/ 727470 h 1582722"/>
              <a:gd name="connsiteX80" fmla="*/ 205270 w 247256"/>
              <a:gd name="connsiteY80" fmla="*/ 764247 h 1582722"/>
              <a:gd name="connsiteX81" fmla="*/ 197389 w 247256"/>
              <a:gd name="connsiteY81" fmla="*/ 796265 h 1582722"/>
              <a:gd name="connsiteX82" fmla="*/ 188234 w 247256"/>
              <a:gd name="connsiteY82" fmla="*/ 824229 h 1582722"/>
              <a:gd name="connsiteX83" fmla="*/ 183859 w 247256"/>
              <a:gd name="connsiteY83" fmla="*/ 839781 h 1582722"/>
              <a:gd name="connsiteX84" fmla="*/ 181872 w 247256"/>
              <a:gd name="connsiteY84" fmla="*/ 855989 h 1582722"/>
              <a:gd name="connsiteX85" fmla="*/ 182285 w 247256"/>
              <a:gd name="connsiteY85" fmla="*/ 872389 h 1582722"/>
              <a:gd name="connsiteX86" fmla="*/ 185115 w 247256"/>
              <a:gd name="connsiteY86" fmla="*/ 888523 h 1582722"/>
              <a:gd name="connsiteX87" fmla="*/ 191510 w 247256"/>
              <a:gd name="connsiteY87" fmla="*/ 917743 h 1582722"/>
              <a:gd name="connsiteX88" fmla="*/ 196249 w 247256"/>
              <a:gd name="connsiteY88" fmla="*/ 950766 h 1582722"/>
              <a:gd name="connsiteX89" fmla="*/ 198809 w 247256"/>
              <a:gd name="connsiteY89" fmla="*/ 988215 h 1582722"/>
              <a:gd name="connsiteX90" fmla="*/ 198663 w 247256"/>
              <a:gd name="connsiteY90" fmla="*/ 1030716 h 1582722"/>
              <a:gd name="connsiteX91" fmla="*/ 195697 w 247256"/>
              <a:gd name="connsiteY91" fmla="*/ 1073039 h 1582722"/>
              <a:gd name="connsiteX92" fmla="*/ 190407 w 247256"/>
              <a:gd name="connsiteY92" fmla="*/ 1109994 h 1582722"/>
              <a:gd name="connsiteX93" fmla="*/ 183272 w 247256"/>
              <a:gd name="connsiteY93" fmla="*/ 1142265 h 1582722"/>
              <a:gd name="connsiteX94" fmla="*/ 174772 w 247256"/>
              <a:gd name="connsiteY94" fmla="*/ 1170538 h 1582722"/>
              <a:gd name="connsiteX95" fmla="*/ 170768 w 247256"/>
              <a:gd name="connsiteY95" fmla="*/ 1186232 h 1582722"/>
              <a:gd name="connsiteX96" fmla="*/ 169157 w 247256"/>
              <a:gd name="connsiteY96" fmla="*/ 1202493 h 1582722"/>
              <a:gd name="connsiteX97" fmla="*/ 169949 w 247256"/>
              <a:gd name="connsiteY97" fmla="*/ 1218858 h 1582722"/>
              <a:gd name="connsiteX98" fmla="*/ 173150 w 247256"/>
              <a:gd name="connsiteY98" fmla="*/ 1234858 h 1582722"/>
              <a:gd name="connsiteX99" fmla="*/ 180218 w 247256"/>
              <a:gd name="connsiteY99" fmla="*/ 1263780 h 1582722"/>
              <a:gd name="connsiteX100" fmla="*/ 185724 w 247256"/>
              <a:gd name="connsiteY100" fmla="*/ 1296571 h 1582722"/>
              <a:gd name="connsiteX101" fmla="*/ 189156 w 247256"/>
              <a:gd name="connsiteY101" fmla="*/ 1333870 h 1582722"/>
              <a:gd name="connsiteX102" fmla="*/ 190004 w 247256"/>
              <a:gd name="connsiteY102" fmla="*/ 1376317 h 1582722"/>
              <a:gd name="connsiteX103" fmla="*/ 188006 w 247256"/>
              <a:gd name="connsiteY103" fmla="*/ 1418693 h 1582722"/>
              <a:gd name="connsiteX104" fmla="*/ 183576 w 247256"/>
              <a:gd name="connsiteY104" fmla="*/ 1455797 h 1582722"/>
              <a:gd name="connsiteX105" fmla="*/ 177196 w 247256"/>
              <a:gd name="connsiteY105" fmla="*/ 1488302 h 1582722"/>
              <a:gd name="connsiteX106" fmla="*/ 169358 w 247256"/>
              <a:gd name="connsiteY106" fmla="*/ 1516873 h 1582722"/>
              <a:gd name="connsiteX107" fmla="*/ 165712 w 247256"/>
              <a:gd name="connsiteY107" fmla="*/ 1532703 h 1582722"/>
              <a:gd name="connsiteX108" fmla="*/ 164476 w 247256"/>
              <a:gd name="connsiteY108" fmla="*/ 1549000 h 1582722"/>
              <a:gd name="connsiteX109" fmla="*/ 165649 w 247256"/>
              <a:gd name="connsiteY109" fmla="*/ 1565308 h 158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47256" h="1582722">
                <a:moveTo>
                  <a:pt x="169695" y="1582722"/>
                </a:moveTo>
                <a:lnTo>
                  <a:pt x="21845" y="1582722"/>
                </a:lnTo>
                <a:lnTo>
                  <a:pt x="24226" y="1566309"/>
                </a:lnTo>
                <a:lnTo>
                  <a:pt x="23046" y="1549238"/>
                </a:lnTo>
                <a:lnTo>
                  <a:pt x="18328" y="1533480"/>
                </a:lnTo>
                <a:lnTo>
                  <a:pt x="10736" y="1504301"/>
                </a:lnTo>
                <a:lnTo>
                  <a:pt x="4771" y="1471029"/>
                </a:lnTo>
                <a:lnTo>
                  <a:pt x="1002" y="1433039"/>
                </a:lnTo>
                <a:lnTo>
                  <a:pt x="0" y="1389705"/>
                </a:lnTo>
                <a:lnTo>
                  <a:pt x="2069" y="1346431"/>
                </a:lnTo>
                <a:lnTo>
                  <a:pt x="6769" y="1308608"/>
                </a:lnTo>
                <a:lnTo>
                  <a:pt x="13553" y="1275580"/>
                </a:lnTo>
                <a:lnTo>
                  <a:pt x="21867" y="1246693"/>
                </a:lnTo>
                <a:lnTo>
                  <a:pt x="25808" y="1230713"/>
                </a:lnTo>
                <a:lnTo>
                  <a:pt x="27387" y="1214192"/>
                </a:lnTo>
                <a:lnTo>
                  <a:pt x="26594" y="1197568"/>
                </a:lnTo>
                <a:lnTo>
                  <a:pt x="23426" y="1181282"/>
                </a:lnTo>
                <a:lnTo>
                  <a:pt x="16512" y="1151787"/>
                </a:lnTo>
                <a:lnTo>
                  <a:pt x="11323" y="1118275"/>
                </a:lnTo>
                <a:lnTo>
                  <a:pt x="8442" y="1080132"/>
                </a:lnTo>
                <a:lnTo>
                  <a:pt x="8447" y="1036742"/>
                </a:lnTo>
                <a:lnTo>
                  <a:pt x="11522" y="993526"/>
                </a:lnTo>
                <a:lnTo>
                  <a:pt x="17101" y="955865"/>
                </a:lnTo>
                <a:lnTo>
                  <a:pt x="24647" y="923079"/>
                </a:lnTo>
                <a:lnTo>
                  <a:pt x="33623" y="894494"/>
                </a:lnTo>
                <a:lnTo>
                  <a:pt x="37928" y="878654"/>
                </a:lnTo>
                <a:lnTo>
                  <a:pt x="39893" y="862181"/>
                </a:lnTo>
                <a:lnTo>
                  <a:pt x="39492" y="845518"/>
                </a:lnTo>
                <a:lnTo>
                  <a:pt x="36698" y="829111"/>
                </a:lnTo>
                <a:lnTo>
                  <a:pt x="30484" y="799328"/>
                </a:lnTo>
                <a:lnTo>
                  <a:pt x="26084" y="765587"/>
                </a:lnTo>
                <a:lnTo>
                  <a:pt x="24086" y="727294"/>
                </a:lnTo>
                <a:lnTo>
                  <a:pt x="25090" y="683863"/>
                </a:lnTo>
                <a:lnTo>
                  <a:pt x="29179" y="640742"/>
                </a:lnTo>
                <a:lnTo>
                  <a:pt x="35635" y="603271"/>
                </a:lnTo>
                <a:lnTo>
                  <a:pt x="43937" y="570758"/>
                </a:lnTo>
                <a:lnTo>
                  <a:pt x="53573" y="542515"/>
                </a:lnTo>
                <a:lnTo>
                  <a:pt x="58248" y="526827"/>
                </a:lnTo>
                <a:lnTo>
                  <a:pt x="60595" y="510411"/>
                </a:lnTo>
                <a:lnTo>
                  <a:pt x="60585" y="493714"/>
                </a:lnTo>
                <a:lnTo>
                  <a:pt x="58187" y="477185"/>
                </a:lnTo>
                <a:lnTo>
                  <a:pt x="52663" y="447126"/>
                </a:lnTo>
                <a:lnTo>
                  <a:pt x="49046" y="413180"/>
                </a:lnTo>
                <a:lnTo>
                  <a:pt x="47945" y="374782"/>
                </a:lnTo>
                <a:lnTo>
                  <a:pt x="49971" y="331364"/>
                </a:lnTo>
                <a:lnTo>
                  <a:pt x="55065" y="288346"/>
                </a:lnTo>
                <a:lnTo>
                  <a:pt x="62395" y="251086"/>
                </a:lnTo>
                <a:lnTo>
                  <a:pt x="71456" y="218866"/>
                </a:lnTo>
                <a:lnTo>
                  <a:pt x="81741" y="190971"/>
                </a:lnTo>
                <a:lnTo>
                  <a:pt x="86780" y="175446"/>
                </a:lnTo>
                <a:lnTo>
                  <a:pt x="89514" y="159106"/>
                </a:lnTo>
                <a:lnTo>
                  <a:pt x="89892" y="142394"/>
                </a:lnTo>
                <a:lnTo>
                  <a:pt x="87870" y="125749"/>
                </a:lnTo>
                <a:lnTo>
                  <a:pt x="83064" y="95451"/>
                </a:lnTo>
                <a:lnTo>
                  <a:pt x="80249" y="61325"/>
                </a:lnTo>
                <a:lnTo>
                  <a:pt x="80049" y="22837"/>
                </a:lnTo>
                <a:lnTo>
                  <a:pt x="81648" y="0"/>
                </a:lnTo>
                <a:lnTo>
                  <a:pt x="247256" y="112018"/>
                </a:lnTo>
                <a:lnTo>
                  <a:pt x="239364" y="132621"/>
                </a:lnTo>
                <a:lnTo>
                  <a:pt x="234279" y="147841"/>
                </a:lnTo>
                <a:lnTo>
                  <a:pt x="231537" y="163909"/>
                </a:lnTo>
                <a:lnTo>
                  <a:pt x="231181" y="180365"/>
                </a:lnTo>
                <a:lnTo>
                  <a:pt x="233254" y="196751"/>
                </a:lnTo>
                <a:lnTo>
                  <a:pt x="238274" y="226479"/>
                </a:lnTo>
                <a:lnTo>
                  <a:pt x="241462" y="259892"/>
                </a:lnTo>
                <a:lnTo>
                  <a:pt x="242270" y="297571"/>
                </a:lnTo>
                <a:lnTo>
                  <a:pt x="240143" y="340090"/>
                </a:lnTo>
                <a:lnTo>
                  <a:pt x="235192" y="382219"/>
                </a:lnTo>
                <a:lnTo>
                  <a:pt x="228185" y="418790"/>
                </a:lnTo>
                <a:lnTo>
                  <a:pt x="219562" y="450529"/>
                </a:lnTo>
                <a:lnTo>
                  <a:pt x="209764" y="478166"/>
                </a:lnTo>
                <a:lnTo>
                  <a:pt x="205029" y="493564"/>
                </a:lnTo>
                <a:lnTo>
                  <a:pt x="202662" y="509714"/>
                </a:lnTo>
                <a:lnTo>
                  <a:pt x="202692" y="526148"/>
                </a:lnTo>
                <a:lnTo>
                  <a:pt x="205150" y="542405"/>
                </a:lnTo>
                <a:lnTo>
                  <a:pt x="210857" y="571891"/>
                </a:lnTo>
                <a:lnTo>
                  <a:pt x="214818" y="605124"/>
                </a:lnTo>
                <a:lnTo>
                  <a:pt x="216500" y="642704"/>
                </a:lnTo>
                <a:lnTo>
                  <a:pt x="215369" y="685227"/>
                </a:lnTo>
                <a:lnTo>
                  <a:pt x="211416" y="727470"/>
                </a:lnTo>
                <a:lnTo>
                  <a:pt x="205270" y="764247"/>
                </a:lnTo>
                <a:lnTo>
                  <a:pt x="197389" y="796265"/>
                </a:lnTo>
                <a:lnTo>
                  <a:pt x="188234" y="824229"/>
                </a:lnTo>
                <a:lnTo>
                  <a:pt x="183859" y="839781"/>
                </a:lnTo>
                <a:lnTo>
                  <a:pt x="181872" y="855989"/>
                </a:lnTo>
                <a:lnTo>
                  <a:pt x="182285" y="872389"/>
                </a:lnTo>
                <a:lnTo>
                  <a:pt x="185115" y="888523"/>
                </a:lnTo>
                <a:lnTo>
                  <a:pt x="191510" y="917743"/>
                </a:lnTo>
                <a:lnTo>
                  <a:pt x="196249" y="950766"/>
                </a:lnTo>
                <a:lnTo>
                  <a:pt x="198809" y="988215"/>
                </a:lnTo>
                <a:lnTo>
                  <a:pt x="198663" y="1030716"/>
                </a:lnTo>
                <a:lnTo>
                  <a:pt x="195697" y="1073039"/>
                </a:lnTo>
                <a:lnTo>
                  <a:pt x="190407" y="1109994"/>
                </a:lnTo>
                <a:lnTo>
                  <a:pt x="183272" y="1142265"/>
                </a:lnTo>
                <a:lnTo>
                  <a:pt x="174772" y="1170538"/>
                </a:lnTo>
                <a:lnTo>
                  <a:pt x="170768" y="1186232"/>
                </a:lnTo>
                <a:lnTo>
                  <a:pt x="169157" y="1202493"/>
                </a:lnTo>
                <a:lnTo>
                  <a:pt x="169949" y="1218858"/>
                </a:lnTo>
                <a:lnTo>
                  <a:pt x="173150" y="1234858"/>
                </a:lnTo>
                <a:lnTo>
                  <a:pt x="180218" y="1263780"/>
                </a:lnTo>
                <a:lnTo>
                  <a:pt x="185724" y="1296571"/>
                </a:lnTo>
                <a:lnTo>
                  <a:pt x="189156" y="1333870"/>
                </a:lnTo>
                <a:lnTo>
                  <a:pt x="190004" y="1376317"/>
                </a:lnTo>
                <a:lnTo>
                  <a:pt x="188006" y="1418693"/>
                </a:lnTo>
                <a:lnTo>
                  <a:pt x="183576" y="1455797"/>
                </a:lnTo>
                <a:lnTo>
                  <a:pt x="177196" y="1488302"/>
                </a:lnTo>
                <a:lnTo>
                  <a:pt x="169358" y="1516873"/>
                </a:lnTo>
                <a:lnTo>
                  <a:pt x="165712" y="1532703"/>
                </a:lnTo>
                <a:lnTo>
                  <a:pt x="164476" y="1549000"/>
                </a:lnTo>
                <a:lnTo>
                  <a:pt x="165649" y="1565308"/>
                </a:lnTo>
                <a:close/>
              </a:path>
            </a:pathLst>
          </a:custGeom>
          <a:solidFill>
            <a:schemeClr val="accent5">
              <a:alpha val="68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6" name="Freeform: Shape 121">
            <a:extLst>
              <a:ext uri="{FF2B5EF4-FFF2-40B4-BE49-F238E27FC236}">
                <a16:creationId xmlns:a16="http://schemas.microsoft.com/office/drawing/2014/main" id="{A453E4B1-BBDF-54DC-E6D8-9D2FB123DA7F}"/>
              </a:ext>
            </a:extLst>
          </p:cNvPr>
          <p:cNvSpPr/>
          <p:nvPr/>
        </p:nvSpPr>
        <p:spPr>
          <a:xfrm rot="18745647" flipH="1">
            <a:off x="11329869" y="3683190"/>
            <a:ext cx="439901" cy="1604380"/>
          </a:xfrm>
          <a:custGeom>
            <a:avLst/>
            <a:gdLst>
              <a:gd name="connsiteX0" fmla="*/ 253217 w 439091"/>
              <a:gd name="connsiteY0" fmla="*/ 0 h 1601425"/>
              <a:gd name="connsiteX1" fmla="*/ 328532 w 439091"/>
              <a:gd name="connsiteY1" fmla="*/ 28874 h 1601425"/>
              <a:gd name="connsiteX2" fmla="*/ 363819 w 439091"/>
              <a:gd name="connsiteY2" fmla="*/ 23857 h 1601425"/>
              <a:gd name="connsiteX3" fmla="*/ 439091 w 439091"/>
              <a:gd name="connsiteY3" fmla="*/ 52869 h 1601425"/>
              <a:gd name="connsiteX4" fmla="*/ 428218 w 439091"/>
              <a:gd name="connsiteY4" fmla="*/ 93712 h 1601425"/>
              <a:gd name="connsiteX5" fmla="*/ 416105 w 439091"/>
              <a:gd name="connsiteY5" fmla="*/ 128531 h 1601425"/>
              <a:gd name="connsiteX6" fmla="*/ 403088 w 439091"/>
              <a:gd name="connsiteY6" fmla="*/ 158159 h 1601425"/>
              <a:gd name="connsiteX7" fmla="*/ 389499 w 439091"/>
              <a:gd name="connsiteY7" fmla="*/ 183418 h 1601425"/>
              <a:gd name="connsiteX8" fmla="*/ 382658 w 439091"/>
              <a:gd name="connsiteY8" fmla="*/ 197652 h 1601425"/>
              <a:gd name="connsiteX9" fmla="*/ 378033 w 439091"/>
              <a:gd name="connsiteY9" fmla="*/ 213183 h 1601425"/>
              <a:gd name="connsiteX10" fmla="*/ 375724 w 439091"/>
              <a:gd name="connsiteY10" fmla="*/ 229558 h 1601425"/>
              <a:gd name="connsiteX11" fmla="*/ 375827 w 439091"/>
              <a:gd name="connsiteY11" fmla="*/ 246322 h 1601425"/>
              <a:gd name="connsiteX12" fmla="*/ 377247 w 439091"/>
              <a:gd name="connsiteY12" fmla="*/ 277025 h 1601425"/>
              <a:gd name="connsiteX13" fmla="*/ 372737 w 439091"/>
              <a:gd name="connsiteY13" fmla="*/ 348860 h 1601425"/>
              <a:gd name="connsiteX14" fmla="*/ 344455 w 439091"/>
              <a:gd name="connsiteY14" fmla="*/ 467241 h 1601425"/>
              <a:gd name="connsiteX15" fmla="*/ 332168 w 439091"/>
              <a:gd name="connsiteY15" fmla="*/ 497268 h 1601425"/>
              <a:gd name="connsiteX16" fmla="*/ 319200 w 439091"/>
              <a:gd name="connsiteY16" fmla="*/ 522965 h 1601425"/>
              <a:gd name="connsiteX17" fmla="*/ 312696 w 439091"/>
              <a:gd name="connsiteY17" fmla="*/ 537420 h 1601425"/>
              <a:gd name="connsiteX18" fmla="*/ 308444 w 439091"/>
              <a:gd name="connsiteY18" fmla="*/ 553082 h 1601425"/>
              <a:gd name="connsiteX19" fmla="*/ 306531 w 439091"/>
              <a:gd name="connsiteY19" fmla="*/ 569500 h 1601425"/>
              <a:gd name="connsiteX20" fmla="*/ 307044 w 439091"/>
              <a:gd name="connsiteY20" fmla="*/ 586222 h 1601425"/>
              <a:gd name="connsiteX21" fmla="*/ 309199 w 439091"/>
              <a:gd name="connsiteY21" fmla="*/ 616761 h 1601425"/>
              <a:gd name="connsiteX22" fmla="*/ 306422 w 439091"/>
              <a:gd name="connsiteY22" fmla="*/ 688538 h 1601425"/>
              <a:gd name="connsiteX23" fmla="*/ 280972 w 439091"/>
              <a:gd name="connsiteY23" fmla="*/ 807642 h 1601425"/>
              <a:gd name="connsiteX24" fmla="*/ 269405 w 439091"/>
              <a:gd name="connsiteY24" fmla="*/ 838057 h 1601425"/>
              <a:gd name="connsiteX25" fmla="*/ 257052 w 439091"/>
              <a:gd name="connsiteY25" fmla="*/ 864175 h 1601425"/>
              <a:gd name="connsiteX26" fmla="*/ 250906 w 439091"/>
              <a:gd name="connsiteY26" fmla="*/ 878849 h 1601425"/>
              <a:gd name="connsiteX27" fmla="*/ 247031 w 439091"/>
              <a:gd name="connsiteY27" fmla="*/ 894632 h 1601425"/>
              <a:gd name="connsiteX28" fmla="*/ 245507 w 439091"/>
              <a:gd name="connsiteY28" fmla="*/ 911069 h 1601425"/>
              <a:gd name="connsiteX29" fmla="*/ 246412 w 439091"/>
              <a:gd name="connsiteY29" fmla="*/ 927705 h 1601425"/>
              <a:gd name="connsiteX30" fmla="*/ 249297 w 439091"/>
              <a:gd name="connsiteY30" fmla="*/ 958083 h 1601425"/>
              <a:gd name="connsiteX31" fmla="*/ 250098 w 439091"/>
              <a:gd name="connsiteY31" fmla="*/ 991931 h 1601425"/>
              <a:gd name="connsiteX32" fmla="*/ 248232 w 439091"/>
              <a:gd name="connsiteY32" fmla="*/ 1029767 h 1601425"/>
              <a:gd name="connsiteX33" fmla="*/ 243105 w 439091"/>
              <a:gd name="connsiteY33" fmla="*/ 1072107 h 1601425"/>
              <a:gd name="connsiteX34" fmla="*/ 235204 w 439091"/>
              <a:gd name="connsiteY34" fmla="*/ 1113715 h 1601425"/>
              <a:gd name="connsiteX35" fmla="*/ 225635 w 439091"/>
              <a:gd name="connsiteY35" fmla="*/ 1149520 h 1601425"/>
              <a:gd name="connsiteX36" fmla="*/ 214795 w 439091"/>
              <a:gd name="connsiteY36" fmla="*/ 1180300 h 1601425"/>
              <a:gd name="connsiteX37" fmla="*/ 203077 w 439091"/>
              <a:gd name="connsiteY37" fmla="*/ 1206830 h 1601425"/>
              <a:gd name="connsiteX38" fmla="*/ 197273 w 439091"/>
              <a:gd name="connsiteY38" fmla="*/ 1221705 h 1601425"/>
              <a:gd name="connsiteX39" fmla="*/ 193776 w 439091"/>
              <a:gd name="connsiteY39" fmla="*/ 1237594 h 1601425"/>
              <a:gd name="connsiteX40" fmla="*/ 192649 w 439091"/>
              <a:gd name="connsiteY40" fmla="*/ 1254046 h 1601425"/>
              <a:gd name="connsiteX41" fmla="*/ 193955 w 439091"/>
              <a:gd name="connsiteY41" fmla="*/ 1270605 h 1601425"/>
              <a:gd name="connsiteX42" fmla="*/ 197556 w 439091"/>
              <a:gd name="connsiteY42" fmla="*/ 1300791 h 1601425"/>
              <a:gd name="connsiteX43" fmla="*/ 199159 w 439091"/>
              <a:gd name="connsiteY43" fmla="*/ 1334524 h 1601425"/>
              <a:gd name="connsiteX44" fmla="*/ 198185 w 439091"/>
              <a:gd name="connsiteY44" fmla="*/ 1372339 h 1601425"/>
              <a:gd name="connsiteX45" fmla="*/ 194061 w 439091"/>
              <a:gd name="connsiteY45" fmla="*/ 1414762 h 1601425"/>
              <a:gd name="connsiteX46" fmla="*/ 187146 w 439091"/>
              <a:gd name="connsiteY46" fmla="*/ 1456576 h 1601425"/>
              <a:gd name="connsiteX47" fmla="*/ 178429 w 439091"/>
              <a:gd name="connsiteY47" fmla="*/ 1492662 h 1601425"/>
              <a:gd name="connsiteX48" fmla="*/ 168321 w 439091"/>
              <a:gd name="connsiteY48" fmla="*/ 1523780 h 1601425"/>
              <a:gd name="connsiteX49" fmla="*/ 157235 w 439091"/>
              <a:gd name="connsiteY49" fmla="*/ 1550686 h 1601425"/>
              <a:gd name="connsiteX50" fmla="*/ 151790 w 439091"/>
              <a:gd name="connsiteY50" fmla="*/ 1565742 h 1601425"/>
              <a:gd name="connsiteX51" fmla="*/ 148669 w 439091"/>
              <a:gd name="connsiteY51" fmla="*/ 1581731 h 1601425"/>
              <a:gd name="connsiteX52" fmla="*/ 147930 w 439091"/>
              <a:gd name="connsiteY52" fmla="*/ 1598196 h 1601425"/>
              <a:gd name="connsiteX53" fmla="*/ 148263 w 439091"/>
              <a:gd name="connsiteY53" fmla="*/ 1601425 h 1601425"/>
              <a:gd name="connsiteX54" fmla="*/ 0 w 439091"/>
              <a:gd name="connsiteY54" fmla="*/ 1465912 h 1601425"/>
              <a:gd name="connsiteX55" fmla="*/ 579 w 439091"/>
              <a:gd name="connsiteY55" fmla="*/ 1434598 h 1601425"/>
              <a:gd name="connsiteX56" fmla="*/ 4647 w 439091"/>
              <a:gd name="connsiteY56" fmla="*/ 1391260 h 1601425"/>
              <a:gd name="connsiteX57" fmla="*/ 11753 w 439091"/>
              <a:gd name="connsiteY57" fmla="*/ 1348568 h 1601425"/>
              <a:gd name="connsiteX58" fmla="*/ 20820 w 439091"/>
              <a:gd name="connsiteY58" fmla="*/ 1311810 h 1601425"/>
              <a:gd name="connsiteX59" fmla="*/ 31380 w 439091"/>
              <a:gd name="connsiteY59" fmla="*/ 1280230 h 1601425"/>
              <a:gd name="connsiteX60" fmla="*/ 42967 w 439091"/>
              <a:gd name="connsiteY60" fmla="*/ 1253073 h 1601425"/>
              <a:gd name="connsiteX61" fmla="*/ 48740 w 439091"/>
              <a:gd name="connsiteY61" fmla="*/ 1237911 h 1601425"/>
              <a:gd name="connsiteX62" fmla="*/ 52240 w 439091"/>
              <a:gd name="connsiteY62" fmla="*/ 1221756 h 1601425"/>
              <a:gd name="connsiteX63" fmla="*/ 53405 w 439091"/>
              <a:gd name="connsiteY63" fmla="*/ 1205042 h 1601425"/>
              <a:gd name="connsiteX64" fmla="*/ 52174 w 439091"/>
              <a:gd name="connsiteY64" fmla="*/ 1188207 h 1601425"/>
              <a:gd name="connsiteX65" fmla="*/ 48798 w 439091"/>
              <a:gd name="connsiteY65" fmla="*/ 1157476 h 1601425"/>
              <a:gd name="connsiteX66" fmla="*/ 47600 w 439091"/>
              <a:gd name="connsiteY66" fmla="*/ 1123069 h 1601425"/>
              <a:gd name="connsiteX67" fmla="*/ 49226 w 439091"/>
              <a:gd name="connsiteY67" fmla="*/ 1084488 h 1601425"/>
              <a:gd name="connsiteX68" fmla="*/ 54322 w 439091"/>
              <a:gd name="connsiteY68" fmla="*/ 1041243 h 1601425"/>
              <a:gd name="connsiteX69" fmla="*/ 62435 w 439091"/>
              <a:gd name="connsiteY69" fmla="*/ 998763 h 1601425"/>
              <a:gd name="connsiteX70" fmla="*/ 72375 w 439091"/>
              <a:gd name="connsiteY70" fmla="*/ 962297 h 1601425"/>
              <a:gd name="connsiteX71" fmla="*/ 83685 w 439091"/>
              <a:gd name="connsiteY71" fmla="*/ 931072 h 1601425"/>
              <a:gd name="connsiteX72" fmla="*/ 95909 w 439091"/>
              <a:gd name="connsiteY72" fmla="*/ 904312 h 1601425"/>
              <a:gd name="connsiteX73" fmla="*/ 102035 w 439091"/>
              <a:gd name="connsiteY73" fmla="*/ 889348 h 1601425"/>
              <a:gd name="connsiteX74" fmla="*/ 105918 w 439091"/>
              <a:gd name="connsiteY74" fmla="*/ 873300 h 1601425"/>
              <a:gd name="connsiteX75" fmla="*/ 107484 w 439091"/>
              <a:gd name="connsiteY75" fmla="*/ 856600 h 1601425"/>
              <a:gd name="connsiteX76" fmla="*/ 106653 w 439091"/>
              <a:gd name="connsiteY76" fmla="*/ 839691 h 1601425"/>
              <a:gd name="connsiteX77" fmla="*/ 104010 w 439091"/>
              <a:gd name="connsiteY77" fmla="*/ 808769 h 1601425"/>
              <a:gd name="connsiteX78" fmla="*/ 103630 w 439091"/>
              <a:gd name="connsiteY78" fmla="*/ 774252 h 1601425"/>
              <a:gd name="connsiteX79" fmla="*/ 106173 w 439091"/>
              <a:gd name="connsiteY79" fmla="*/ 735665 h 1601425"/>
              <a:gd name="connsiteX80" fmla="*/ 112300 w 439091"/>
              <a:gd name="connsiteY80" fmla="*/ 692535 h 1601425"/>
              <a:gd name="connsiteX81" fmla="*/ 121421 w 439091"/>
              <a:gd name="connsiteY81" fmla="*/ 650285 h 1601425"/>
              <a:gd name="connsiteX82" fmla="*/ 132225 w 439091"/>
              <a:gd name="connsiteY82" fmla="*/ 614135 h 1601425"/>
              <a:gd name="connsiteX83" fmla="*/ 144273 w 439091"/>
              <a:gd name="connsiteY83" fmla="*/ 583283 h 1601425"/>
              <a:gd name="connsiteX84" fmla="*/ 157129 w 439091"/>
              <a:gd name="connsiteY84" fmla="*/ 556940 h 1601425"/>
              <a:gd name="connsiteX85" fmla="*/ 163617 w 439091"/>
              <a:gd name="connsiteY85" fmla="*/ 542180 h 1601425"/>
              <a:gd name="connsiteX86" fmla="*/ 167887 w 439091"/>
              <a:gd name="connsiteY86" fmla="*/ 526252 h 1601425"/>
              <a:gd name="connsiteX87" fmla="*/ 169854 w 439091"/>
              <a:gd name="connsiteY87" fmla="*/ 509585 h 1601425"/>
              <a:gd name="connsiteX88" fmla="*/ 169433 w 439091"/>
              <a:gd name="connsiteY88" fmla="*/ 492617 h 1601425"/>
              <a:gd name="connsiteX89" fmla="*/ 167527 w 439091"/>
              <a:gd name="connsiteY89" fmla="*/ 461538 h 1601425"/>
              <a:gd name="connsiteX90" fmla="*/ 167971 w 439091"/>
              <a:gd name="connsiteY90" fmla="*/ 426934 h 1601425"/>
              <a:gd name="connsiteX91" fmla="*/ 178598 w 439091"/>
              <a:gd name="connsiteY91" fmla="*/ 345380 h 1601425"/>
              <a:gd name="connsiteX92" fmla="*/ 200400 w 439091"/>
              <a:gd name="connsiteY92" fmla="*/ 267570 h 1601425"/>
              <a:gd name="connsiteX93" fmla="*/ 213186 w 439091"/>
              <a:gd name="connsiteY93" fmla="*/ 237122 h 1601425"/>
              <a:gd name="connsiteX94" fmla="*/ 226672 w 439091"/>
              <a:gd name="connsiteY94" fmla="*/ 211230 h 1601425"/>
              <a:gd name="connsiteX95" fmla="*/ 233510 w 439091"/>
              <a:gd name="connsiteY95" fmla="*/ 196691 h 1601425"/>
              <a:gd name="connsiteX96" fmla="*/ 238160 w 439091"/>
              <a:gd name="connsiteY96" fmla="*/ 180887 h 1601425"/>
              <a:gd name="connsiteX97" fmla="*/ 240525 w 439091"/>
              <a:gd name="connsiteY97" fmla="*/ 164248 h 1601425"/>
              <a:gd name="connsiteX98" fmla="*/ 240513 w 439091"/>
              <a:gd name="connsiteY98" fmla="*/ 147210 h 1601425"/>
              <a:gd name="connsiteX99" fmla="*/ 239364 w 439091"/>
              <a:gd name="connsiteY99" fmla="*/ 115997 h 1601425"/>
              <a:gd name="connsiteX100" fmla="*/ 240639 w 439091"/>
              <a:gd name="connsiteY100" fmla="*/ 81344 h 1601425"/>
              <a:gd name="connsiteX101" fmla="*/ 245029 w 439091"/>
              <a:gd name="connsiteY101" fmla="*/ 42821 h 160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39091" h="1601425">
                <a:moveTo>
                  <a:pt x="253217" y="0"/>
                </a:moveTo>
                <a:lnTo>
                  <a:pt x="328532" y="28874"/>
                </a:lnTo>
                <a:lnTo>
                  <a:pt x="363819" y="23857"/>
                </a:lnTo>
                <a:lnTo>
                  <a:pt x="439091" y="52869"/>
                </a:lnTo>
                <a:lnTo>
                  <a:pt x="428218" y="93712"/>
                </a:lnTo>
                <a:lnTo>
                  <a:pt x="416105" y="128531"/>
                </a:lnTo>
                <a:lnTo>
                  <a:pt x="403088" y="158159"/>
                </a:lnTo>
                <a:lnTo>
                  <a:pt x="389499" y="183418"/>
                </a:lnTo>
                <a:lnTo>
                  <a:pt x="382658" y="197652"/>
                </a:lnTo>
                <a:lnTo>
                  <a:pt x="378033" y="213183"/>
                </a:lnTo>
                <a:lnTo>
                  <a:pt x="375724" y="229558"/>
                </a:lnTo>
                <a:lnTo>
                  <a:pt x="375827" y="246322"/>
                </a:lnTo>
                <a:lnTo>
                  <a:pt x="377247" y="277025"/>
                </a:lnTo>
                <a:lnTo>
                  <a:pt x="372737" y="348860"/>
                </a:lnTo>
                <a:lnTo>
                  <a:pt x="344455" y="467241"/>
                </a:lnTo>
                <a:lnTo>
                  <a:pt x="332168" y="497268"/>
                </a:lnTo>
                <a:lnTo>
                  <a:pt x="319200" y="522965"/>
                </a:lnTo>
                <a:lnTo>
                  <a:pt x="312696" y="537420"/>
                </a:lnTo>
                <a:lnTo>
                  <a:pt x="308444" y="553082"/>
                </a:lnTo>
                <a:lnTo>
                  <a:pt x="306531" y="569500"/>
                </a:lnTo>
                <a:lnTo>
                  <a:pt x="307044" y="586222"/>
                </a:lnTo>
                <a:lnTo>
                  <a:pt x="309199" y="616761"/>
                </a:lnTo>
                <a:lnTo>
                  <a:pt x="306422" y="688538"/>
                </a:lnTo>
                <a:lnTo>
                  <a:pt x="280972" y="807642"/>
                </a:lnTo>
                <a:lnTo>
                  <a:pt x="269405" y="838057"/>
                </a:lnTo>
                <a:lnTo>
                  <a:pt x="257052" y="864175"/>
                </a:lnTo>
                <a:lnTo>
                  <a:pt x="250906" y="878849"/>
                </a:lnTo>
                <a:lnTo>
                  <a:pt x="247031" y="894632"/>
                </a:lnTo>
                <a:lnTo>
                  <a:pt x="245507" y="911069"/>
                </a:lnTo>
                <a:lnTo>
                  <a:pt x="246412" y="927705"/>
                </a:lnTo>
                <a:lnTo>
                  <a:pt x="249297" y="958083"/>
                </a:lnTo>
                <a:lnTo>
                  <a:pt x="250098" y="991931"/>
                </a:lnTo>
                <a:lnTo>
                  <a:pt x="248232" y="1029767"/>
                </a:lnTo>
                <a:lnTo>
                  <a:pt x="243105" y="1072107"/>
                </a:lnTo>
                <a:lnTo>
                  <a:pt x="235204" y="1113715"/>
                </a:lnTo>
                <a:lnTo>
                  <a:pt x="225635" y="1149520"/>
                </a:lnTo>
                <a:lnTo>
                  <a:pt x="214795" y="1180300"/>
                </a:lnTo>
                <a:lnTo>
                  <a:pt x="203077" y="1206830"/>
                </a:lnTo>
                <a:lnTo>
                  <a:pt x="197273" y="1221705"/>
                </a:lnTo>
                <a:lnTo>
                  <a:pt x="193776" y="1237594"/>
                </a:lnTo>
                <a:lnTo>
                  <a:pt x="192649" y="1254046"/>
                </a:lnTo>
                <a:lnTo>
                  <a:pt x="193955" y="1270605"/>
                </a:lnTo>
                <a:lnTo>
                  <a:pt x="197556" y="1300791"/>
                </a:lnTo>
                <a:lnTo>
                  <a:pt x="199159" y="1334524"/>
                </a:lnTo>
                <a:lnTo>
                  <a:pt x="198185" y="1372339"/>
                </a:lnTo>
                <a:lnTo>
                  <a:pt x="194061" y="1414762"/>
                </a:lnTo>
                <a:lnTo>
                  <a:pt x="187146" y="1456576"/>
                </a:lnTo>
                <a:lnTo>
                  <a:pt x="178429" y="1492662"/>
                </a:lnTo>
                <a:lnTo>
                  <a:pt x="168321" y="1523780"/>
                </a:lnTo>
                <a:lnTo>
                  <a:pt x="157235" y="1550686"/>
                </a:lnTo>
                <a:lnTo>
                  <a:pt x="151790" y="1565742"/>
                </a:lnTo>
                <a:lnTo>
                  <a:pt x="148669" y="1581731"/>
                </a:lnTo>
                <a:lnTo>
                  <a:pt x="147930" y="1598196"/>
                </a:lnTo>
                <a:lnTo>
                  <a:pt x="148263" y="1601425"/>
                </a:lnTo>
                <a:lnTo>
                  <a:pt x="0" y="1465912"/>
                </a:lnTo>
                <a:lnTo>
                  <a:pt x="579" y="1434598"/>
                </a:lnTo>
                <a:lnTo>
                  <a:pt x="4647" y="1391260"/>
                </a:lnTo>
                <a:lnTo>
                  <a:pt x="11753" y="1348568"/>
                </a:lnTo>
                <a:lnTo>
                  <a:pt x="20820" y="1311810"/>
                </a:lnTo>
                <a:lnTo>
                  <a:pt x="31380" y="1280230"/>
                </a:lnTo>
                <a:lnTo>
                  <a:pt x="42967" y="1253073"/>
                </a:lnTo>
                <a:lnTo>
                  <a:pt x="48740" y="1237911"/>
                </a:lnTo>
                <a:lnTo>
                  <a:pt x="52240" y="1221756"/>
                </a:lnTo>
                <a:lnTo>
                  <a:pt x="53405" y="1205042"/>
                </a:lnTo>
                <a:lnTo>
                  <a:pt x="52174" y="1188207"/>
                </a:lnTo>
                <a:lnTo>
                  <a:pt x="48798" y="1157476"/>
                </a:lnTo>
                <a:lnTo>
                  <a:pt x="47600" y="1123069"/>
                </a:lnTo>
                <a:lnTo>
                  <a:pt x="49226" y="1084488"/>
                </a:lnTo>
                <a:lnTo>
                  <a:pt x="54322" y="1041243"/>
                </a:lnTo>
                <a:lnTo>
                  <a:pt x="62435" y="998763"/>
                </a:lnTo>
                <a:lnTo>
                  <a:pt x="72375" y="962297"/>
                </a:lnTo>
                <a:lnTo>
                  <a:pt x="83685" y="931072"/>
                </a:lnTo>
                <a:lnTo>
                  <a:pt x="95909" y="904312"/>
                </a:lnTo>
                <a:lnTo>
                  <a:pt x="102035" y="889348"/>
                </a:lnTo>
                <a:lnTo>
                  <a:pt x="105918" y="873300"/>
                </a:lnTo>
                <a:lnTo>
                  <a:pt x="107484" y="856600"/>
                </a:lnTo>
                <a:lnTo>
                  <a:pt x="106653" y="839691"/>
                </a:lnTo>
                <a:lnTo>
                  <a:pt x="104010" y="808769"/>
                </a:lnTo>
                <a:lnTo>
                  <a:pt x="103630" y="774252"/>
                </a:lnTo>
                <a:lnTo>
                  <a:pt x="106173" y="735665"/>
                </a:lnTo>
                <a:lnTo>
                  <a:pt x="112300" y="692535"/>
                </a:lnTo>
                <a:lnTo>
                  <a:pt x="121421" y="650285"/>
                </a:lnTo>
                <a:lnTo>
                  <a:pt x="132225" y="614135"/>
                </a:lnTo>
                <a:lnTo>
                  <a:pt x="144273" y="583283"/>
                </a:lnTo>
                <a:lnTo>
                  <a:pt x="157129" y="556940"/>
                </a:lnTo>
                <a:lnTo>
                  <a:pt x="163617" y="542180"/>
                </a:lnTo>
                <a:lnTo>
                  <a:pt x="167887" y="526252"/>
                </a:lnTo>
                <a:lnTo>
                  <a:pt x="169854" y="509585"/>
                </a:lnTo>
                <a:lnTo>
                  <a:pt x="169433" y="492617"/>
                </a:lnTo>
                <a:lnTo>
                  <a:pt x="167527" y="461538"/>
                </a:lnTo>
                <a:lnTo>
                  <a:pt x="167971" y="426934"/>
                </a:lnTo>
                <a:lnTo>
                  <a:pt x="178598" y="345380"/>
                </a:lnTo>
                <a:lnTo>
                  <a:pt x="200400" y="267570"/>
                </a:lnTo>
                <a:lnTo>
                  <a:pt x="213186" y="237122"/>
                </a:lnTo>
                <a:lnTo>
                  <a:pt x="226672" y="211230"/>
                </a:lnTo>
                <a:lnTo>
                  <a:pt x="233510" y="196691"/>
                </a:lnTo>
                <a:lnTo>
                  <a:pt x="238160" y="180887"/>
                </a:lnTo>
                <a:lnTo>
                  <a:pt x="240525" y="164248"/>
                </a:lnTo>
                <a:lnTo>
                  <a:pt x="240513" y="147210"/>
                </a:lnTo>
                <a:lnTo>
                  <a:pt x="239364" y="115997"/>
                </a:lnTo>
                <a:lnTo>
                  <a:pt x="240639" y="81344"/>
                </a:lnTo>
                <a:lnTo>
                  <a:pt x="245029" y="42821"/>
                </a:lnTo>
                <a:close/>
              </a:path>
            </a:pathLst>
          </a:custGeom>
          <a:solidFill>
            <a:schemeClr val="accent5">
              <a:alpha val="68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7" name="Freeform: Shape 119">
            <a:extLst>
              <a:ext uri="{FF2B5EF4-FFF2-40B4-BE49-F238E27FC236}">
                <a16:creationId xmlns:a16="http://schemas.microsoft.com/office/drawing/2014/main" id="{96F430D1-BA5F-3FE3-7492-937205C9FE44}"/>
              </a:ext>
            </a:extLst>
          </p:cNvPr>
          <p:cNvSpPr/>
          <p:nvPr/>
        </p:nvSpPr>
        <p:spPr>
          <a:xfrm rot="18383521">
            <a:off x="11360011" y="3018771"/>
            <a:ext cx="479765" cy="1819821"/>
          </a:xfrm>
          <a:custGeom>
            <a:avLst/>
            <a:gdLst>
              <a:gd name="connsiteX0" fmla="*/ 478881 w 478881"/>
              <a:gd name="connsiteY0" fmla="*/ 52869 h 1816469"/>
              <a:gd name="connsiteX1" fmla="*/ 403609 w 478881"/>
              <a:gd name="connsiteY1" fmla="*/ 23857 h 1816469"/>
              <a:gd name="connsiteX2" fmla="*/ 368322 w 478881"/>
              <a:gd name="connsiteY2" fmla="*/ 28875 h 1816469"/>
              <a:gd name="connsiteX3" fmla="*/ 293006 w 478881"/>
              <a:gd name="connsiteY3" fmla="*/ 0 h 1816469"/>
              <a:gd name="connsiteX4" fmla="*/ 284819 w 478881"/>
              <a:gd name="connsiteY4" fmla="*/ 42821 h 1816469"/>
              <a:gd name="connsiteX5" fmla="*/ 280429 w 478881"/>
              <a:gd name="connsiteY5" fmla="*/ 81344 h 1816469"/>
              <a:gd name="connsiteX6" fmla="*/ 279154 w 478881"/>
              <a:gd name="connsiteY6" fmla="*/ 115998 h 1816469"/>
              <a:gd name="connsiteX7" fmla="*/ 280303 w 478881"/>
              <a:gd name="connsiteY7" fmla="*/ 147210 h 1816469"/>
              <a:gd name="connsiteX8" fmla="*/ 280315 w 478881"/>
              <a:gd name="connsiteY8" fmla="*/ 164248 h 1816469"/>
              <a:gd name="connsiteX9" fmla="*/ 277949 w 478881"/>
              <a:gd name="connsiteY9" fmla="*/ 180887 h 1816469"/>
              <a:gd name="connsiteX10" fmla="*/ 273300 w 478881"/>
              <a:gd name="connsiteY10" fmla="*/ 196691 h 1816469"/>
              <a:gd name="connsiteX11" fmla="*/ 266462 w 478881"/>
              <a:gd name="connsiteY11" fmla="*/ 211230 h 1816469"/>
              <a:gd name="connsiteX12" fmla="*/ 252976 w 478881"/>
              <a:gd name="connsiteY12" fmla="*/ 237122 h 1816469"/>
              <a:gd name="connsiteX13" fmla="*/ 240190 w 478881"/>
              <a:gd name="connsiteY13" fmla="*/ 267570 h 1816469"/>
              <a:gd name="connsiteX14" fmla="*/ 218388 w 478881"/>
              <a:gd name="connsiteY14" fmla="*/ 345380 h 1816469"/>
              <a:gd name="connsiteX15" fmla="*/ 207761 w 478881"/>
              <a:gd name="connsiteY15" fmla="*/ 426934 h 1816469"/>
              <a:gd name="connsiteX16" fmla="*/ 207317 w 478881"/>
              <a:gd name="connsiteY16" fmla="*/ 461539 h 1816469"/>
              <a:gd name="connsiteX17" fmla="*/ 209223 w 478881"/>
              <a:gd name="connsiteY17" fmla="*/ 492618 h 1816469"/>
              <a:gd name="connsiteX18" fmla="*/ 209644 w 478881"/>
              <a:gd name="connsiteY18" fmla="*/ 509585 h 1816469"/>
              <a:gd name="connsiteX19" fmla="*/ 207677 w 478881"/>
              <a:gd name="connsiteY19" fmla="*/ 526252 h 1816469"/>
              <a:gd name="connsiteX20" fmla="*/ 203407 w 478881"/>
              <a:gd name="connsiteY20" fmla="*/ 542180 h 1816469"/>
              <a:gd name="connsiteX21" fmla="*/ 196919 w 478881"/>
              <a:gd name="connsiteY21" fmla="*/ 556940 h 1816469"/>
              <a:gd name="connsiteX22" fmla="*/ 184063 w 478881"/>
              <a:gd name="connsiteY22" fmla="*/ 583283 h 1816469"/>
              <a:gd name="connsiteX23" fmla="*/ 172015 w 478881"/>
              <a:gd name="connsiteY23" fmla="*/ 614135 h 1816469"/>
              <a:gd name="connsiteX24" fmla="*/ 161211 w 478881"/>
              <a:gd name="connsiteY24" fmla="*/ 650285 h 1816469"/>
              <a:gd name="connsiteX25" fmla="*/ 152089 w 478881"/>
              <a:gd name="connsiteY25" fmla="*/ 692535 h 1816469"/>
              <a:gd name="connsiteX26" fmla="*/ 145964 w 478881"/>
              <a:gd name="connsiteY26" fmla="*/ 735665 h 1816469"/>
              <a:gd name="connsiteX27" fmla="*/ 143420 w 478881"/>
              <a:gd name="connsiteY27" fmla="*/ 774253 h 1816469"/>
              <a:gd name="connsiteX28" fmla="*/ 143800 w 478881"/>
              <a:gd name="connsiteY28" fmla="*/ 808769 h 1816469"/>
              <a:gd name="connsiteX29" fmla="*/ 146443 w 478881"/>
              <a:gd name="connsiteY29" fmla="*/ 839691 h 1816469"/>
              <a:gd name="connsiteX30" fmla="*/ 147274 w 478881"/>
              <a:gd name="connsiteY30" fmla="*/ 856601 h 1816469"/>
              <a:gd name="connsiteX31" fmla="*/ 145708 w 478881"/>
              <a:gd name="connsiteY31" fmla="*/ 873300 h 1816469"/>
              <a:gd name="connsiteX32" fmla="*/ 141825 w 478881"/>
              <a:gd name="connsiteY32" fmla="*/ 889348 h 1816469"/>
              <a:gd name="connsiteX33" fmla="*/ 135699 w 478881"/>
              <a:gd name="connsiteY33" fmla="*/ 904312 h 1816469"/>
              <a:gd name="connsiteX34" fmla="*/ 123475 w 478881"/>
              <a:gd name="connsiteY34" fmla="*/ 931072 h 1816469"/>
              <a:gd name="connsiteX35" fmla="*/ 112165 w 478881"/>
              <a:gd name="connsiteY35" fmla="*/ 962297 h 1816469"/>
              <a:gd name="connsiteX36" fmla="*/ 102225 w 478881"/>
              <a:gd name="connsiteY36" fmla="*/ 998763 h 1816469"/>
              <a:gd name="connsiteX37" fmla="*/ 94112 w 478881"/>
              <a:gd name="connsiteY37" fmla="*/ 1041243 h 1816469"/>
              <a:gd name="connsiteX38" fmla="*/ 89016 w 478881"/>
              <a:gd name="connsiteY38" fmla="*/ 1084489 h 1816469"/>
              <a:gd name="connsiteX39" fmla="*/ 87390 w 478881"/>
              <a:gd name="connsiteY39" fmla="*/ 1123069 h 1816469"/>
              <a:gd name="connsiteX40" fmla="*/ 88588 w 478881"/>
              <a:gd name="connsiteY40" fmla="*/ 1157476 h 1816469"/>
              <a:gd name="connsiteX41" fmla="*/ 91964 w 478881"/>
              <a:gd name="connsiteY41" fmla="*/ 1188208 h 1816469"/>
              <a:gd name="connsiteX42" fmla="*/ 93195 w 478881"/>
              <a:gd name="connsiteY42" fmla="*/ 1205042 h 1816469"/>
              <a:gd name="connsiteX43" fmla="*/ 92030 w 478881"/>
              <a:gd name="connsiteY43" fmla="*/ 1221756 h 1816469"/>
              <a:gd name="connsiteX44" fmla="*/ 88530 w 478881"/>
              <a:gd name="connsiteY44" fmla="*/ 1237912 h 1816469"/>
              <a:gd name="connsiteX45" fmla="*/ 82757 w 478881"/>
              <a:gd name="connsiteY45" fmla="*/ 1253074 h 1816469"/>
              <a:gd name="connsiteX46" fmla="*/ 71170 w 478881"/>
              <a:gd name="connsiteY46" fmla="*/ 1280231 h 1816469"/>
              <a:gd name="connsiteX47" fmla="*/ 60610 w 478881"/>
              <a:gd name="connsiteY47" fmla="*/ 1311810 h 1816469"/>
              <a:gd name="connsiteX48" fmla="*/ 51543 w 478881"/>
              <a:gd name="connsiteY48" fmla="*/ 1348568 h 1816469"/>
              <a:gd name="connsiteX49" fmla="*/ 44437 w 478881"/>
              <a:gd name="connsiteY49" fmla="*/ 1391260 h 1816469"/>
              <a:gd name="connsiteX50" fmla="*/ 40369 w 478881"/>
              <a:gd name="connsiteY50" fmla="*/ 1434598 h 1816469"/>
              <a:gd name="connsiteX51" fmla="*/ 39656 w 478881"/>
              <a:gd name="connsiteY51" fmla="*/ 1473145 h 1816469"/>
              <a:gd name="connsiteX52" fmla="*/ 41667 w 478881"/>
              <a:gd name="connsiteY52" fmla="*/ 1507421 h 1816469"/>
              <a:gd name="connsiteX53" fmla="*/ 45764 w 478881"/>
              <a:gd name="connsiteY53" fmla="*/ 1537953 h 1816469"/>
              <a:gd name="connsiteX54" fmla="*/ 47391 w 478881"/>
              <a:gd name="connsiteY54" fmla="*/ 1554695 h 1816469"/>
              <a:gd name="connsiteX55" fmla="*/ 46622 w 478881"/>
              <a:gd name="connsiteY55" fmla="*/ 1571411 h 1816469"/>
              <a:gd name="connsiteX56" fmla="*/ 43506 w 478881"/>
              <a:gd name="connsiteY56" fmla="*/ 1587665 h 1816469"/>
              <a:gd name="connsiteX57" fmla="*/ 38095 w 478881"/>
              <a:gd name="connsiteY57" fmla="*/ 1603010 h 1816469"/>
              <a:gd name="connsiteX58" fmla="*/ 27152 w 478881"/>
              <a:gd name="connsiteY58" fmla="*/ 1630555 h 1816469"/>
              <a:gd name="connsiteX59" fmla="*/ 17336 w 478881"/>
              <a:gd name="connsiteY59" fmla="*/ 1662471 h 1816469"/>
              <a:gd name="connsiteX60" fmla="*/ 9137 w 478881"/>
              <a:gd name="connsiteY60" fmla="*/ 1699489 h 1816469"/>
              <a:gd name="connsiteX61" fmla="*/ 3039 w 478881"/>
              <a:gd name="connsiteY61" fmla="*/ 1742340 h 1816469"/>
              <a:gd name="connsiteX62" fmla="*/ 0 w 478881"/>
              <a:gd name="connsiteY62" fmla="*/ 1785739 h 1816469"/>
              <a:gd name="connsiteX63" fmla="*/ 160 w 478881"/>
              <a:gd name="connsiteY63" fmla="*/ 1816469 h 1816469"/>
              <a:gd name="connsiteX64" fmla="*/ 195710 w 478881"/>
              <a:gd name="connsiteY64" fmla="*/ 1672340 h 1816469"/>
              <a:gd name="connsiteX65" fmla="*/ 193734 w 478881"/>
              <a:gd name="connsiteY65" fmla="*/ 1644645 h 1816469"/>
              <a:gd name="connsiteX66" fmla="*/ 189420 w 478881"/>
              <a:gd name="connsiteY66" fmla="*/ 1614680 h 1816469"/>
              <a:gd name="connsiteX67" fmla="*/ 187719 w 478881"/>
              <a:gd name="connsiteY67" fmla="*/ 1598196 h 1816469"/>
              <a:gd name="connsiteX68" fmla="*/ 188459 w 478881"/>
              <a:gd name="connsiteY68" fmla="*/ 1581731 h 1816469"/>
              <a:gd name="connsiteX69" fmla="*/ 191580 w 478881"/>
              <a:gd name="connsiteY69" fmla="*/ 1565743 h 1816469"/>
              <a:gd name="connsiteX70" fmla="*/ 197025 w 478881"/>
              <a:gd name="connsiteY70" fmla="*/ 1550686 h 1816469"/>
              <a:gd name="connsiteX71" fmla="*/ 208111 w 478881"/>
              <a:gd name="connsiteY71" fmla="*/ 1523781 h 1816469"/>
              <a:gd name="connsiteX72" fmla="*/ 218218 w 478881"/>
              <a:gd name="connsiteY72" fmla="*/ 1492663 h 1816469"/>
              <a:gd name="connsiteX73" fmla="*/ 226935 w 478881"/>
              <a:gd name="connsiteY73" fmla="*/ 1456577 h 1816469"/>
              <a:gd name="connsiteX74" fmla="*/ 233851 w 478881"/>
              <a:gd name="connsiteY74" fmla="*/ 1414763 h 1816469"/>
              <a:gd name="connsiteX75" fmla="*/ 237975 w 478881"/>
              <a:gd name="connsiteY75" fmla="*/ 1372339 h 1816469"/>
              <a:gd name="connsiteX76" fmla="*/ 238949 w 478881"/>
              <a:gd name="connsiteY76" fmla="*/ 1334525 h 1816469"/>
              <a:gd name="connsiteX77" fmla="*/ 237347 w 478881"/>
              <a:gd name="connsiteY77" fmla="*/ 1300792 h 1816469"/>
              <a:gd name="connsiteX78" fmla="*/ 233745 w 478881"/>
              <a:gd name="connsiteY78" fmla="*/ 1270606 h 1816469"/>
              <a:gd name="connsiteX79" fmla="*/ 232440 w 478881"/>
              <a:gd name="connsiteY79" fmla="*/ 1254046 h 1816469"/>
              <a:gd name="connsiteX80" fmla="*/ 233566 w 478881"/>
              <a:gd name="connsiteY80" fmla="*/ 1237594 h 1816469"/>
              <a:gd name="connsiteX81" fmla="*/ 237063 w 478881"/>
              <a:gd name="connsiteY81" fmla="*/ 1221705 h 1816469"/>
              <a:gd name="connsiteX82" fmla="*/ 242867 w 478881"/>
              <a:gd name="connsiteY82" fmla="*/ 1206831 h 1816469"/>
              <a:gd name="connsiteX83" fmla="*/ 254585 w 478881"/>
              <a:gd name="connsiteY83" fmla="*/ 1180301 h 1816469"/>
              <a:gd name="connsiteX84" fmla="*/ 265425 w 478881"/>
              <a:gd name="connsiteY84" fmla="*/ 1149520 h 1816469"/>
              <a:gd name="connsiteX85" fmla="*/ 274994 w 478881"/>
              <a:gd name="connsiteY85" fmla="*/ 1113715 h 1816469"/>
              <a:gd name="connsiteX86" fmla="*/ 282894 w 478881"/>
              <a:gd name="connsiteY86" fmla="*/ 1072107 h 1816469"/>
              <a:gd name="connsiteX87" fmla="*/ 288022 w 478881"/>
              <a:gd name="connsiteY87" fmla="*/ 1029767 h 1816469"/>
              <a:gd name="connsiteX88" fmla="*/ 289888 w 478881"/>
              <a:gd name="connsiteY88" fmla="*/ 991932 h 1816469"/>
              <a:gd name="connsiteX89" fmla="*/ 289087 w 478881"/>
              <a:gd name="connsiteY89" fmla="*/ 958083 h 1816469"/>
              <a:gd name="connsiteX90" fmla="*/ 286202 w 478881"/>
              <a:gd name="connsiteY90" fmla="*/ 927706 h 1816469"/>
              <a:gd name="connsiteX91" fmla="*/ 285296 w 478881"/>
              <a:gd name="connsiteY91" fmla="*/ 911069 h 1816469"/>
              <a:gd name="connsiteX92" fmla="*/ 286821 w 478881"/>
              <a:gd name="connsiteY92" fmla="*/ 894632 h 1816469"/>
              <a:gd name="connsiteX93" fmla="*/ 290696 w 478881"/>
              <a:gd name="connsiteY93" fmla="*/ 878850 h 1816469"/>
              <a:gd name="connsiteX94" fmla="*/ 296842 w 478881"/>
              <a:gd name="connsiteY94" fmla="*/ 864175 h 1816469"/>
              <a:gd name="connsiteX95" fmla="*/ 309195 w 478881"/>
              <a:gd name="connsiteY95" fmla="*/ 838058 h 1816469"/>
              <a:gd name="connsiteX96" fmla="*/ 320762 w 478881"/>
              <a:gd name="connsiteY96" fmla="*/ 807642 h 1816469"/>
              <a:gd name="connsiteX97" fmla="*/ 346212 w 478881"/>
              <a:gd name="connsiteY97" fmla="*/ 688538 h 1816469"/>
              <a:gd name="connsiteX98" fmla="*/ 348988 w 478881"/>
              <a:gd name="connsiteY98" fmla="*/ 616761 h 1816469"/>
              <a:gd name="connsiteX99" fmla="*/ 346834 w 478881"/>
              <a:gd name="connsiteY99" fmla="*/ 586223 h 1816469"/>
              <a:gd name="connsiteX100" fmla="*/ 346321 w 478881"/>
              <a:gd name="connsiteY100" fmla="*/ 569500 h 1816469"/>
              <a:gd name="connsiteX101" fmla="*/ 348234 w 478881"/>
              <a:gd name="connsiteY101" fmla="*/ 553082 h 1816469"/>
              <a:gd name="connsiteX102" fmla="*/ 352485 w 478881"/>
              <a:gd name="connsiteY102" fmla="*/ 537420 h 1816469"/>
              <a:gd name="connsiteX103" fmla="*/ 358989 w 478881"/>
              <a:gd name="connsiteY103" fmla="*/ 522965 h 1816469"/>
              <a:gd name="connsiteX104" fmla="*/ 371958 w 478881"/>
              <a:gd name="connsiteY104" fmla="*/ 497268 h 1816469"/>
              <a:gd name="connsiteX105" fmla="*/ 384245 w 478881"/>
              <a:gd name="connsiteY105" fmla="*/ 467241 h 1816469"/>
              <a:gd name="connsiteX106" fmla="*/ 412527 w 478881"/>
              <a:gd name="connsiteY106" fmla="*/ 348860 h 1816469"/>
              <a:gd name="connsiteX107" fmla="*/ 417037 w 478881"/>
              <a:gd name="connsiteY107" fmla="*/ 277025 h 1816469"/>
              <a:gd name="connsiteX108" fmla="*/ 415617 w 478881"/>
              <a:gd name="connsiteY108" fmla="*/ 246322 h 1816469"/>
              <a:gd name="connsiteX109" fmla="*/ 415514 w 478881"/>
              <a:gd name="connsiteY109" fmla="*/ 229558 h 1816469"/>
              <a:gd name="connsiteX110" fmla="*/ 417823 w 478881"/>
              <a:gd name="connsiteY110" fmla="*/ 213184 h 1816469"/>
              <a:gd name="connsiteX111" fmla="*/ 422448 w 478881"/>
              <a:gd name="connsiteY111" fmla="*/ 197653 h 1816469"/>
              <a:gd name="connsiteX112" fmla="*/ 429289 w 478881"/>
              <a:gd name="connsiteY112" fmla="*/ 183418 h 1816469"/>
              <a:gd name="connsiteX113" fmla="*/ 442878 w 478881"/>
              <a:gd name="connsiteY113" fmla="*/ 158159 h 1816469"/>
              <a:gd name="connsiteX114" fmla="*/ 455895 w 478881"/>
              <a:gd name="connsiteY114" fmla="*/ 128531 h 1816469"/>
              <a:gd name="connsiteX115" fmla="*/ 468008 w 478881"/>
              <a:gd name="connsiteY115" fmla="*/ 93712 h 181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78881" h="1816469">
                <a:moveTo>
                  <a:pt x="478881" y="52869"/>
                </a:moveTo>
                <a:lnTo>
                  <a:pt x="403609" y="23857"/>
                </a:lnTo>
                <a:lnTo>
                  <a:pt x="368322" y="28875"/>
                </a:lnTo>
                <a:lnTo>
                  <a:pt x="293006" y="0"/>
                </a:lnTo>
                <a:lnTo>
                  <a:pt x="284819" y="42821"/>
                </a:lnTo>
                <a:lnTo>
                  <a:pt x="280429" y="81344"/>
                </a:lnTo>
                <a:lnTo>
                  <a:pt x="279154" y="115998"/>
                </a:lnTo>
                <a:lnTo>
                  <a:pt x="280303" y="147210"/>
                </a:lnTo>
                <a:lnTo>
                  <a:pt x="280315" y="164248"/>
                </a:lnTo>
                <a:lnTo>
                  <a:pt x="277949" y="180887"/>
                </a:lnTo>
                <a:lnTo>
                  <a:pt x="273300" y="196691"/>
                </a:lnTo>
                <a:lnTo>
                  <a:pt x="266462" y="211230"/>
                </a:lnTo>
                <a:lnTo>
                  <a:pt x="252976" y="237122"/>
                </a:lnTo>
                <a:lnTo>
                  <a:pt x="240190" y="267570"/>
                </a:lnTo>
                <a:lnTo>
                  <a:pt x="218388" y="345380"/>
                </a:lnTo>
                <a:lnTo>
                  <a:pt x="207761" y="426934"/>
                </a:lnTo>
                <a:lnTo>
                  <a:pt x="207317" y="461539"/>
                </a:lnTo>
                <a:lnTo>
                  <a:pt x="209223" y="492618"/>
                </a:lnTo>
                <a:lnTo>
                  <a:pt x="209644" y="509585"/>
                </a:lnTo>
                <a:lnTo>
                  <a:pt x="207677" y="526252"/>
                </a:lnTo>
                <a:lnTo>
                  <a:pt x="203407" y="542180"/>
                </a:lnTo>
                <a:lnTo>
                  <a:pt x="196919" y="556940"/>
                </a:lnTo>
                <a:lnTo>
                  <a:pt x="184063" y="583283"/>
                </a:lnTo>
                <a:lnTo>
                  <a:pt x="172015" y="614135"/>
                </a:lnTo>
                <a:lnTo>
                  <a:pt x="161211" y="650285"/>
                </a:lnTo>
                <a:lnTo>
                  <a:pt x="152089" y="692535"/>
                </a:lnTo>
                <a:lnTo>
                  <a:pt x="145964" y="735665"/>
                </a:lnTo>
                <a:lnTo>
                  <a:pt x="143420" y="774253"/>
                </a:lnTo>
                <a:lnTo>
                  <a:pt x="143800" y="808769"/>
                </a:lnTo>
                <a:lnTo>
                  <a:pt x="146443" y="839691"/>
                </a:lnTo>
                <a:lnTo>
                  <a:pt x="147274" y="856601"/>
                </a:lnTo>
                <a:lnTo>
                  <a:pt x="145708" y="873300"/>
                </a:lnTo>
                <a:lnTo>
                  <a:pt x="141825" y="889348"/>
                </a:lnTo>
                <a:lnTo>
                  <a:pt x="135699" y="904312"/>
                </a:lnTo>
                <a:lnTo>
                  <a:pt x="123475" y="931072"/>
                </a:lnTo>
                <a:lnTo>
                  <a:pt x="112165" y="962297"/>
                </a:lnTo>
                <a:lnTo>
                  <a:pt x="102225" y="998763"/>
                </a:lnTo>
                <a:lnTo>
                  <a:pt x="94112" y="1041243"/>
                </a:lnTo>
                <a:lnTo>
                  <a:pt x="89016" y="1084489"/>
                </a:lnTo>
                <a:lnTo>
                  <a:pt x="87390" y="1123069"/>
                </a:lnTo>
                <a:lnTo>
                  <a:pt x="88588" y="1157476"/>
                </a:lnTo>
                <a:lnTo>
                  <a:pt x="91964" y="1188208"/>
                </a:lnTo>
                <a:lnTo>
                  <a:pt x="93195" y="1205042"/>
                </a:lnTo>
                <a:lnTo>
                  <a:pt x="92030" y="1221756"/>
                </a:lnTo>
                <a:lnTo>
                  <a:pt x="88530" y="1237912"/>
                </a:lnTo>
                <a:lnTo>
                  <a:pt x="82757" y="1253074"/>
                </a:lnTo>
                <a:lnTo>
                  <a:pt x="71170" y="1280231"/>
                </a:lnTo>
                <a:lnTo>
                  <a:pt x="60610" y="1311810"/>
                </a:lnTo>
                <a:lnTo>
                  <a:pt x="51543" y="1348568"/>
                </a:lnTo>
                <a:lnTo>
                  <a:pt x="44437" y="1391260"/>
                </a:lnTo>
                <a:lnTo>
                  <a:pt x="40369" y="1434598"/>
                </a:lnTo>
                <a:lnTo>
                  <a:pt x="39656" y="1473145"/>
                </a:lnTo>
                <a:lnTo>
                  <a:pt x="41667" y="1507421"/>
                </a:lnTo>
                <a:lnTo>
                  <a:pt x="45764" y="1537953"/>
                </a:lnTo>
                <a:lnTo>
                  <a:pt x="47391" y="1554695"/>
                </a:lnTo>
                <a:lnTo>
                  <a:pt x="46622" y="1571411"/>
                </a:lnTo>
                <a:lnTo>
                  <a:pt x="43506" y="1587665"/>
                </a:lnTo>
                <a:lnTo>
                  <a:pt x="38095" y="1603010"/>
                </a:lnTo>
                <a:lnTo>
                  <a:pt x="27152" y="1630555"/>
                </a:lnTo>
                <a:lnTo>
                  <a:pt x="17336" y="1662471"/>
                </a:lnTo>
                <a:lnTo>
                  <a:pt x="9137" y="1699489"/>
                </a:lnTo>
                <a:lnTo>
                  <a:pt x="3039" y="1742340"/>
                </a:lnTo>
                <a:lnTo>
                  <a:pt x="0" y="1785739"/>
                </a:lnTo>
                <a:lnTo>
                  <a:pt x="160" y="1816469"/>
                </a:lnTo>
                <a:lnTo>
                  <a:pt x="195710" y="1672340"/>
                </a:lnTo>
                <a:lnTo>
                  <a:pt x="193734" y="1644645"/>
                </a:lnTo>
                <a:lnTo>
                  <a:pt x="189420" y="1614680"/>
                </a:lnTo>
                <a:lnTo>
                  <a:pt x="187719" y="1598196"/>
                </a:lnTo>
                <a:lnTo>
                  <a:pt x="188459" y="1581731"/>
                </a:lnTo>
                <a:lnTo>
                  <a:pt x="191580" y="1565743"/>
                </a:lnTo>
                <a:lnTo>
                  <a:pt x="197025" y="1550686"/>
                </a:lnTo>
                <a:lnTo>
                  <a:pt x="208111" y="1523781"/>
                </a:lnTo>
                <a:lnTo>
                  <a:pt x="218218" y="1492663"/>
                </a:lnTo>
                <a:lnTo>
                  <a:pt x="226935" y="1456577"/>
                </a:lnTo>
                <a:lnTo>
                  <a:pt x="233851" y="1414763"/>
                </a:lnTo>
                <a:lnTo>
                  <a:pt x="237975" y="1372339"/>
                </a:lnTo>
                <a:lnTo>
                  <a:pt x="238949" y="1334525"/>
                </a:lnTo>
                <a:lnTo>
                  <a:pt x="237347" y="1300792"/>
                </a:lnTo>
                <a:lnTo>
                  <a:pt x="233745" y="1270606"/>
                </a:lnTo>
                <a:lnTo>
                  <a:pt x="232440" y="1254046"/>
                </a:lnTo>
                <a:lnTo>
                  <a:pt x="233566" y="1237594"/>
                </a:lnTo>
                <a:lnTo>
                  <a:pt x="237063" y="1221705"/>
                </a:lnTo>
                <a:lnTo>
                  <a:pt x="242867" y="1206831"/>
                </a:lnTo>
                <a:lnTo>
                  <a:pt x="254585" y="1180301"/>
                </a:lnTo>
                <a:lnTo>
                  <a:pt x="265425" y="1149520"/>
                </a:lnTo>
                <a:lnTo>
                  <a:pt x="274994" y="1113715"/>
                </a:lnTo>
                <a:lnTo>
                  <a:pt x="282894" y="1072107"/>
                </a:lnTo>
                <a:lnTo>
                  <a:pt x="288022" y="1029767"/>
                </a:lnTo>
                <a:lnTo>
                  <a:pt x="289888" y="991932"/>
                </a:lnTo>
                <a:lnTo>
                  <a:pt x="289087" y="958083"/>
                </a:lnTo>
                <a:lnTo>
                  <a:pt x="286202" y="927706"/>
                </a:lnTo>
                <a:lnTo>
                  <a:pt x="285296" y="911069"/>
                </a:lnTo>
                <a:lnTo>
                  <a:pt x="286821" y="894632"/>
                </a:lnTo>
                <a:lnTo>
                  <a:pt x="290696" y="878850"/>
                </a:lnTo>
                <a:lnTo>
                  <a:pt x="296842" y="864175"/>
                </a:lnTo>
                <a:lnTo>
                  <a:pt x="309195" y="838058"/>
                </a:lnTo>
                <a:lnTo>
                  <a:pt x="320762" y="807642"/>
                </a:lnTo>
                <a:lnTo>
                  <a:pt x="346212" y="688538"/>
                </a:lnTo>
                <a:lnTo>
                  <a:pt x="348988" y="616761"/>
                </a:lnTo>
                <a:lnTo>
                  <a:pt x="346834" y="586223"/>
                </a:lnTo>
                <a:lnTo>
                  <a:pt x="346321" y="569500"/>
                </a:lnTo>
                <a:lnTo>
                  <a:pt x="348234" y="553082"/>
                </a:lnTo>
                <a:lnTo>
                  <a:pt x="352485" y="537420"/>
                </a:lnTo>
                <a:lnTo>
                  <a:pt x="358989" y="522965"/>
                </a:lnTo>
                <a:lnTo>
                  <a:pt x="371958" y="497268"/>
                </a:lnTo>
                <a:lnTo>
                  <a:pt x="384245" y="467241"/>
                </a:lnTo>
                <a:lnTo>
                  <a:pt x="412527" y="348860"/>
                </a:lnTo>
                <a:lnTo>
                  <a:pt x="417037" y="277025"/>
                </a:lnTo>
                <a:lnTo>
                  <a:pt x="415617" y="246322"/>
                </a:lnTo>
                <a:lnTo>
                  <a:pt x="415514" y="229558"/>
                </a:lnTo>
                <a:lnTo>
                  <a:pt x="417823" y="213184"/>
                </a:lnTo>
                <a:lnTo>
                  <a:pt x="422448" y="197653"/>
                </a:lnTo>
                <a:lnTo>
                  <a:pt x="429289" y="183418"/>
                </a:lnTo>
                <a:lnTo>
                  <a:pt x="442878" y="158159"/>
                </a:lnTo>
                <a:lnTo>
                  <a:pt x="455895" y="128531"/>
                </a:lnTo>
                <a:lnTo>
                  <a:pt x="468008" y="93712"/>
                </a:lnTo>
                <a:close/>
              </a:path>
            </a:pathLst>
          </a:custGeom>
          <a:solidFill>
            <a:schemeClr val="accent5">
              <a:alpha val="68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0" name="Freeform: Shape 129">
            <a:extLst>
              <a:ext uri="{FF2B5EF4-FFF2-40B4-BE49-F238E27FC236}">
                <a16:creationId xmlns:a16="http://schemas.microsoft.com/office/drawing/2014/main" id="{73E78902-D16C-A051-890E-46F71632D94F}"/>
              </a:ext>
            </a:extLst>
          </p:cNvPr>
          <p:cNvSpPr/>
          <p:nvPr/>
        </p:nvSpPr>
        <p:spPr>
          <a:xfrm rot="16200000" flipH="1">
            <a:off x="7586895" y="-257583"/>
            <a:ext cx="593956" cy="1046150"/>
          </a:xfrm>
          <a:custGeom>
            <a:avLst/>
            <a:gdLst>
              <a:gd name="connsiteX0" fmla="*/ 0 w 592862"/>
              <a:gd name="connsiteY0" fmla="*/ 1044223 h 1044223"/>
              <a:gd name="connsiteX1" fmla="*/ 0 w 592862"/>
              <a:gd name="connsiteY1" fmla="*/ 656675 h 1044223"/>
              <a:gd name="connsiteX2" fmla="*/ 394922 w 592862"/>
              <a:gd name="connsiteY2" fmla="*/ 0 h 1044223"/>
              <a:gd name="connsiteX3" fmla="*/ 538483 w 592862"/>
              <a:gd name="connsiteY3" fmla="*/ 42983 h 1044223"/>
              <a:gd name="connsiteX4" fmla="*/ 546097 w 592862"/>
              <a:gd name="connsiteY4" fmla="*/ 30309 h 1044223"/>
              <a:gd name="connsiteX5" fmla="*/ 592862 w 592862"/>
              <a:gd name="connsiteY5" fmla="*/ 58431 h 104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862" h="1044223">
                <a:moveTo>
                  <a:pt x="0" y="1044223"/>
                </a:moveTo>
                <a:lnTo>
                  <a:pt x="0" y="656675"/>
                </a:lnTo>
                <a:lnTo>
                  <a:pt x="394922" y="0"/>
                </a:lnTo>
                <a:lnTo>
                  <a:pt x="538483" y="42983"/>
                </a:lnTo>
                <a:lnTo>
                  <a:pt x="546097" y="30309"/>
                </a:lnTo>
                <a:lnTo>
                  <a:pt x="592862" y="58431"/>
                </a:lnTo>
                <a:close/>
              </a:path>
            </a:pathLst>
          </a:custGeom>
          <a:solidFill>
            <a:schemeClr val="accent5">
              <a:alpha val="68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4" name="Freeform 799">
            <a:extLst>
              <a:ext uri="{FF2B5EF4-FFF2-40B4-BE49-F238E27FC236}">
                <a16:creationId xmlns:a16="http://schemas.microsoft.com/office/drawing/2014/main" id="{A99C9CF2-F28E-262F-4907-74618A7A1100}"/>
              </a:ext>
            </a:extLst>
          </p:cNvPr>
          <p:cNvSpPr/>
          <p:nvPr/>
        </p:nvSpPr>
        <p:spPr>
          <a:xfrm rot="21439830" flipH="1">
            <a:off x="7997344" y="475246"/>
            <a:ext cx="1022705" cy="1142956"/>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chemeClr val="accent5">
              <a:alpha val="68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33" name="Graphic 32">
            <a:extLst>
              <a:ext uri="{FF2B5EF4-FFF2-40B4-BE49-F238E27FC236}">
                <a16:creationId xmlns:a16="http://schemas.microsoft.com/office/drawing/2014/main" id="{98C560BC-C268-0F49-67A3-0E1E7D836B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2247" y="816857"/>
            <a:ext cx="1728171" cy="487700"/>
          </a:xfrm>
          <a:prstGeom prst="rect">
            <a:avLst/>
          </a:prstGeom>
        </p:spPr>
      </p:pic>
      <p:sp>
        <p:nvSpPr>
          <p:cNvPr id="44" name="Freeform: Shape 43">
            <a:extLst>
              <a:ext uri="{FF2B5EF4-FFF2-40B4-BE49-F238E27FC236}">
                <a16:creationId xmlns:a16="http://schemas.microsoft.com/office/drawing/2014/main" id="{CB5A25B5-0FC4-C018-256D-533929E43EC7}"/>
              </a:ext>
            </a:extLst>
          </p:cNvPr>
          <p:cNvSpPr/>
          <p:nvPr/>
        </p:nvSpPr>
        <p:spPr>
          <a:xfrm rot="17966026">
            <a:off x="11419013" y="2012600"/>
            <a:ext cx="513448" cy="1305203"/>
          </a:xfrm>
          <a:custGeom>
            <a:avLst/>
            <a:gdLst>
              <a:gd name="connsiteX0" fmla="*/ 347516 w 513448"/>
              <a:gd name="connsiteY0" fmla="*/ 2293 h 1305203"/>
              <a:gd name="connsiteX1" fmla="*/ 355652 w 513448"/>
              <a:gd name="connsiteY1" fmla="*/ 17928 h 1305203"/>
              <a:gd name="connsiteX2" fmla="*/ 353179 w 513448"/>
              <a:gd name="connsiteY2" fmla="*/ 204704 h 1305203"/>
              <a:gd name="connsiteX3" fmla="*/ 330913 w 513448"/>
              <a:gd name="connsiteY3" fmla="*/ 311082 h 1305203"/>
              <a:gd name="connsiteX4" fmla="*/ 199799 w 513448"/>
              <a:gd name="connsiteY4" fmla="*/ 602998 h 1305203"/>
              <a:gd name="connsiteX5" fmla="*/ 182481 w 513448"/>
              <a:gd name="connsiteY5" fmla="*/ 729165 h 1305203"/>
              <a:gd name="connsiteX6" fmla="*/ 241855 w 513448"/>
              <a:gd name="connsiteY6" fmla="*/ 606709 h 1305203"/>
              <a:gd name="connsiteX7" fmla="*/ 354416 w 513448"/>
              <a:gd name="connsiteY7" fmla="*/ 442197 h 1305203"/>
              <a:gd name="connsiteX8" fmla="*/ 358126 w 513448"/>
              <a:gd name="connsiteY8" fmla="*/ 468171 h 1305203"/>
              <a:gd name="connsiteX9" fmla="*/ 510269 w 513448"/>
              <a:gd name="connsiteY9" fmla="*/ 1039635 h 1305203"/>
              <a:gd name="connsiteX10" fmla="*/ 513448 w 513448"/>
              <a:gd name="connsiteY10" fmla="*/ 1100522 h 1305203"/>
              <a:gd name="connsiteX11" fmla="*/ 150696 w 513448"/>
              <a:gd name="connsiteY11" fmla="*/ 1305203 h 1305203"/>
              <a:gd name="connsiteX12" fmla="*/ 134242 w 513448"/>
              <a:gd name="connsiteY12" fmla="*/ 1158380 h 1305203"/>
              <a:gd name="connsiteX13" fmla="*/ 130530 w 513448"/>
              <a:gd name="connsiteY13" fmla="*/ 630210 h 1305203"/>
              <a:gd name="connsiteX14" fmla="*/ 11786 w 513448"/>
              <a:gd name="connsiteY14" fmla="*/ 125541 h 1305203"/>
              <a:gd name="connsiteX15" fmla="*/ 26629 w 513448"/>
              <a:gd name="connsiteY15" fmla="*/ 48852 h 1305203"/>
              <a:gd name="connsiteX16" fmla="*/ 313597 w 513448"/>
              <a:gd name="connsiteY16" fmla="*/ 8032 h 1305203"/>
              <a:gd name="connsiteX17" fmla="*/ 347516 w 513448"/>
              <a:gd name="connsiteY17" fmla="*/ 2293 h 130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448" h="1305203">
                <a:moveTo>
                  <a:pt x="347516" y="2293"/>
                </a:moveTo>
                <a:cubicBezTo>
                  <a:pt x="351632" y="4786"/>
                  <a:pt x="354724" y="9579"/>
                  <a:pt x="355652" y="17928"/>
                </a:cubicBezTo>
                <a:cubicBezTo>
                  <a:pt x="356889" y="34007"/>
                  <a:pt x="354417" y="114409"/>
                  <a:pt x="353179" y="204704"/>
                </a:cubicBezTo>
                <a:cubicBezTo>
                  <a:pt x="349469" y="243049"/>
                  <a:pt x="338335" y="262841"/>
                  <a:pt x="330913" y="311082"/>
                </a:cubicBezTo>
                <a:cubicBezTo>
                  <a:pt x="309887" y="457039"/>
                  <a:pt x="236906" y="505280"/>
                  <a:pt x="199799" y="602998"/>
                </a:cubicBezTo>
                <a:cubicBezTo>
                  <a:pt x="177535" y="659897"/>
                  <a:pt x="182481" y="729165"/>
                  <a:pt x="182481" y="729165"/>
                </a:cubicBezTo>
                <a:cubicBezTo>
                  <a:pt x="182481" y="729165"/>
                  <a:pt x="180009" y="698242"/>
                  <a:pt x="241855" y="606709"/>
                </a:cubicBezTo>
                <a:cubicBezTo>
                  <a:pt x="267830" y="567126"/>
                  <a:pt x="318545" y="518885"/>
                  <a:pt x="354416" y="442197"/>
                </a:cubicBezTo>
                <a:cubicBezTo>
                  <a:pt x="355652" y="453328"/>
                  <a:pt x="356890" y="461987"/>
                  <a:pt x="358126" y="468171"/>
                </a:cubicBezTo>
                <a:cubicBezTo>
                  <a:pt x="374207" y="533730"/>
                  <a:pt x="495427" y="847911"/>
                  <a:pt x="510269" y="1039635"/>
                </a:cubicBezTo>
                <a:lnTo>
                  <a:pt x="513448" y="1100522"/>
                </a:lnTo>
                <a:lnTo>
                  <a:pt x="150696" y="1305203"/>
                </a:lnTo>
                <a:lnTo>
                  <a:pt x="134242" y="1158380"/>
                </a:lnTo>
                <a:cubicBezTo>
                  <a:pt x="116926" y="970365"/>
                  <a:pt x="165164" y="798433"/>
                  <a:pt x="130530" y="630210"/>
                </a:cubicBezTo>
                <a:cubicBezTo>
                  <a:pt x="100844" y="486726"/>
                  <a:pt x="11786" y="125541"/>
                  <a:pt x="11786" y="125541"/>
                </a:cubicBezTo>
                <a:cubicBezTo>
                  <a:pt x="11786" y="125541"/>
                  <a:pt x="-22849" y="66168"/>
                  <a:pt x="26629" y="48852"/>
                </a:cubicBezTo>
                <a:cubicBezTo>
                  <a:pt x="76106" y="31535"/>
                  <a:pt x="313597" y="8032"/>
                  <a:pt x="313597" y="8032"/>
                </a:cubicBezTo>
                <a:cubicBezTo>
                  <a:pt x="313597" y="8032"/>
                  <a:pt x="335166" y="-5187"/>
                  <a:pt x="347516" y="2293"/>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41" name="Freeform: Shape 40">
            <a:extLst>
              <a:ext uri="{FF2B5EF4-FFF2-40B4-BE49-F238E27FC236}">
                <a16:creationId xmlns:a16="http://schemas.microsoft.com/office/drawing/2014/main" id="{588ED590-7225-2E9B-A5B0-5CB2EBECC23B}"/>
              </a:ext>
            </a:extLst>
          </p:cNvPr>
          <p:cNvSpPr/>
          <p:nvPr/>
        </p:nvSpPr>
        <p:spPr>
          <a:xfrm rot="17873927">
            <a:off x="11585177" y="1664989"/>
            <a:ext cx="584275" cy="1093123"/>
          </a:xfrm>
          <a:custGeom>
            <a:avLst/>
            <a:gdLst>
              <a:gd name="connsiteX0" fmla="*/ 66366 w 584275"/>
              <a:gd name="connsiteY0" fmla="*/ 1022165 h 1093123"/>
              <a:gd name="connsiteX1" fmla="*/ 62826 w 584275"/>
              <a:gd name="connsiteY1" fmla="*/ 1024039 h 1093123"/>
              <a:gd name="connsiteX2" fmla="*/ 86143 w 584275"/>
              <a:gd name="connsiteY2" fmla="*/ 1068080 h 1093123"/>
              <a:gd name="connsiteX3" fmla="*/ 0 w 584275"/>
              <a:gd name="connsiteY3" fmla="*/ 1093123 h 1093123"/>
              <a:gd name="connsiteX4" fmla="*/ 46181 w 584275"/>
              <a:gd name="connsiteY4" fmla="*/ 998309 h 1093123"/>
              <a:gd name="connsiteX5" fmla="*/ 578096 w 584275"/>
              <a:gd name="connsiteY5" fmla="*/ 110991 h 1093123"/>
              <a:gd name="connsiteX6" fmla="*/ 584247 w 584275"/>
              <a:gd name="connsiteY6" fmla="*/ 129982 h 1093123"/>
              <a:gd name="connsiteX7" fmla="*/ 496425 w 584275"/>
              <a:gd name="connsiteY7" fmla="*/ 293259 h 1093123"/>
              <a:gd name="connsiteX8" fmla="*/ 425919 w 584275"/>
              <a:gd name="connsiteY8" fmla="*/ 455295 h 1093123"/>
              <a:gd name="connsiteX9" fmla="*/ 408602 w 584275"/>
              <a:gd name="connsiteY9" fmla="*/ 754635 h 1093123"/>
              <a:gd name="connsiteX10" fmla="*/ 388519 w 584275"/>
              <a:gd name="connsiteY10" fmla="*/ 821398 h 1093123"/>
              <a:gd name="connsiteX11" fmla="*/ 377401 w 584275"/>
              <a:gd name="connsiteY11" fmla="*/ 857489 h 1093123"/>
              <a:gd name="connsiteX12" fmla="*/ 126165 w 584275"/>
              <a:gd name="connsiteY12" fmla="*/ 990505 h 1093123"/>
              <a:gd name="connsiteX13" fmla="*/ 112975 w 584275"/>
              <a:gd name="connsiteY13" fmla="*/ 967385 h 1093123"/>
              <a:gd name="connsiteX14" fmla="*/ 82051 w 584275"/>
              <a:gd name="connsiteY14" fmla="*/ 832561 h 1093123"/>
              <a:gd name="connsiteX15" fmla="*/ 114212 w 584275"/>
              <a:gd name="connsiteY15" fmla="*/ 444163 h 1093123"/>
              <a:gd name="connsiteX16" fmla="*/ 203271 w 584275"/>
              <a:gd name="connsiteY16" fmla="*/ 214093 h 1093123"/>
              <a:gd name="connsiteX17" fmla="*/ 268829 w 584275"/>
              <a:gd name="connsiteY17" fmla="*/ 266045 h 1093123"/>
              <a:gd name="connsiteX18" fmla="*/ 406128 w 584275"/>
              <a:gd name="connsiteY18" fmla="*/ 419425 h 1093123"/>
              <a:gd name="connsiteX19" fmla="*/ 377680 w 584275"/>
              <a:gd name="connsiteY19" fmla="*/ 334076 h 1093123"/>
              <a:gd name="connsiteX20" fmla="*/ 275013 w 584275"/>
              <a:gd name="connsiteY20" fmla="*/ 204198 h 1093123"/>
              <a:gd name="connsiteX21" fmla="*/ 235431 w 584275"/>
              <a:gd name="connsiteY21" fmla="*/ 61950 h 1093123"/>
              <a:gd name="connsiteX22" fmla="*/ 251434 w 584275"/>
              <a:gd name="connsiteY22" fmla="*/ 5592 h 1093123"/>
              <a:gd name="connsiteX23" fmla="*/ 276251 w 584275"/>
              <a:gd name="connsiteY23" fmla="*/ 104 h 1093123"/>
              <a:gd name="connsiteX24" fmla="*/ 422209 w 584275"/>
              <a:gd name="connsiteY24" fmla="*/ 43397 h 1093123"/>
              <a:gd name="connsiteX25" fmla="*/ 578096 w 584275"/>
              <a:gd name="connsiteY25" fmla="*/ 110991 h 109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4275" h="1093123">
                <a:moveTo>
                  <a:pt x="66366" y="1022165"/>
                </a:moveTo>
                <a:lnTo>
                  <a:pt x="62826" y="1024039"/>
                </a:lnTo>
                <a:lnTo>
                  <a:pt x="86143" y="1068080"/>
                </a:lnTo>
                <a:lnTo>
                  <a:pt x="0" y="1093123"/>
                </a:lnTo>
                <a:lnTo>
                  <a:pt x="46181" y="998309"/>
                </a:lnTo>
                <a:close/>
                <a:moveTo>
                  <a:pt x="578096" y="110991"/>
                </a:moveTo>
                <a:cubicBezTo>
                  <a:pt x="582295" y="116994"/>
                  <a:pt x="584556" y="123334"/>
                  <a:pt x="584247" y="129982"/>
                </a:cubicBezTo>
                <a:cubicBezTo>
                  <a:pt x="583010" y="149773"/>
                  <a:pt x="529821" y="231411"/>
                  <a:pt x="496425" y="293259"/>
                </a:cubicBezTo>
                <a:cubicBezTo>
                  <a:pt x="460553" y="360053"/>
                  <a:pt x="425919" y="455295"/>
                  <a:pt x="425919" y="455295"/>
                </a:cubicBezTo>
                <a:cubicBezTo>
                  <a:pt x="425919" y="455295"/>
                  <a:pt x="442000" y="639599"/>
                  <a:pt x="408602" y="754635"/>
                </a:cubicBezTo>
                <a:cubicBezTo>
                  <a:pt x="403191" y="773035"/>
                  <a:pt x="396349" y="795744"/>
                  <a:pt x="388519" y="821398"/>
                </a:cubicBezTo>
                <a:lnTo>
                  <a:pt x="377401" y="857489"/>
                </a:lnTo>
                <a:lnTo>
                  <a:pt x="126165" y="990505"/>
                </a:lnTo>
                <a:lnTo>
                  <a:pt x="112975" y="967385"/>
                </a:lnTo>
                <a:cubicBezTo>
                  <a:pt x="95659" y="938938"/>
                  <a:pt x="86999" y="889460"/>
                  <a:pt x="82051" y="832561"/>
                </a:cubicBezTo>
                <a:cubicBezTo>
                  <a:pt x="70920" y="611151"/>
                  <a:pt x="114212" y="444163"/>
                  <a:pt x="114212" y="444163"/>
                </a:cubicBezTo>
                <a:cubicBezTo>
                  <a:pt x="114212" y="444163"/>
                  <a:pt x="161215" y="298205"/>
                  <a:pt x="203271" y="214093"/>
                </a:cubicBezTo>
                <a:cubicBezTo>
                  <a:pt x="223063" y="232647"/>
                  <a:pt x="245327" y="251202"/>
                  <a:pt x="268829" y="266045"/>
                </a:cubicBezTo>
                <a:cubicBezTo>
                  <a:pt x="343045" y="313049"/>
                  <a:pt x="406128" y="419425"/>
                  <a:pt x="406128" y="419425"/>
                </a:cubicBezTo>
                <a:cubicBezTo>
                  <a:pt x="406128" y="419425"/>
                  <a:pt x="403654" y="378605"/>
                  <a:pt x="377680" y="334076"/>
                </a:cubicBezTo>
                <a:cubicBezTo>
                  <a:pt x="351703" y="289547"/>
                  <a:pt x="347993" y="289546"/>
                  <a:pt x="275013" y="204198"/>
                </a:cubicBezTo>
                <a:cubicBezTo>
                  <a:pt x="231720" y="152247"/>
                  <a:pt x="223063" y="107718"/>
                  <a:pt x="235431" y="61950"/>
                </a:cubicBezTo>
                <a:cubicBezTo>
                  <a:pt x="240070" y="45252"/>
                  <a:pt x="234967" y="17421"/>
                  <a:pt x="251434" y="5592"/>
                </a:cubicBezTo>
                <a:cubicBezTo>
                  <a:pt x="256924" y="1650"/>
                  <a:pt x="264809" y="-515"/>
                  <a:pt x="276251" y="104"/>
                </a:cubicBezTo>
                <a:cubicBezTo>
                  <a:pt x="322017" y="2578"/>
                  <a:pt x="422209" y="43397"/>
                  <a:pt x="422209" y="43397"/>
                </a:cubicBezTo>
                <a:cubicBezTo>
                  <a:pt x="424374" y="43398"/>
                  <a:pt x="548704" y="68967"/>
                  <a:pt x="578096" y="110991"/>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19" name="Text Placeholder 41">
            <a:extLst>
              <a:ext uri="{FF2B5EF4-FFF2-40B4-BE49-F238E27FC236}">
                <a16:creationId xmlns:a16="http://schemas.microsoft.com/office/drawing/2014/main" id="{AB977A50-511F-34A7-966A-BAD92EF995C0}"/>
              </a:ext>
            </a:extLst>
          </p:cNvPr>
          <p:cNvSpPr>
            <a:spLocks noGrp="1"/>
          </p:cNvSpPr>
          <p:nvPr>
            <p:ph type="body" sz="quarter" idx="12" hasCustomPrompt="1"/>
          </p:nvPr>
        </p:nvSpPr>
        <p:spPr>
          <a:xfrm>
            <a:off x="361368" y="4441873"/>
            <a:ext cx="6908404" cy="450759"/>
          </a:xfrm>
        </p:spPr>
        <p:txBody>
          <a:bodyPr>
            <a:noAutofit/>
          </a:bodyPr>
          <a:lstStyle>
            <a:lvl1pPr marL="0" indent="0">
              <a:buNone/>
              <a:defRPr sz="2400" b="0" i="0">
                <a:solidFill>
                  <a:schemeClr val="bg1"/>
                </a:solidFill>
                <a:latin typeface="TT Norms Pro" panose="02000503030000020003" pitchFamily="2" charset="0"/>
              </a:defRPr>
            </a:lvl1pPr>
            <a:lvl2pPr marL="456742" indent="0">
              <a:buNone/>
              <a:defRPr/>
            </a:lvl2pPr>
            <a:lvl3pPr marL="913486" indent="0">
              <a:buNone/>
              <a:defRPr/>
            </a:lvl3pPr>
            <a:lvl4pPr marL="1370228" indent="0">
              <a:buNone/>
              <a:defRPr/>
            </a:lvl4pPr>
            <a:lvl5pPr marL="1826971" indent="0">
              <a:buNone/>
              <a:defRPr/>
            </a:lvl5pPr>
          </a:lstStyle>
          <a:p>
            <a:pPr lvl="0"/>
            <a:r>
              <a:rPr lang="en-US"/>
              <a:t>Subtitle / Date</a:t>
            </a:r>
            <a:endParaRPr lang="en-IN"/>
          </a:p>
        </p:txBody>
      </p:sp>
      <p:sp>
        <p:nvSpPr>
          <p:cNvPr id="27" name="Text Placeholder 38">
            <a:extLst>
              <a:ext uri="{FF2B5EF4-FFF2-40B4-BE49-F238E27FC236}">
                <a16:creationId xmlns:a16="http://schemas.microsoft.com/office/drawing/2014/main" id="{B26D9E2C-3488-F846-9E76-8D91AE46CAFA}"/>
              </a:ext>
            </a:extLst>
          </p:cNvPr>
          <p:cNvSpPr>
            <a:spLocks noGrp="1"/>
          </p:cNvSpPr>
          <p:nvPr>
            <p:ph type="body" sz="quarter" idx="11" hasCustomPrompt="1"/>
          </p:nvPr>
        </p:nvSpPr>
        <p:spPr>
          <a:xfrm>
            <a:off x="361368" y="3057729"/>
            <a:ext cx="6908404" cy="1309205"/>
          </a:xfrm>
        </p:spPr>
        <p:txBody>
          <a:bodyPr wrap="square" lIns="0" tIns="0" rIns="0" bIns="0" anchor="b">
            <a:spAutoFit/>
          </a:bodyPr>
          <a:lstStyle>
            <a:lvl1pPr marL="0" indent="0">
              <a:lnSpc>
                <a:spcPct val="87000"/>
              </a:lnSpc>
              <a:buNone/>
              <a:defRPr sz="4800">
                <a:solidFill>
                  <a:schemeClr val="bg1"/>
                </a:solidFill>
                <a:latin typeface="+mj-lt"/>
              </a:defRPr>
            </a:lvl1pPr>
            <a:lvl2pPr marL="456742" indent="0">
              <a:buNone/>
              <a:defRPr/>
            </a:lvl2pPr>
            <a:lvl3pPr marL="913486" indent="0">
              <a:buNone/>
              <a:defRPr/>
            </a:lvl3pPr>
            <a:lvl4pPr marL="1370228" indent="0">
              <a:buNone/>
              <a:defRPr/>
            </a:lvl4pPr>
            <a:lvl5pPr marL="1826971" indent="0">
              <a:buNone/>
              <a:defRPr/>
            </a:lvl5pPr>
          </a:lstStyle>
          <a:p>
            <a:pPr lvl="0"/>
            <a:r>
              <a:rPr lang="en-US"/>
              <a:t>Presenter or Presentation Name</a:t>
            </a:r>
          </a:p>
        </p:txBody>
      </p:sp>
      <p:pic>
        <p:nvPicPr>
          <p:cNvPr id="2" name="Graphic 1">
            <a:extLst>
              <a:ext uri="{FF2B5EF4-FFF2-40B4-BE49-F238E27FC236}">
                <a16:creationId xmlns:a16="http://schemas.microsoft.com/office/drawing/2014/main" id="{5F150C99-43CD-5424-30AD-BE0C4B1408F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2247" y="816857"/>
            <a:ext cx="1728171" cy="487700"/>
          </a:xfrm>
          <a:prstGeom prst="rect">
            <a:avLst/>
          </a:prstGeom>
        </p:spPr>
      </p:pic>
      <p:sp>
        <p:nvSpPr>
          <p:cNvPr id="3" name="Freeform: Shape 2">
            <a:extLst>
              <a:ext uri="{FF2B5EF4-FFF2-40B4-BE49-F238E27FC236}">
                <a16:creationId xmlns:a16="http://schemas.microsoft.com/office/drawing/2014/main" id="{959F9E11-C3FE-760C-BFBE-E1795DE66895}"/>
              </a:ext>
            </a:extLst>
          </p:cNvPr>
          <p:cNvSpPr/>
          <p:nvPr userDrawn="1"/>
        </p:nvSpPr>
        <p:spPr>
          <a:xfrm rot="17966026">
            <a:off x="11419013" y="2012600"/>
            <a:ext cx="513448" cy="1305203"/>
          </a:xfrm>
          <a:custGeom>
            <a:avLst/>
            <a:gdLst>
              <a:gd name="connsiteX0" fmla="*/ 347516 w 513448"/>
              <a:gd name="connsiteY0" fmla="*/ 2293 h 1305203"/>
              <a:gd name="connsiteX1" fmla="*/ 355652 w 513448"/>
              <a:gd name="connsiteY1" fmla="*/ 17928 h 1305203"/>
              <a:gd name="connsiteX2" fmla="*/ 353179 w 513448"/>
              <a:gd name="connsiteY2" fmla="*/ 204704 h 1305203"/>
              <a:gd name="connsiteX3" fmla="*/ 330913 w 513448"/>
              <a:gd name="connsiteY3" fmla="*/ 311082 h 1305203"/>
              <a:gd name="connsiteX4" fmla="*/ 199799 w 513448"/>
              <a:gd name="connsiteY4" fmla="*/ 602998 h 1305203"/>
              <a:gd name="connsiteX5" fmla="*/ 182481 w 513448"/>
              <a:gd name="connsiteY5" fmla="*/ 729165 h 1305203"/>
              <a:gd name="connsiteX6" fmla="*/ 241855 w 513448"/>
              <a:gd name="connsiteY6" fmla="*/ 606709 h 1305203"/>
              <a:gd name="connsiteX7" fmla="*/ 354416 w 513448"/>
              <a:gd name="connsiteY7" fmla="*/ 442197 h 1305203"/>
              <a:gd name="connsiteX8" fmla="*/ 358126 w 513448"/>
              <a:gd name="connsiteY8" fmla="*/ 468171 h 1305203"/>
              <a:gd name="connsiteX9" fmla="*/ 510269 w 513448"/>
              <a:gd name="connsiteY9" fmla="*/ 1039635 h 1305203"/>
              <a:gd name="connsiteX10" fmla="*/ 513448 w 513448"/>
              <a:gd name="connsiteY10" fmla="*/ 1100522 h 1305203"/>
              <a:gd name="connsiteX11" fmla="*/ 150696 w 513448"/>
              <a:gd name="connsiteY11" fmla="*/ 1305203 h 1305203"/>
              <a:gd name="connsiteX12" fmla="*/ 134242 w 513448"/>
              <a:gd name="connsiteY12" fmla="*/ 1158380 h 1305203"/>
              <a:gd name="connsiteX13" fmla="*/ 130530 w 513448"/>
              <a:gd name="connsiteY13" fmla="*/ 630210 h 1305203"/>
              <a:gd name="connsiteX14" fmla="*/ 11786 w 513448"/>
              <a:gd name="connsiteY14" fmla="*/ 125541 h 1305203"/>
              <a:gd name="connsiteX15" fmla="*/ 26629 w 513448"/>
              <a:gd name="connsiteY15" fmla="*/ 48852 h 1305203"/>
              <a:gd name="connsiteX16" fmla="*/ 313597 w 513448"/>
              <a:gd name="connsiteY16" fmla="*/ 8032 h 1305203"/>
              <a:gd name="connsiteX17" fmla="*/ 347516 w 513448"/>
              <a:gd name="connsiteY17" fmla="*/ 2293 h 1305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448" h="1305203">
                <a:moveTo>
                  <a:pt x="347516" y="2293"/>
                </a:moveTo>
                <a:cubicBezTo>
                  <a:pt x="351632" y="4786"/>
                  <a:pt x="354724" y="9579"/>
                  <a:pt x="355652" y="17928"/>
                </a:cubicBezTo>
                <a:cubicBezTo>
                  <a:pt x="356889" y="34007"/>
                  <a:pt x="354417" y="114409"/>
                  <a:pt x="353179" y="204704"/>
                </a:cubicBezTo>
                <a:cubicBezTo>
                  <a:pt x="349469" y="243049"/>
                  <a:pt x="338335" y="262841"/>
                  <a:pt x="330913" y="311082"/>
                </a:cubicBezTo>
                <a:cubicBezTo>
                  <a:pt x="309887" y="457039"/>
                  <a:pt x="236906" y="505280"/>
                  <a:pt x="199799" y="602998"/>
                </a:cubicBezTo>
                <a:cubicBezTo>
                  <a:pt x="177535" y="659897"/>
                  <a:pt x="182481" y="729165"/>
                  <a:pt x="182481" y="729165"/>
                </a:cubicBezTo>
                <a:cubicBezTo>
                  <a:pt x="182481" y="729165"/>
                  <a:pt x="180009" y="698242"/>
                  <a:pt x="241855" y="606709"/>
                </a:cubicBezTo>
                <a:cubicBezTo>
                  <a:pt x="267830" y="567126"/>
                  <a:pt x="318545" y="518885"/>
                  <a:pt x="354416" y="442197"/>
                </a:cubicBezTo>
                <a:cubicBezTo>
                  <a:pt x="355652" y="453328"/>
                  <a:pt x="356890" y="461987"/>
                  <a:pt x="358126" y="468171"/>
                </a:cubicBezTo>
                <a:cubicBezTo>
                  <a:pt x="374207" y="533730"/>
                  <a:pt x="495427" y="847911"/>
                  <a:pt x="510269" y="1039635"/>
                </a:cubicBezTo>
                <a:lnTo>
                  <a:pt x="513448" y="1100522"/>
                </a:lnTo>
                <a:lnTo>
                  <a:pt x="150696" y="1305203"/>
                </a:lnTo>
                <a:lnTo>
                  <a:pt x="134242" y="1158380"/>
                </a:lnTo>
                <a:cubicBezTo>
                  <a:pt x="116926" y="970365"/>
                  <a:pt x="165164" y="798433"/>
                  <a:pt x="130530" y="630210"/>
                </a:cubicBezTo>
                <a:cubicBezTo>
                  <a:pt x="100844" y="486726"/>
                  <a:pt x="11786" y="125541"/>
                  <a:pt x="11786" y="125541"/>
                </a:cubicBezTo>
                <a:cubicBezTo>
                  <a:pt x="11786" y="125541"/>
                  <a:pt x="-22849" y="66168"/>
                  <a:pt x="26629" y="48852"/>
                </a:cubicBezTo>
                <a:cubicBezTo>
                  <a:pt x="76106" y="31535"/>
                  <a:pt x="313597" y="8032"/>
                  <a:pt x="313597" y="8032"/>
                </a:cubicBezTo>
                <a:cubicBezTo>
                  <a:pt x="313597" y="8032"/>
                  <a:pt x="335166" y="-5187"/>
                  <a:pt x="347516" y="2293"/>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18" name="Freeform: Shape 17">
            <a:extLst>
              <a:ext uri="{FF2B5EF4-FFF2-40B4-BE49-F238E27FC236}">
                <a16:creationId xmlns:a16="http://schemas.microsoft.com/office/drawing/2014/main" id="{6DFA9B83-1470-948C-8AA3-321B68C4304B}"/>
              </a:ext>
            </a:extLst>
          </p:cNvPr>
          <p:cNvSpPr/>
          <p:nvPr userDrawn="1"/>
        </p:nvSpPr>
        <p:spPr>
          <a:xfrm rot="17873927">
            <a:off x="11585177" y="1664989"/>
            <a:ext cx="584275" cy="1093123"/>
          </a:xfrm>
          <a:custGeom>
            <a:avLst/>
            <a:gdLst>
              <a:gd name="connsiteX0" fmla="*/ 66366 w 584275"/>
              <a:gd name="connsiteY0" fmla="*/ 1022165 h 1093123"/>
              <a:gd name="connsiteX1" fmla="*/ 62826 w 584275"/>
              <a:gd name="connsiteY1" fmla="*/ 1024039 h 1093123"/>
              <a:gd name="connsiteX2" fmla="*/ 86143 w 584275"/>
              <a:gd name="connsiteY2" fmla="*/ 1068080 h 1093123"/>
              <a:gd name="connsiteX3" fmla="*/ 0 w 584275"/>
              <a:gd name="connsiteY3" fmla="*/ 1093123 h 1093123"/>
              <a:gd name="connsiteX4" fmla="*/ 46181 w 584275"/>
              <a:gd name="connsiteY4" fmla="*/ 998309 h 1093123"/>
              <a:gd name="connsiteX5" fmla="*/ 578096 w 584275"/>
              <a:gd name="connsiteY5" fmla="*/ 110991 h 1093123"/>
              <a:gd name="connsiteX6" fmla="*/ 584247 w 584275"/>
              <a:gd name="connsiteY6" fmla="*/ 129982 h 1093123"/>
              <a:gd name="connsiteX7" fmla="*/ 496425 w 584275"/>
              <a:gd name="connsiteY7" fmla="*/ 293259 h 1093123"/>
              <a:gd name="connsiteX8" fmla="*/ 425919 w 584275"/>
              <a:gd name="connsiteY8" fmla="*/ 455295 h 1093123"/>
              <a:gd name="connsiteX9" fmla="*/ 408602 w 584275"/>
              <a:gd name="connsiteY9" fmla="*/ 754635 h 1093123"/>
              <a:gd name="connsiteX10" fmla="*/ 388519 w 584275"/>
              <a:gd name="connsiteY10" fmla="*/ 821398 h 1093123"/>
              <a:gd name="connsiteX11" fmla="*/ 377401 w 584275"/>
              <a:gd name="connsiteY11" fmla="*/ 857489 h 1093123"/>
              <a:gd name="connsiteX12" fmla="*/ 126165 w 584275"/>
              <a:gd name="connsiteY12" fmla="*/ 990505 h 1093123"/>
              <a:gd name="connsiteX13" fmla="*/ 112975 w 584275"/>
              <a:gd name="connsiteY13" fmla="*/ 967385 h 1093123"/>
              <a:gd name="connsiteX14" fmla="*/ 82051 w 584275"/>
              <a:gd name="connsiteY14" fmla="*/ 832561 h 1093123"/>
              <a:gd name="connsiteX15" fmla="*/ 114212 w 584275"/>
              <a:gd name="connsiteY15" fmla="*/ 444163 h 1093123"/>
              <a:gd name="connsiteX16" fmla="*/ 203271 w 584275"/>
              <a:gd name="connsiteY16" fmla="*/ 214093 h 1093123"/>
              <a:gd name="connsiteX17" fmla="*/ 268829 w 584275"/>
              <a:gd name="connsiteY17" fmla="*/ 266045 h 1093123"/>
              <a:gd name="connsiteX18" fmla="*/ 406128 w 584275"/>
              <a:gd name="connsiteY18" fmla="*/ 419425 h 1093123"/>
              <a:gd name="connsiteX19" fmla="*/ 377680 w 584275"/>
              <a:gd name="connsiteY19" fmla="*/ 334076 h 1093123"/>
              <a:gd name="connsiteX20" fmla="*/ 275013 w 584275"/>
              <a:gd name="connsiteY20" fmla="*/ 204198 h 1093123"/>
              <a:gd name="connsiteX21" fmla="*/ 235431 w 584275"/>
              <a:gd name="connsiteY21" fmla="*/ 61950 h 1093123"/>
              <a:gd name="connsiteX22" fmla="*/ 251434 w 584275"/>
              <a:gd name="connsiteY22" fmla="*/ 5592 h 1093123"/>
              <a:gd name="connsiteX23" fmla="*/ 276251 w 584275"/>
              <a:gd name="connsiteY23" fmla="*/ 104 h 1093123"/>
              <a:gd name="connsiteX24" fmla="*/ 422209 w 584275"/>
              <a:gd name="connsiteY24" fmla="*/ 43397 h 1093123"/>
              <a:gd name="connsiteX25" fmla="*/ 578096 w 584275"/>
              <a:gd name="connsiteY25" fmla="*/ 110991 h 109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4275" h="1093123">
                <a:moveTo>
                  <a:pt x="66366" y="1022165"/>
                </a:moveTo>
                <a:lnTo>
                  <a:pt x="62826" y="1024039"/>
                </a:lnTo>
                <a:lnTo>
                  <a:pt x="86143" y="1068080"/>
                </a:lnTo>
                <a:lnTo>
                  <a:pt x="0" y="1093123"/>
                </a:lnTo>
                <a:lnTo>
                  <a:pt x="46181" y="998309"/>
                </a:lnTo>
                <a:close/>
                <a:moveTo>
                  <a:pt x="578096" y="110991"/>
                </a:moveTo>
                <a:cubicBezTo>
                  <a:pt x="582295" y="116994"/>
                  <a:pt x="584556" y="123334"/>
                  <a:pt x="584247" y="129982"/>
                </a:cubicBezTo>
                <a:cubicBezTo>
                  <a:pt x="583010" y="149773"/>
                  <a:pt x="529821" y="231411"/>
                  <a:pt x="496425" y="293259"/>
                </a:cubicBezTo>
                <a:cubicBezTo>
                  <a:pt x="460553" y="360053"/>
                  <a:pt x="425919" y="455295"/>
                  <a:pt x="425919" y="455295"/>
                </a:cubicBezTo>
                <a:cubicBezTo>
                  <a:pt x="425919" y="455295"/>
                  <a:pt x="442000" y="639599"/>
                  <a:pt x="408602" y="754635"/>
                </a:cubicBezTo>
                <a:cubicBezTo>
                  <a:pt x="403191" y="773035"/>
                  <a:pt x="396349" y="795744"/>
                  <a:pt x="388519" y="821398"/>
                </a:cubicBezTo>
                <a:lnTo>
                  <a:pt x="377401" y="857489"/>
                </a:lnTo>
                <a:lnTo>
                  <a:pt x="126165" y="990505"/>
                </a:lnTo>
                <a:lnTo>
                  <a:pt x="112975" y="967385"/>
                </a:lnTo>
                <a:cubicBezTo>
                  <a:pt x="95659" y="938938"/>
                  <a:pt x="86999" y="889460"/>
                  <a:pt x="82051" y="832561"/>
                </a:cubicBezTo>
                <a:cubicBezTo>
                  <a:pt x="70920" y="611151"/>
                  <a:pt x="114212" y="444163"/>
                  <a:pt x="114212" y="444163"/>
                </a:cubicBezTo>
                <a:cubicBezTo>
                  <a:pt x="114212" y="444163"/>
                  <a:pt x="161215" y="298205"/>
                  <a:pt x="203271" y="214093"/>
                </a:cubicBezTo>
                <a:cubicBezTo>
                  <a:pt x="223063" y="232647"/>
                  <a:pt x="245327" y="251202"/>
                  <a:pt x="268829" y="266045"/>
                </a:cubicBezTo>
                <a:cubicBezTo>
                  <a:pt x="343045" y="313049"/>
                  <a:pt x="406128" y="419425"/>
                  <a:pt x="406128" y="419425"/>
                </a:cubicBezTo>
                <a:cubicBezTo>
                  <a:pt x="406128" y="419425"/>
                  <a:pt x="403654" y="378605"/>
                  <a:pt x="377680" y="334076"/>
                </a:cubicBezTo>
                <a:cubicBezTo>
                  <a:pt x="351703" y="289547"/>
                  <a:pt x="347993" y="289546"/>
                  <a:pt x="275013" y="204198"/>
                </a:cubicBezTo>
                <a:cubicBezTo>
                  <a:pt x="231720" y="152247"/>
                  <a:pt x="223063" y="107718"/>
                  <a:pt x="235431" y="61950"/>
                </a:cubicBezTo>
                <a:cubicBezTo>
                  <a:pt x="240070" y="45252"/>
                  <a:pt x="234967" y="17421"/>
                  <a:pt x="251434" y="5592"/>
                </a:cubicBezTo>
                <a:cubicBezTo>
                  <a:pt x="256924" y="1650"/>
                  <a:pt x="264809" y="-515"/>
                  <a:pt x="276251" y="104"/>
                </a:cubicBezTo>
                <a:cubicBezTo>
                  <a:pt x="322017" y="2578"/>
                  <a:pt x="422209" y="43397"/>
                  <a:pt x="422209" y="43397"/>
                </a:cubicBezTo>
                <a:cubicBezTo>
                  <a:pt x="424374" y="43398"/>
                  <a:pt x="548704" y="68967"/>
                  <a:pt x="578096" y="110991"/>
                </a:cubicBezTo>
                <a:close/>
              </a:path>
            </a:pathLst>
          </a:custGeom>
          <a:solidFill>
            <a:schemeClr val="accent5">
              <a:alpha val="68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Tree>
    <p:extLst>
      <p:ext uri="{BB962C8B-B14F-4D97-AF65-F5344CB8AC3E}">
        <p14:creationId xmlns:p14="http://schemas.microsoft.com/office/powerpoint/2010/main" val="2919605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Cover Slide 2">
    <p:bg>
      <p:bgPr>
        <a:solidFill>
          <a:schemeClr val="tx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91EA2B79-D4B2-9EED-89DB-3F6B108C91B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898893" y="815155"/>
            <a:ext cx="4849045" cy="4849045"/>
          </a:xfrm>
          <a:prstGeom prst="rect">
            <a:avLst/>
          </a:prstGeom>
        </p:spPr>
      </p:pic>
      <p:sp>
        <p:nvSpPr>
          <p:cNvPr id="4" name="Text Placeholder 41">
            <a:extLst>
              <a:ext uri="{FF2B5EF4-FFF2-40B4-BE49-F238E27FC236}">
                <a16:creationId xmlns:a16="http://schemas.microsoft.com/office/drawing/2014/main" id="{D235DA2E-6839-79F8-77DF-27E81B80EE92}"/>
              </a:ext>
            </a:extLst>
          </p:cNvPr>
          <p:cNvSpPr>
            <a:spLocks noGrp="1"/>
          </p:cNvSpPr>
          <p:nvPr>
            <p:ph type="body" sz="quarter" idx="12" hasCustomPrompt="1"/>
          </p:nvPr>
        </p:nvSpPr>
        <p:spPr>
          <a:xfrm>
            <a:off x="361368" y="4441873"/>
            <a:ext cx="6908404" cy="450759"/>
          </a:xfrm>
        </p:spPr>
        <p:txBody>
          <a:bodyPr>
            <a:noAutofit/>
          </a:bodyPr>
          <a:lstStyle>
            <a:lvl1pPr marL="0" indent="0">
              <a:buNone/>
              <a:defRPr sz="2400" b="0" i="0">
                <a:solidFill>
                  <a:schemeClr val="bg1"/>
                </a:solidFill>
                <a:latin typeface="TT Norms Pro" panose="02000503030000020003" pitchFamily="2" charset="0"/>
              </a:defRPr>
            </a:lvl1pPr>
            <a:lvl2pPr marL="456742" indent="0">
              <a:buNone/>
              <a:defRPr/>
            </a:lvl2pPr>
            <a:lvl3pPr marL="913486" indent="0">
              <a:buNone/>
              <a:defRPr/>
            </a:lvl3pPr>
            <a:lvl4pPr marL="1370228" indent="0">
              <a:buNone/>
              <a:defRPr/>
            </a:lvl4pPr>
            <a:lvl5pPr marL="1826971" indent="0">
              <a:buNone/>
              <a:defRPr/>
            </a:lvl5pPr>
          </a:lstStyle>
          <a:p>
            <a:pPr lvl="0"/>
            <a:r>
              <a:rPr lang="en-US"/>
              <a:t>Subtitle / Date</a:t>
            </a:r>
            <a:endParaRPr lang="en-IN"/>
          </a:p>
        </p:txBody>
      </p:sp>
      <p:sp>
        <p:nvSpPr>
          <p:cNvPr id="5" name="Text Placeholder 38">
            <a:extLst>
              <a:ext uri="{FF2B5EF4-FFF2-40B4-BE49-F238E27FC236}">
                <a16:creationId xmlns:a16="http://schemas.microsoft.com/office/drawing/2014/main" id="{CFDFF5A1-D90E-219F-9059-C782999953A9}"/>
              </a:ext>
            </a:extLst>
          </p:cNvPr>
          <p:cNvSpPr>
            <a:spLocks noGrp="1"/>
          </p:cNvSpPr>
          <p:nvPr>
            <p:ph type="body" sz="quarter" idx="11" hasCustomPrompt="1"/>
          </p:nvPr>
        </p:nvSpPr>
        <p:spPr>
          <a:xfrm>
            <a:off x="365125" y="3057729"/>
            <a:ext cx="6908405" cy="1309205"/>
          </a:xfrm>
        </p:spPr>
        <p:txBody>
          <a:bodyPr wrap="square" lIns="0" tIns="0" rIns="0" bIns="0" anchor="b">
            <a:spAutoFit/>
          </a:bodyPr>
          <a:lstStyle>
            <a:lvl1pPr marL="0" indent="0">
              <a:lnSpc>
                <a:spcPct val="87000"/>
              </a:lnSpc>
              <a:buNone/>
              <a:defRPr sz="4800">
                <a:solidFill>
                  <a:schemeClr val="bg1"/>
                </a:solidFill>
                <a:latin typeface="+mj-lt"/>
              </a:defRPr>
            </a:lvl1pPr>
            <a:lvl2pPr marL="456742" indent="0">
              <a:buNone/>
              <a:defRPr/>
            </a:lvl2pPr>
            <a:lvl3pPr marL="913486" indent="0">
              <a:buNone/>
              <a:defRPr/>
            </a:lvl3pPr>
            <a:lvl4pPr marL="1370228" indent="0">
              <a:buNone/>
              <a:defRPr/>
            </a:lvl4pPr>
            <a:lvl5pPr marL="1826971" indent="0">
              <a:buNone/>
              <a:defRPr/>
            </a:lvl5pPr>
          </a:lstStyle>
          <a:p>
            <a:pPr lvl="0"/>
            <a:r>
              <a:rPr lang="en-US"/>
              <a:t>Presenter or Presentation Name</a:t>
            </a:r>
          </a:p>
        </p:txBody>
      </p:sp>
      <p:pic>
        <p:nvPicPr>
          <p:cNvPr id="6" name="Graphic 5">
            <a:extLst>
              <a:ext uri="{FF2B5EF4-FFF2-40B4-BE49-F238E27FC236}">
                <a16:creationId xmlns:a16="http://schemas.microsoft.com/office/drawing/2014/main" id="{29674687-8733-66C1-459B-C54AA53535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2247" y="816857"/>
            <a:ext cx="1728171" cy="487700"/>
          </a:xfrm>
          <a:prstGeom prst="rect">
            <a:avLst/>
          </a:prstGeom>
        </p:spPr>
      </p:pic>
      <p:pic>
        <p:nvPicPr>
          <p:cNvPr id="8" name="Google Shape;76;p1">
            <a:extLst>
              <a:ext uri="{FF2B5EF4-FFF2-40B4-BE49-F238E27FC236}">
                <a16:creationId xmlns:a16="http://schemas.microsoft.com/office/drawing/2014/main" id="{3DE56592-A34F-1F58-24CD-ED895312589D}"/>
              </a:ext>
            </a:extLst>
          </p:cNvPr>
          <p:cNvPicPr preferRelativeResize="0"/>
          <p:nvPr/>
        </p:nvPicPr>
        <p:blipFill rotWithShape="1">
          <a:blip r:embed="rId6">
            <a:alphaModFix/>
          </a:blip>
          <a:srcRect/>
          <a:stretch/>
        </p:blipFill>
        <p:spPr>
          <a:xfrm>
            <a:off x="7543800" y="1341038"/>
            <a:ext cx="4648200" cy="5516962"/>
          </a:xfrm>
          <a:prstGeom prst="rect">
            <a:avLst/>
          </a:prstGeom>
          <a:noFill/>
          <a:ln>
            <a:noFill/>
          </a:ln>
        </p:spPr>
      </p:pic>
      <p:pic>
        <p:nvPicPr>
          <p:cNvPr id="2" name="Graphic 1">
            <a:extLst>
              <a:ext uri="{FF2B5EF4-FFF2-40B4-BE49-F238E27FC236}">
                <a16:creationId xmlns:a16="http://schemas.microsoft.com/office/drawing/2014/main" id="{A620F112-F7BB-2C48-E561-7D350706FCE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98893" y="815155"/>
            <a:ext cx="4849045" cy="4849045"/>
          </a:xfrm>
          <a:prstGeom prst="rect">
            <a:avLst/>
          </a:prstGeom>
        </p:spPr>
      </p:pic>
      <p:pic>
        <p:nvPicPr>
          <p:cNvPr id="3" name="Graphic 2">
            <a:extLst>
              <a:ext uri="{FF2B5EF4-FFF2-40B4-BE49-F238E27FC236}">
                <a16:creationId xmlns:a16="http://schemas.microsoft.com/office/drawing/2014/main" id="{27F75F21-0169-A7C6-B74A-D8C65BFB50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2247" y="816857"/>
            <a:ext cx="1728171" cy="487700"/>
          </a:xfrm>
          <a:prstGeom prst="rect">
            <a:avLst/>
          </a:prstGeom>
        </p:spPr>
      </p:pic>
      <p:pic>
        <p:nvPicPr>
          <p:cNvPr id="7" name="Google Shape;76;p1">
            <a:extLst>
              <a:ext uri="{FF2B5EF4-FFF2-40B4-BE49-F238E27FC236}">
                <a16:creationId xmlns:a16="http://schemas.microsoft.com/office/drawing/2014/main" id="{A36E892D-A3F0-5FE1-A943-C39218C1AA86}"/>
              </a:ext>
            </a:extLst>
          </p:cNvPr>
          <p:cNvPicPr preferRelativeResize="0"/>
          <p:nvPr userDrawn="1"/>
        </p:nvPicPr>
        <p:blipFill rotWithShape="1">
          <a:blip r:embed="rId6">
            <a:alphaModFix/>
          </a:blip>
          <a:srcRect/>
          <a:stretch/>
        </p:blipFill>
        <p:spPr>
          <a:xfrm>
            <a:off x="7543800" y="1341038"/>
            <a:ext cx="4648200" cy="5516962"/>
          </a:xfrm>
          <a:prstGeom prst="rect">
            <a:avLst/>
          </a:prstGeom>
          <a:noFill/>
          <a:ln>
            <a:noFill/>
          </a:ln>
        </p:spPr>
      </p:pic>
    </p:spTree>
    <p:extLst>
      <p:ext uri="{BB962C8B-B14F-4D97-AF65-F5344CB8AC3E}">
        <p14:creationId xmlns:p14="http://schemas.microsoft.com/office/powerpoint/2010/main" val="5441762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Agenda 1">
    <p:bg>
      <p:bgPr>
        <a:solidFill>
          <a:schemeClr val="tx1"/>
        </a:solidFill>
        <a:effectLst/>
      </p:bgPr>
    </p:bg>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16A7D7C3-057E-A363-0F50-F3B156FC0252}"/>
              </a:ext>
            </a:extLst>
          </p:cNvPr>
          <p:cNvSpPr/>
          <p:nvPr/>
        </p:nvSpPr>
        <p:spPr>
          <a:xfrm>
            <a:off x="-2596" y="1"/>
            <a:ext cx="5109344" cy="4338431"/>
          </a:xfrm>
          <a:custGeom>
            <a:avLst/>
            <a:gdLst>
              <a:gd name="connsiteX0" fmla="*/ 0 w 5109344"/>
              <a:gd name="connsiteY0" fmla="*/ 0 h 4338431"/>
              <a:gd name="connsiteX1" fmla="*/ 4829954 w 5109344"/>
              <a:gd name="connsiteY1" fmla="*/ 0 h 4338431"/>
              <a:gd name="connsiteX2" fmla="*/ 4849083 w 5109344"/>
              <a:gd name="connsiteY2" fmla="*/ 7878 h 4338431"/>
              <a:gd name="connsiteX3" fmla="*/ 4956485 w 5109344"/>
              <a:gd name="connsiteY3" fmla="*/ 75315 h 4338431"/>
              <a:gd name="connsiteX4" fmla="*/ 4858928 w 5109344"/>
              <a:gd name="connsiteY4" fmla="*/ 311567 h 4338431"/>
              <a:gd name="connsiteX5" fmla="*/ 5057568 w 5109344"/>
              <a:gd name="connsiteY5" fmla="*/ 471419 h 4338431"/>
              <a:gd name="connsiteX6" fmla="*/ 4931801 w 5109344"/>
              <a:gd name="connsiteY6" fmla="*/ 693567 h 4338431"/>
              <a:gd name="connsiteX7" fmla="*/ 5109286 w 5109344"/>
              <a:gd name="connsiteY7" fmla="*/ 876927 h 4338431"/>
              <a:gd name="connsiteX8" fmla="*/ 4956485 w 5109344"/>
              <a:gd name="connsiteY8" fmla="*/ 1081443 h 4338431"/>
              <a:gd name="connsiteX9" fmla="*/ 5108110 w 5109344"/>
              <a:gd name="connsiteY9" fmla="*/ 1285960 h 4338431"/>
              <a:gd name="connsiteX10" fmla="*/ 4930626 w 5109344"/>
              <a:gd name="connsiteY10" fmla="*/ 1469320 h 4338431"/>
              <a:gd name="connsiteX11" fmla="*/ 5056393 w 5109344"/>
              <a:gd name="connsiteY11" fmla="*/ 1691467 h 4338431"/>
              <a:gd name="connsiteX12" fmla="*/ 4857752 w 5109344"/>
              <a:gd name="connsiteY12" fmla="*/ 1851320 h 4338431"/>
              <a:gd name="connsiteX13" fmla="*/ 4955309 w 5109344"/>
              <a:gd name="connsiteY13" fmla="*/ 2087572 h 4338431"/>
              <a:gd name="connsiteX14" fmla="*/ 4737862 w 5109344"/>
              <a:gd name="connsiteY14" fmla="*/ 2221565 h 4338431"/>
              <a:gd name="connsiteX15" fmla="*/ 4804859 w 5109344"/>
              <a:gd name="connsiteY15" fmla="*/ 2468396 h 4338431"/>
              <a:gd name="connsiteX16" fmla="*/ 4572132 w 5109344"/>
              <a:gd name="connsiteY16" fmla="*/ 2574180 h 4338431"/>
              <a:gd name="connsiteX17" fmla="*/ 4607394 w 5109344"/>
              <a:gd name="connsiteY17" fmla="*/ 2826888 h 4338431"/>
              <a:gd name="connsiteX18" fmla="*/ 4364088 w 5109344"/>
              <a:gd name="connsiteY18" fmla="*/ 2902112 h 4338431"/>
              <a:gd name="connsiteX19" fmla="*/ 4367614 w 5109344"/>
              <a:gd name="connsiteY19" fmla="*/ 3157171 h 4338431"/>
              <a:gd name="connsiteX20" fmla="*/ 4116080 w 5109344"/>
              <a:gd name="connsiteY20" fmla="*/ 3201835 h 4338431"/>
              <a:gd name="connsiteX21" fmla="*/ 4087871 w 5109344"/>
              <a:gd name="connsiteY21" fmla="*/ 3455718 h 4338431"/>
              <a:gd name="connsiteX22" fmla="*/ 3832811 w 5109344"/>
              <a:gd name="connsiteY22" fmla="*/ 3468647 h 4338431"/>
              <a:gd name="connsiteX23" fmla="*/ 3772866 w 5109344"/>
              <a:gd name="connsiteY23" fmla="*/ 3716653 h 4338431"/>
              <a:gd name="connsiteX24" fmla="*/ 3518982 w 5109344"/>
              <a:gd name="connsiteY24" fmla="*/ 3697847 h 4338431"/>
              <a:gd name="connsiteX25" fmla="*/ 3428477 w 5109344"/>
              <a:gd name="connsiteY25" fmla="*/ 3936450 h 4338431"/>
              <a:gd name="connsiteX26" fmla="*/ 3178118 w 5109344"/>
              <a:gd name="connsiteY26" fmla="*/ 3885908 h 4338431"/>
              <a:gd name="connsiteX27" fmla="*/ 3058229 w 5109344"/>
              <a:gd name="connsiteY27" fmla="*/ 4111582 h 4338431"/>
              <a:gd name="connsiteX28" fmla="*/ 2816098 w 5109344"/>
              <a:gd name="connsiteY28" fmla="*/ 4029305 h 4338431"/>
              <a:gd name="connsiteX29" fmla="*/ 2669174 w 5109344"/>
              <a:gd name="connsiteY29" fmla="*/ 4237348 h 4338431"/>
              <a:gd name="connsiteX30" fmla="*/ 2439973 w 5109344"/>
              <a:gd name="connsiteY30" fmla="*/ 4125687 h 4338431"/>
              <a:gd name="connsiteX31" fmla="*/ 2267191 w 5109344"/>
              <a:gd name="connsiteY31" fmla="*/ 4313748 h 4338431"/>
              <a:gd name="connsiteX32" fmla="*/ 2053270 w 5109344"/>
              <a:gd name="connsiteY32" fmla="*/ 4173877 h 4338431"/>
              <a:gd name="connsiteX33" fmla="*/ 1859330 w 5109344"/>
              <a:gd name="connsiteY33" fmla="*/ 4338431 h 4338431"/>
              <a:gd name="connsiteX34" fmla="*/ 1665391 w 5109344"/>
              <a:gd name="connsiteY34" fmla="*/ 4173877 h 4338431"/>
              <a:gd name="connsiteX35" fmla="*/ 1451469 w 5109344"/>
              <a:gd name="connsiteY35" fmla="*/ 4313748 h 4338431"/>
              <a:gd name="connsiteX36" fmla="*/ 1278687 w 5109344"/>
              <a:gd name="connsiteY36" fmla="*/ 4125687 h 4338431"/>
              <a:gd name="connsiteX37" fmla="*/ 1049486 w 5109344"/>
              <a:gd name="connsiteY37" fmla="*/ 4237348 h 4338431"/>
              <a:gd name="connsiteX38" fmla="*/ 902562 w 5109344"/>
              <a:gd name="connsiteY38" fmla="*/ 4029305 h 4338431"/>
              <a:gd name="connsiteX39" fmla="*/ 661607 w 5109344"/>
              <a:gd name="connsiteY39" fmla="*/ 4111582 h 4338431"/>
              <a:gd name="connsiteX40" fmla="*/ 541717 w 5109344"/>
              <a:gd name="connsiteY40" fmla="*/ 3885908 h 4338431"/>
              <a:gd name="connsiteX41" fmla="*/ 291359 w 5109344"/>
              <a:gd name="connsiteY41" fmla="*/ 3936450 h 4338431"/>
              <a:gd name="connsiteX42" fmla="*/ 200854 w 5109344"/>
              <a:gd name="connsiteY42" fmla="*/ 3697847 h 4338431"/>
              <a:gd name="connsiteX43" fmla="*/ 1680 w 5109344"/>
              <a:gd name="connsiteY43" fmla="*/ 3724954 h 4338431"/>
              <a:gd name="connsiteX44" fmla="*/ 0 w 5109344"/>
              <a:gd name="connsiteY44" fmla="*/ 3724983 h 4338431"/>
              <a:gd name="connsiteX45" fmla="*/ 0 w 5109344"/>
              <a:gd name="connsiteY45" fmla="*/ 0 h 43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109344" h="4338431">
                <a:moveTo>
                  <a:pt x="0" y="0"/>
                </a:moveTo>
                <a:lnTo>
                  <a:pt x="4829954" y="0"/>
                </a:lnTo>
                <a:lnTo>
                  <a:pt x="4849083" y="7878"/>
                </a:lnTo>
                <a:cubicBezTo>
                  <a:pt x="4897715" y="25656"/>
                  <a:pt x="4945907" y="43580"/>
                  <a:pt x="4956485" y="75315"/>
                </a:cubicBezTo>
                <a:cubicBezTo>
                  <a:pt x="4976467" y="138786"/>
                  <a:pt x="4842472" y="246921"/>
                  <a:pt x="4858928" y="311567"/>
                </a:cubicBezTo>
                <a:cubicBezTo>
                  <a:pt x="4875383" y="375038"/>
                  <a:pt x="5044639" y="405598"/>
                  <a:pt x="5057568" y="471419"/>
                </a:cubicBezTo>
                <a:cubicBezTo>
                  <a:pt x="5070498" y="537241"/>
                  <a:pt x="4923574" y="627746"/>
                  <a:pt x="4931801" y="693567"/>
                </a:cubicBezTo>
                <a:cubicBezTo>
                  <a:pt x="4940029" y="758213"/>
                  <a:pt x="5104584" y="809930"/>
                  <a:pt x="5109286" y="876927"/>
                </a:cubicBezTo>
                <a:cubicBezTo>
                  <a:pt x="5112812" y="942748"/>
                  <a:pt x="4956485" y="1014447"/>
                  <a:pt x="4956485" y="1081443"/>
                </a:cubicBezTo>
                <a:cubicBezTo>
                  <a:pt x="4956485" y="1148440"/>
                  <a:pt x="5112812" y="1218963"/>
                  <a:pt x="5108110" y="1285960"/>
                </a:cubicBezTo>
                <a:cubicBezTo>
                  <a:pt x="5103409" y="1351782"/>
                  <a:pt x="4938854" y="1403498"/>
                  <a:pt x="4930626" y="1469320"/>
                </a:cubicBezTo>
                <a:cubicBezTo>
                  <a:pt x="4922398" y="1536317"/>
                  <a:pt x="5068147" y="1626821"/>
                  <a:pt x="5056393" y="1691467"/>
                </a:cubicBezTo>
                <a:cubicBezTo>
                  <a:pt x="5043463" y="1757289"/>
                  <a:pt x="4874207" y="1786673"/>
                  <a:pt x="4857752" y="1851320"/>
                </a:cubicBezTo>
                <a:cubicBezTo>
                  <a:pt x="4841297" y="1915966"/>
                  <a:pt x="4975291" y="2024101"/>
                  <a:pt x="4955309" y="2087572"/>
                </a:cubicBezTo>
                <a:cubicBezTo>
                  <a:pt x="4934152" y="2151042"/>
                  <a:pt x="4762545" y="2160446"/>
                  <a:pt x="4737862" y="2221565"/>
                </a:cubicBezTo>
                <a:cubicBezTo>
                  <a:pt x="4713179" y="2283861"/>
                  <a:pt x="4833069" y="2408451"/>
                  <a:pt x="4804859" y="2468396"/>
                </a:cubicBezTo>
                <a:cubicBezTo>
                  <a:pt x="4775474" y="2529516"/>
                  <a:pt x="4603868" y="2516587"/>
                  <a:pt x="4572132" y="2574180"/>
                </a:cubicBezTo>
                <a:cubicBezTo>
                  <a:pt x="4540396" y="2632950"/>
                  <a:pt x="4642655" y="2770470"/>
                  <a:pt x="4607394" y="2826888"/>
                </a:cubicBezTo>
                <a:cubicBezTo>
                  <a:pt x="4572132" y="2883306"/>
                  <a:pt x="4402876" y="2848045"/>
                  <a:pt x="4364088" y="2902112"/>
                </a:cubicBezTo>
                <a:cubicBezTo>
                  <a:pt x="4325300" y="2956180"/>
                  <a:pt x="4409928" y="3105454"/>
                  <a:pt x="4367614" y="3157171"/>
                </a:cubicBezTo>
                <a:cubicBezTo>
                  <a:pt x="4325300" y="3208887"/>
                  <a:pt x="4161921" y="3153645"/>
                  <a:pt x="4116080" y="3201835"/>
                </a:cubicBezTo>
                <a:cubicBezTo>
                  <a:pt x="4071415" y="3251201"/>
                  <a:pt x="4136062" y="3409878"/>
                  <a:pt x="4087871" y="3455718"/>
                </a:cubicBezTo>
                <a:cubicBezTo>
                  <a:pt x="4039680" y="3501558"/>
                  <a:pt x="3884528" y="3426333"/>
                  <a:pt x="3832811" y="3468647"/>
                </a:cubicBezTo>
                <a:cubicBezTo>
                  <a:pt x="3781094" y="3510961"/>
                  <a:pt x="3826934" y="3677865"/>
                  <a:pt x="3772866" y="3716653"/>
                </a:cubicBezTo>
                <a:cubicBezTo>
                  <a:pt x="3719974" y="3756616"/>
                  <a:pt x="3575401" y="3662585"/>
                  <a:pt x="3518982" y="3697847"/>
                </a:cubicBezTo>
                <a:cubicBezTo>
                  <a:pt x="3462563" y="3733108"/>
                  <a:pt x="3487246" y="3904714"/>
                  <a:pt x="3428477" y="3936450"/>
                </a:cubicBezTo>
                <a:cubicBezTo>
                  <a:pt x="3369707" y="3969360"/>
                  <a:pt x="3238063" y="3857699"/>
                  <a:pt x="3178118" y="3885908"/>
                </a:cubicBezTo>
                <a:cubicBezTo>
                  <a:pt x="3118173" y="3914118"/>
                  <a:pt x="3120524" y="4086899"/>
                  <a:pt x="3058229" y="4111582"/>
                </a:cubicBezTo>
                <a:cubicBezTo>
                  <a:pt x="2995933" y="4136265"/>
                  <a:pt x="2879569" y="4008148"/>
                  <a:pt x="2816098" y="4029305"/>
                </a:cubicBezTo>
                <a:cubicBezTo>
                  <a:pt x="2753802" y="4049287"/>
                  <a:pt x="2733821" y="4220893"/>
                  <a:pt x="2669174" y="4237348"/>
                </a:cubicBezTo>
                <a:cubicBezTo>
                  <a:pt x="2604528" y="4253803"/>
                  <a:pt x="2505795" y="4112757"/>
                  <a:pt x="2439973" y="4125687"/>
                </a:cubicBezTo>
                <a:cubicBezTo>
                  <a:pt x="2374151" y="4137441"/>
                  <a:pt x="2333013" y="4305520"/>
                  <a:pt x="2267191" y="4313748"/>
                </a:cubicBezTo>
                <a:cubicBezTo>
                  <a:pt x="2201369" y="4321975"/>
                  <a:pt x="2120267" y="4169175"/>
                  <a:pt x="2053270" y="4173877"/>
                </a:cubicBezTo>
                <a:cubicBezTo>
                  <a:pt x="1987448" y="4177403"/>
                  <a:pt x="1926327" y="4338431"/>
                  <a:pt x="1859330" y="4338431"/>
                </a:cubicBezTo>
                <a:cubicBezTo>
                  <a:pt x="1792333" y="4338431"/>
                  <a:pt x="1731212" y="4177403"/>
                  <a:pt x="1665391" y="4173877"/>
                </a:cubicBezTo>
                <a:cubicBezTo>
                  <a:pt x="1598393" y="4170351"/>
                  <a:pt x="1517291" y="4321975"/>
                  <a:pt x="1451469" y="4313748"/>
                </a:cubicBezTo>
                <a:cubicBezTo>
                  <a:pt x="1384472" y="4305520"/>
                  <a:pt x="1343334" y="4137441"/>
                  <a:pt x="1278687" y="4125687"/>
                </a:cubicBezTo>
                <a:cubicBezTo>
                  <a:pt x="1212865" y="4112757"/>
                  <a:pt x="1114132" y="4253803"/>
                  <a:pt x="1049486" y="4237348"/>
                </a:cubicBezTo>
                <a:cubicBezTo>
                  <a:pt x="984839" y="4220893"/>
                  <a:pt x="966033" y="4049287"/>
                  <a:pt x="902562" y="4029305"/>
                </a:cubicBezTo>
                <a:cubicBezTo>
                  <a:pt x="840266" y="4009324"/>
                  <a:pt x="722727" y="4136265"/>
                  <a:pt x="661607" y="4111582"/>
                </a:cubicBezTo>
                <a:cubicBezTo>
                  <a:pt x="599311" y="4086899"/>
                  <a:pt x="601662" y="3914118"/>
                  <a:pt x="541717" y="3885908"/>
                </a:cubicBezTo>
                <a:cubicBezTo>
                  <a:pt x="480597" y="3856524"/>
                  <a:pt x="348953" y="3968185"/>
                  <a:pt x="291359" y="3936450"/>
                </a:cubicBezTo>
                <a:cubicBezTo>
                  <a:pt x="232589" y="3904714"/>
                  <a:pt x="257272" y="3733108"/>
                  <a:pt x="200854" y="3697847"/>
                </a:cubicBezTo>
                <a:cubicBezTo>
                  <a:pt x="159421" y="3670519"/>
                  <a:pt x="67740" y="3716580"/>
                  <a:pt x="1680" y="3724954"/>
                </a:cubicBezTo>
                <a:lnTo>
                  <a:pt x="0" y="3724983"/>
                </a:lnTo>
                <a:lnTo>
                  <a:pt x="0" y="0"/>
                </a:lnTo>
                <a:close/>
              </a:path>
            </a:pathLst>
          </a:custGeom>
          <a:solidFill>
            <a:schemeClr val="accent6"/>
          </a:solidFill>
          <a:ln w="9732" cap="flat">
            <a:noFill/>
            <a:prstDash val="solid"/>
            <a:miter/>
          </a:ln>
        </p:spPr>
        <p:txBody>
          <a:bodyPr rtlCol="0" anchor="ctr"/>
          <a:lstStyle/>
          <a:p>
            <a:endParaRPr lang="en-US"/>
          </a:p>
        </p:txBody>
      </p:sp>
      <p:sp>
        <p:nvSpPr>
          <p:cNvPr id="7" name="Title 6">
            <a:extLst>
              <a:ext uri="{FF2B5EF4-FFF2-40B4-BE49-F238E27FC236}">
                <a16:creationId xmlns:a16="http://schemas.microsoft.com/office/drawing/2014/main" id="{98B836A2-17FE-FF85-8089-4B9700D211A0}"/>
              </a:ext>
            </a:extLst>
          </p:cNvPr>
          <p:cNvSpPr>
            <a:spLocks noGrp="1"/>
          </p:cNvSpPr>
          <p:nvPr>
            <p:ph type="title" hasCustomPrompt="1"/>
          </p:nvPr>
        </p:nvSpPr>
        <p:spPr>
          <a:xfrm>
            <a:off x="232756" y="739027"/>
            <a:ext cx="5386648" cy="2234458"/>
          </a:xfrm>
        </p:spPr>
        <p:txBody>
          <a:bodyPr vert="horz" wrap="square" lIns="0" tIns="0" rIns="0" bIns="0" rtlCol="0" anchor="ctr" anchorCtr="0">
            <a:spAutoFit/>
            <a:scene3d>
              <a:camera prst="isometricOffAxis1Right"/>
              <a:lightRig rig="threePt" dir="t"/>
            </a:scene3d>
          </a:bodyPr>
          <a:lstStyle>
            <a:lvl1pPr>
              <a:defRPr kumimoji="0" lang="en-US" sz="8800" u="none" strike="noStrike" cap="none" spc="0" normalizeH="0" baseline="0" dirty="0">
                <a:ln>
                  <a:noFill/>
                </a:ln>
                <a:solidFill>
                  <a:schemeClr val="bg1"/>
                </a:solidFill>
                <a:effectLst/>
                <a:uLnTx/>
                <a:uFillTx/>
                <a:latin typeface="Gazpacho Bold"/>
                <a:ea typeface="+mn-ea"/>
                <a:cs typeface="+mn-cs"/>
              </a:defRPr>
            </a:lvl1pPr>
          </a:lstStyle>
          <a:p>
            <a:pPr lvl="0">
              <a:lnSpc>
                <a:spcPct val="80000"/>
              </a:lnSpc>
            </a:pPr>
            <a:r>
              <a:rPr lang="en-US"/>
              <a:t>today’s</a:t>
            </a:r>
            <a:br>
              <a:rPr lang="en-US"/>
            </a:br>
            <a:r>
              <a:rPr lang="en-US"/>
              <a:t>agenda</a:t>
            </a:r>
          </a:p>
        </p:txBody>
      </p:sp>
      <p:sp>
        <p:nvSpPr>
          <p:cNvPr id="4" name="Slide Number Placeholder 5">
            <a:extLst>
              <a:ext uri="{FF2B5EF4-FFF2-40B4-BE49-F238E27FC236}">
                <a16:creationId xmlns:a16="http://schemas.microsoft.com/office/drawing/2014/main" id="{2922B323-DBBE-C3CB-B9E5-EAC3197B5275}"/>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bg1"/>
                </a:solidFill>
                <a:latin typeface="Gazpacho Light" pitchFamily="2" charset="77"/>
              </a:defRPr>
            </a:lvl1pPr>
          </a:lstStyle>
          <a:p>
            <a:fld id="{1C897F9F-178E-40FE-BBF0-CD11DAF3CBDC}" type="slidenum">
              <a:rPr lang="en-IN" smtClean="0"/>
              <a:pPr/>
              <a:t>‹#›</a:t>
            </a:fld>
            <a:endParaRPr lang="en-IN"/>
          </a:p>
        </p:txBody>
      </p:sp>
      <p:sp>
        <p:nvSpPr>
          <p:cNvPr id="2" name="Freeform 2">
            <a:extLst>
              <a:ext uri="{FF2B5EF4-FFF2-40B4-BE49-F238E27FC236}">
                <a16:creationId xmlns:a16="http://schemas.microsoft.com/office/drawing/2014/main" id="{4A51BFAC-DCC0-D6E9-F017-8F6F59BBAA5E}"/>
              </a:ext>
            </a:extLst>
          </p:cNvPr>
          <p:cNvSpPr/>
          <p:nvPr userDrawn="1"/>
        </p:nvSpPr>
        <p:spPr>
          <a:xfrm>
            <a:off x="-2596" y="1"/>
            <a:ext cx="5109344" cy="4338431"/>
          </a:xfrm>
          <a:custGeom>
            <a:avLst/>
            <a:gdLst>
              <a:gd name="connsiteX0" fmla="*/ 0 w 5109344"/>
              <a:gd name="connsiteY0" fmla="*/ 0 h 4338431"/>
              <a:gd name="connsiteX1" fmla="*/ 4829954 w 5109344"/>
              <a:gd name="connsiteY1" fmla="*/ 0 h 4338431"/>
              <a:gd name="connsiteX2" fmla="*/ 4849083 w 5109344"/>
              <a:gd name="connsiteY2" fmla="*/ 7878 h 4338431"/>
              <a:gd name="connsiteX3" fmla="*/ 4956485 w 5109344"/>
              <a:gd name="connsiteY3" fmla="*/ 75315 h 4338431"/>
              <a:gd name="connsiteX4" fmla="*/ 4858928 w 5109344"/>
              <a:gd name="connsiteY4" fmla="*/ 311567 h 4338431"/>
              <a:gd name="connsiteX5" fmla="*/ 5057568 w 5109344"/>
              <a:gd name="connsiteY5" fmla="*/ 471419 h 4338431"/>
              <a:gd name="connsiteX6" fmla="*/ 4931801 w 5109344"/>
              <a:gd name="connsiteY6" fmla="*/ 693567 h 4338431"/>
              <a:gd name="connsiteX7" fmla="*/ 5109286 w 5109344"/>
              <a:gd name="connsiteY7" fmla="*/ 876927 h 4338431"/>
              <a:gd name="connsiteX8" fmla="*/ 4956485 w 5109344"/>
              <a:gd name="connsiteY8" fmla="*/ 1081443 h 4338431"/>
              <a:gd name="connsiteX9" fmla="*/ 5108110 w 5109344"/>
              <a:gd name="connsiteY9" fmla="*/ 1285960 h 4338431"/>
              <a:gd name="connsiteX10" fmla="*/ 4930626 w 5109344"/>
              <a:gd name="connsiteY10" fmla="*/ 1469320 h 4338431"/>
              <a:gd name="connsiteX11" fmla="*/ 5056393 w 5109344"/>
              <a:gd name="connsiteY11" fmla="*/ 1691467 h 4338431"/>
              <a:gd name="connsiteX12" fmla="*/ 4857752 w 5109344"/>
              <a:gd name="connsiteY12" fmla="*/ 1851320 h 4338431"/>
              <a:gd name="connsiteX13" fmla="*/ 4955309 w 5109344"/>
              <a:gd name="connsiteY13" fmla="*/ 2087572 h 4338431"/>
              <a:gd name="connsiteX14" fmla="*/ 4737862 w 5109344"/>
              <a:gd name="connsiteY14" fmla="*/ 2221565 h 4338431"/>
              <a:gd name="connsiteX15" fmla="*/ 4804859 w 5109344"/>
              <a:gd name="connsiteY15" fmla="*/ 2468396 h 4338431"/>
              <a:gd name="connsiteX16" fmla="*/ 4572132 w 5109344"/>
              <a:gd name="connsiteY16" fmla="*/ 2574180 h 4338431"/>
              <a:gd name="connsiteX17" fmla="*/ 4607394 w 5109344"/>
              <a:gd name="connsiteY17" fmla="*/ 2826888 h 4338431"/>
              <a:gd name="connsiteX18" fmla="*/ 4364088 w 5109344"/>
              <a:gd name="connsiteY18" fmla="*/ 2902112 h 4338431"/>
              <a:gd name="connsiteX19" fmla="*/ 4367614 w 5109344"/>
              <a:gd name="connsiteY19" fmla="*/ 3157171 h 4338431"/>
              <a:gd name="connsiteX20" fmla="*/ 4116080 w 5109344"/>
              <a:gd name="connsiteY20" fmla="*/ 3201835 h 4338431"/>
              <a:gd name="connsiteX21" fmla="*/ 4087871 w 5109344"/>
              <a:gd name="connsiteY21" fmla="*/ 3455718 h 4338431"/>
              <a:gd name="connsiteX22" fmla="*/ 3832811 w 5109344"/>
              <a:gd name="connsiteY22" fmla="*/ 3468647 h 4338431"/>
              <a:gd name="connsiteX23" fmla="*/ 3772866 w 5109344"/>
              <a:gd name="connsiteY23" fmla="*/ 3716653 h 4338431"/>
              <a:gd name="connsiteX24" fmla="*/ 3518982 w 5109344"/>
              <a:gd name="connsiteY24" fmla="*/ 3697847 h 4338431"/>
              <a:gd name="connsiteX25" fmla="*/ 3428477 w 5109344"/>
              <a:gd name="connsiteY25" fmla="*/ 3936450 h 4338431"/>
              <a:gd name="connsiteX26" fmla="*/ 3178118 w 5109344"/>
              <a:gd name="connsiteY26" fmla="*/ 3885908 h 4338431"/>
              <a:gd name="connsiteX27" fmla="*/ 3058229 w 5109344"/>
              <a:gd name="connsiteY27" fmla="*/ 4111582 h 4338431"/>
              <a:gd name="connsiteX28" fmla="*/ 2816098 w 5109344"/>
              <a:gd name="connsiteY28" fmla="*/ 4029305 h 4338431"/>
              <a:gd name="connsiteX29" fmla="*/ 2669174 w 5109344"/>
              <a:gd name="connsiteY29" fmla="*/ 4237348 h 4338431"/>
              <a:gd name="connsiteX30" fmla="*/ 2439973 w 5109344"/>
              <a:gd name="connsiteY30" fmla="*/ 4125687 h 4338431"/>
              <a:gd name="connsiteX31" fmla="*/ 2267191 w 5109344"/>
              <a:gd name="connsiteY31" fmla="*/ 4313748 h 4338431"/>
              <a:gd name="connsiteX32" fmla="*/ 2053270 w 5109344"/>
              <a:gd name="connsiteY32" fmla="*/ 4173877 h 4338431"/>
              <a:gd name="connsiteX33" fmla="*/ 1859330 w 5109344"/>
              <a:gd name="connsiteY33" fmla="*/ 4338431 h 4338431"/>
              <a:gd name="connsiteX34" fmla="*/ 1665391 w 5109344"/>
              <a:gd name="connsiteY34" fmla="*/ 4173877 h 4338431"/>
              <a:gd name="connsiteX35" fmla="*/ 1451469 w 5109344"/>
              <a:gd name="connsiteY35" fmla="*/ 4313748 h 4338431"/>
              <a:gd name="connsiteX36" fmla="*/ 1278687 w 5109344"/>
              <a:gd name="connsiteY36" fmla="*/ 4125687 h 4338431"/>
              <a:gd name="connsiteX37" fmla="*/ 1049486 w 5109344"/>
              <a:gd name="connsiteY37" fmla="*/ 4237348 h 4338431"/>
              <a:gd name="connsiteX38" fmla="*/ 902562 w 5109344"/>
              <a:gd name="connsiteY38" fmla="*/ 4029305 h 4338431"/>
              <a:gd name="connsiteX39" fmla="*/ 661607 w 5109344"/>
              <a:gd name="connsiteY39" fmla="*/ 4111582 h 4338431"/>
              <a:gd name="connsiteX40" fmla="*/ 541717 w 5109344"/>
              <a:gd name="connsiteY40" fmla="*/ 3885908 h 4338431"/>
              <a:gd name="connsiteX41" fmla="*/ 291359 w 5109344"/>
              <a:gd name="connsiteY41" fmla="*/ 3936450 h 4338431"/>
              <a:gd name="connsiteX42" fmla="*/ 200854 w 5109344"/>
              <a:gd name="connsiteY42" fmla="*/ 3697847 h 4338431"/>
              <a:gd name="connsiteX43" fmla="*/ 1680 w 5109344"/>
              <a:gd name="connsiteY43" fmla="*/ 3724954 h 4338431"/>
              <a:gd name="connsiteX44" fmla="*/ 0 w 5109344"/>
              <a:gd name="connsiteY44" fmla="*/ 3724983 h 4338431"/>
              <a:gd name="connsiteX45" fmla="*/ 0 w 5109344"/>
              <a:gd name="connsiteY45" fmla="*/ 0 h 43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109344" h="4338431">
                <a:moveTo>
                  <a:pt x="0" y="0"/>
                </a:moveTo>
                <a:lnTo>
                  <a:pt x="4829954" y="0"/>
                </a:lnTo>
                <a:lnTo>
                  <a:pt x="4849083" y="7878"/>
                </a:lnTo>
                <a:cubicBezTo>
                  <a:pt x="4897715" y="25656"/>
                  <a:pt x="4945907" y="43580"/>
                  <a:pt x="4956485" y="75315"/>
                </a:cubicBezTo>
                <a:cubicBezTo>
                  <a:pt x="4976467" y="138786"/>
                  <a:pt x="4842472" y="246921"/>
                  <a:pt x="4858928" y="311567"/>
                </a:cubicBezTo>
                <a:cubicBezTo>
                  <a:pt x="4875383" y="375038"/>
                  <a:pt x="5044639" y="405598"/>
                  <a:pt x="5057568" y="471419"/>
                </a:cubicBezTo>
                <a:cubicBezTo>
                  <a:pt x="5070498" y="537241"/>
                  <a:pt x="4923574" y="627746"/>
                  <a:pt x="4931801" y="693567"/>
                </a:cubicBezTo>
                <a:cubicBezTo>
                  <a:pt x="4940029" y="758213"/>
                  <a:pt x="5104584" y="809930"/>
                  <a:pt x="5109286" y="876927"/>
                </a:cubicBezTo>
                <a:cubicBezTo>
                  <a:pt x="5112812" y="942748"/>
                  <a:pt x="4956485" y="1014447"/>
                  <a:pt x="4956485" y="1081443"/>
                </a:cubicBezTo>
                <a:cubicBezTo>
                  <a:pt x="4956485" y="1148440"/>
                  <a:pt x="5112812" y="1218963"/>
                  <a:pt x="5108110" y="1285960"/>
                </a:cubicBezTo>
                <a:cubicBezTo>
                  <a:pt x="5103409" y="1351782"/>
                  <a:pt x="4938854" y="1403498"/>
                  <a:pt x="4930626" y="1469320"/>
                </a:cubicBezTo>
                <a:cubicBezTo>
                  <a:pt x="4922398" y="1536317"/>
                  <a:pt x="5068147" y="1626821"/>
                  <a:pt x="5056393" y="1691467"/>
                </a:cubicBezTo>
                <a:cubicBezTo>
                  <a:pt x="5043463" y="1757289"/>
                  <a:pt x="4874207" y="1786673"/>
                  <a:pt x="4857752" y="1851320"/>
                </a:cubicBezTo>
                <a:cubicBezTo>
                  <a:pt x="4841297" y="1915966"/>
                  <a:pt x="4975291" y="2024101"/>
                  <a:pt x="4955309" y="2087572"/>
                </a:cubicBezTo>
                <a:cubicBezTo>
                  <a:pt x="4934152" y="2151042"/>
                  <a:pt x="4762545" y="2160446"/>
                  <a:pt x="4737862" y="2221565"/>
                </a:cubicBezTo>
                <a:cubicBezTo>
                  <a:pt x="4713179" y="2283861"/>
                  <a:pt x="4833069" y="2408451"/>
                  <a:pt x="4804859" y="2468396"/>
                </a:cubicBezTo>
                <a:cubicBezTo>
                  <a:pt x="4775474" y="2529516"/>
                  <a:pt x="4603868" y="2516587"/>
                  <a:pt x="4572132" y="2574180"/>
                </a:cubicBezTo>
                <a:cubicBezTo>
                  <a:pt x="4540396" y="2632950"/>
                  <a:pt x="4642655" y="2770470"/>
                  <a:pt x="4607394" y="2826888"/>
                </a:cubicBezTo>
                <a:cubicBezTo>
                  <a:pt x="4572132" y="2883306"/>
                  <a:pt x="4402876" y="2848045"/>
                  <a:pt x="4364088" y="2902112"/>
                </a:cubicBezTo>
                <a:cubicBezTo>
                  <a:pt x="4325300" y="2956180"/>
                  <a:pt x="4409928" y="3105454"/>
                  <a:pt x="4367614" y="3157171"/>
                </a:cubicBezTo>
                <a:cubicBezTo>
                  <a:pt x="4325300" y="3208887"/>
                  <a:pt x="4161921" y="3153645"/>
                  <a:pt x="4116080" y="3201835"/>
                </a:cubicBezTo>
                <a:cubicBezTo>
                  <a:pt x="4071415" y="3251201"/>
                  <a:pt x="4136062" y="3409878"/>
                  <a:pt x="4087871" y="3455718"/>
                </a:cubicBezTo>
                <a:cubicBezTo>
                  <a:pt x="4039680" y="3501558"/>
                  <a:pt x="3884528" y="3426333"/>
                  <a:pt x="3832811" y="3468647"/>
                </a:cubicBezTo>
                <a:cubicBezTo>
                  <a:pt x="3781094" y="3510961"/>
                  <a:pt x="3826934" y="3677865"/>
                  <a:pt x="3772866" y="3716653"/>
                </a:cubicBezTo>
                <a:cubicBezTo>
                  <a:pt x="3719974" y="3756616"/>
                  <a:pt x="3575401" y="3662585"/>
                  <a:pt x="3518982" y="3697847"/>
                </a:cubicBezTo>
                <a:cubicBezTo>
                  <a:pt x="3462563" y="3733108"/>
                  <a:pt x="3487246" y="3904714"/>
                  <a:pt x="3428477" y="3936450"/>
                </a:cubicBezTo>
                <a:cubicBezTo>
                  <a:pt x="3369707" y="3969360"/>
                  <a:pt x="3238063" y="3857699"/>
                  <a:pt x="3178118" y="3885908"/>
                </a:cubicBezTo>
                <a:cubicBezTo>
                  <a:pt x="3118173" y="3914118"/>
                  <a:pt x="3120524" y="4086899"/>
                  <a:pt x="3058229" y="4111582"/>
                </a:cubicBezTo>
                <a:cubicBezTo>
                  <a:pt x="2995933" y="4136265"/>
                  <a:pt x="2879569" y="4008148"/>
                  <a:pt x="2816098" y="4029305"/>
                </a:cubicBezTo>
                <a:cubicBezTo>
                  <a:pt x="2753802" y="4049287"/>
                  <a:pt x="2733821" y="4220893"/>
                  <a:pt x="2669174" y="4237348"/>
                </a:cubicBezTo>
                <a:cubicBezTo>
                  <a:pt x="2604528" y="4253803"/>
                  <a:pt x="2505795" y="4112757"/>
                  <a:pt x="2439973" y="4125687"/>
                </a:cubicBezTo>
                <a:cubicBezTo>
                  <a:pt x="2374151" y="4137441"/>
                  <a:pt x="2333013" y="4305520"/>
                  <a:pt x="2267191" y="4313748"/>
                </a:cubicBezTo>
                <a:cubicBezTo>
                  <a:pt x="2201369" y="4321975"/>
                  <a:pt x="2120267" y="4169175"/>
                  <a:pt x="2053270" y="4173877"/>
                </a:cubicBezTo>
                <a:cubicBezTo>
                  <a:pt x="1987448" y="4177403"/>
                  <a:pt x="1926327" y="4338431"/>
                  <a:pt x="1859330" y="4338431"/>
                </a:cubicBezTo>
                <a:cubicBezTo>
                  <a:pt x="1792333" y="4338431"/>
                  <a:pt x="1731212" y="4177403"/>
                  <a:pt x="1665391" y="4173877"/>
                </a:cubicBezTo>
                <a:cubicBezTo>
                  <a:pt x="1598393" y="4170351"/>
                  <a:pt x="1517291" y="4321975"/>
                  <a:pt x="1451469" y="4313748"/>
                </a:cubicBezTo>
                <a:cubicBezTo>
                  <a:pt x="1384472" y="4305520"/>
                  <a:pt x="1343334" y="4137441"/>
                  <a:pt x="1278687" y="4125687"/>
                </a:cubicBezTo>
                <a:cubicBezTo>
                  <a:pt x="1212865" y="4112757"/>
                  <a:pt x="1114132" y="4253803"/>
                  <a:pt x="1049486" y="4237348"/>
                </a:cubicBezTo>
                <a:cubicBezTo>
                  <a:pt x="984839" y="4220893"/>
                  <a:pt x="966033" y="4049287"/>
                  <a:pt x="902562" y="4029305"/>
                </a:cubicBezTo>
                <a:cubicBezTo>
                  <a:pt x="840266" y="4009324"/>
                  <a:pt x="722727" y="4136265"/>
                  <a:pt x="661607" y="4111582"/>
                </a:cubicBezTo>
                <a:cubicBezTo>
                  <a:pt x="599311" y="4086899"/>
                  <a:pt x="601662" y="3914118"/>
                  <a:pt x="541717" y="3885908"/>
                </a:cubicBezTo>
                <a:cubicBezTo>
                  <a:pt x="480597" y="3856524"/>
                  <a:pt x="348953" y="3968185"/>
                  <a:pt x="291359" y="3936450"/>
                </a:cubicBezTo>
                <a:cubicBezTo>
                  <a:pt x="232589" y="3904714"/>
                  <a:pt x="257272" y="3733108"/>
                  <a:pt x="200854" y="3697847"/>
                </a:cubicBezTo>
                <a:cubicBezTo>
                  <a:pt x="159421" y="3670519"/>
                  <a:pt x="67740" y="3716580"/>
                  <a:pt x="1680" y="3724954"/>
                </a:cubicBezTo>
                <a:lnTo>
                  <a:pt x="0" y="3724983"/>
                </a:lnTo>
                <a:lnTo>
                  <a:pt x="0" y="0"/>
                </a:lnTo>
                <a:close/>
              </a:path>
            </a:pathLst>
          </a:custGeom>
          <a:solidFill>
            <a:schemeClr val="accent6"/>
          </a:solidFill>
          <a:ln w="9732" cap="flat">
            <a:noFill/>
            <a:prstDash val="solid"/>
            <a:miter/>
          </a:ln>
        </p:spPr>
        <p:txBody>
          <a:bodyPr rtlCol="0" anchor="ctr"/>
          <a:lstStyle/>
          <a:p>
            <a:endParaRPr lang="en-US"/>
          </a:p>
        </p:txBody>
      </p:sp>
    </p:spTree>
    <p:extLst>
      <p:ext uri="{BB962C8B-B14F-4D97-AF65-F5344CB8AC3E}">
        <p14:creationId xmlns:p14="http://schemas.microsoft.com/office/powerpoint/2010/main" val="832031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Agenda 2">
    <p:bg>
      <p:bgPr>
        <a:solidFill>
          <a:schemeClr val="accent6"/>
        </a:solidFill>
        <a:effectLst/>
      </p:bgPr>
    </p:bg>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8358854C-6272-4C65-8BBA-DDAA7B83E5D9}"/>
              </a:ext>
            </a:extLst>
          </p:cNvPr>
          <p:cNvSpPr/>
          <p:nvPr/>
        </p:nvSpPr>
        <p:spPr>
          <a:xfrm>
            <a:off x="-2596" y="1"/>
            <a:ext cx="5109344" cy="4338431"/>
          </a:xfrm>
          <a:custGeom>
            <a:avLst/>
            <a:gdLst>
              <a:gd name="connsiteX0" fmla="*/ 0 w 5109344"/>
              <a:gd name="connsiteY0" fmla="*/ 0 h 4338431"/>
              <a:gd name="connsiteX1" fmla="*/ 4829954 w 5109344"/>
              <a:gd name="connsiteY1" fmla="*/ 0 h 4338431"/>
              <a:gd name="connsiteX2" fmla="*/ 4849083 w 5109344"/>
              <a:gd name="connsiteY2" fmla="*/ 7878 h 4338431"/>
              <a:gd name="connsiteX3" fmla="*/ 4956485 w 5109344"/>
              <a:gd name="connsiteY3" fmla="*/ 75315 h 4338431"/>
              <a:gd name="connsiteX4" fmla="*/ 4858928 w 5109344"/>
              <a:gd name="connsiteY4" fmla="*/ 311567 h 4338431"/>
              <a:gd name="connsiteX5" fmla="*/ 5057568 w 5109344"/>
              <a:gd name="connsiteY5" fmla="*/ 471419 h 4338431"/>
              <a:gd name="connsiteX6" fmla="*/ 4931801 w 5109344"/>
              <a:gd name="connsiteY6" fmla="*/ 693567 h 4338431"/>
              <a:gd name="connsiteX7" fmla="*/ 5109286 w 5109344"/>
              <a:gd name="connsiteY7" fmla="*/ 876927 h 4338431"/>
              <a:gd name="connsiteX8" fmla="*/ 4956485 w 5109344"/>
              <a:gd name="connsiteY8" fmla="*/ 1081443 h 4338431"/>
              <a:gd name="connsiteX9" fmla="*/ 5108110 w 5109344"/>
              <a:gd name="connsiteY9" fmla="*/ 1285960 h 4338431"/>
              <a:gd name="connsiteX10" fmla="*/ 4930626 w 5109344"/>
              <a:gd name="connsiteY10" fmla="*/ 1469320 h 4338431"/>
              <a:gd name="connsiteX11" fmla="*/ 5056393 w 5109344"/>
              <a:gd name="connsiteY11" fmla="*/ 1691467 h 4338431"/>
              <a:gd name="connsiteX12" fmla="*/ 4857752 w 5109344"/>
              <a:gd name="connsiteY12" fmla="*/ 1851320 h 4338431"/>
              <a:gd name="connsiteX13" fmla="*/ 4955309 w 5109344"/>
              <a:gd name="connsiteY13" fmla="*/ 2087572 h 4338431"/>
              <a:gd name="connsiteX14" fmla="*/ 4737862 w 5109344"/>
              <a:gd name="connsiteY14" fmla="*/ 2221565 h 4338431"/>
              <a:gd name="connsiteX15" fmla="*/ 4804859 w 5109344"/>
              <a:gd name="connsiteY15" fmla="*/ 2468396 h 4338431"/>
              <a:gd name="connsiteX16" fmla="*/ 4572132 w 5109344"/>
              <a:gd name="connsiteY16" fmla="*/ 2574180 h 4338431"/>
              <a:gd name="connsiteX17" fmla="*/ 4607394 w 5109344"/>
              <a:gd name="connsiteY17" fmla="*/ 2826888 h 4338431"/>
              <a:gd name="connsiteX18" fmla="*/ 4364088 w 5109344"/>
              <a:gd name="connsiteY18" fmla="*/ 2902112 h 4338431"/>
              <a:gd name="connsiteX19" fmla="*/ 4367614 w 5109344"/>
              <a:gd name="connsiteY19" fmla="*/ 3157171 h 4338431"/>
              <a:gd name="connsiteX20" fmla="*/ 4116080 w 5109344"/>
              <a:gd name="connsiteY20" fmla="*/ 3201835 h 4338431"/>
              <a:gd name="connsiteX21" fmla="*/ 4087871 w 5109344"/>
              <a:gd name="connsiteY21" fmla="*/ 3455718 h 4338431"/>
              <a:gd name="connsiteX22" fmla="*/ 3832811 w 5109344"/>
              <a:gd name="connsiteY22" fmla="*/ 3468647 h 4338431"/>
              <a:gd name="connsiteX23" fmla="*/ 3772866 w 5109344"/>
              <a:gd name="connsiteY23" fmla="*/ 3716653 h 4338431"/>
              <a:gd name="connsiteX24" fmla="*/ 3518982 w 5109344"/>
              <a:gd name="connsiteY24" fmla="*/ 3697847 h 4338431"/>
              <a:gd name="connsiteX25" fmla="*/ 3428477 w 5109344"/>
              <a:gd name="connsiteY25" fmla="*/ 3936450 h 4338431"/>
              <a:gd name="connsiteX26" fmla="*/ 3178118 w 5109344"/>
              <a:gd name="connsiteY26" fmla="*/ 3885908 h 4338431"/>
              <a:gd name="connsiteX27" fmla="*/ 3058229 w 5109344"/>
              <a:gd name="connsiteY27" fmla="*/ 4111582 h 4338431"/>
              <a:gd name="connsiteX28" fmla="*/ 2816098 w 5109344"/>
              <a:gd name="connsiteY28" fmla="*/ 4029305 h 4338431"/>
              <a:gd name="connsiteX29" fmla="*/ 2669174 w 5109344"/>
              <a:gd name="connsiteY29" fmla="*/ 4237348 h 4338431"/>
              <a:gd name="connsiteX30" fmla="*/ 2439973 w 5109344"/>
              <a:gd name="connsiteY30" fmla="*/ 4125687 h 4338431"/>
              <a:gd name="connsiteX31" fmla="*/ 2267191 w 5109344"/>
              <a:gd name="connsiteY31" fmla="*/ 4313748 h 4338431"/>
              <a:gd name="connsiteX32" fmla="*/ 2053270 w 5109344"/>
              <a:gd name="connsiteY32" fmla="*/ 4173877 h 4338431"/>
              <a:gd name="connsiteX33" fmla="*/ 1859330 w 5109344"/>
              <a:gd name="connsiteY33" fmla="*/ 4338431 h 4338431"/>
              <a:gd name="connsiteX34" fmla="*/ 1665391 w 5109344"/>
              <a:gd name="connsiteY34" fmla="*/ 4173877 h 4338431"/>
              <a:gd name="connsiteX35" fmla="*/ 1451469 w 5109344"/>
              <a:gd name="connsiteY35" fmla="*/ 4313748 h 4338431"/>
              <a:gd name="connsiteX36" fmla="*/ 1278687 w 5109344"/>
              <a:gd name="connsiteY36" fmla="*/ 4125687 h 4338431"/>
              <a:gd name="connsiteX37" fmla="*/ 1049486 w 5109344"/>
              <a:gd name="connsiteY37" fmla="*/ 4237348 h 4338431"/>
              <a:gd name="connsiteX38" fmla="*/ 902562 w 5109344"/>
              <a:gd name="connsiteY38" fmla="*/ 4029305 h 4338431"/>
              <a:gd name="connsiteX39" fmla="*/ 661607 w 5109344"/>
              <a:gd name="connsiteY39" fmla="*/ 4111582 h 4338431"/>
              <a:gd name="connsiteX40" fmla="*/ 541717 w 5109344"/>
              <a:gd name="connsiteY40" fmla="*/ 3885908 h 4338431"/>
              <a:gd name="connsiteX41" fmla="*/ 291359 w 5109344"/>
              <a:gd name="connsiteY41" fmla="*/ 3936450 h 4338431"/>
              <a:gd name="connsiteX42" fmla="*/ 200854 w 5109344"/>
              <a:gd name="connsiteY42" fmla="*/ 3697847 h 4338431"/>
              <a:gd name="connsiteX43" fmla="*/ 1680 w 5109344"/>
              <a:gd name="connsiteY43" fmla="*/ 3724954 h 4338431"/>
              <a:gd name="connsiteX44" fmla="*/ 0 w 5109344"/>
              <a:gd name="connsiteY44" fmla="*/ 3724983 h 4338431"/>
              <a:gd name="connsiteX45" fmla="*/ 0 w 5109344"/>
              <a:gd name="connsiteY45" fmla="*/ 0 h 433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109344" h="4338431">
                <a:moveTo>
                  <a:pt x="0" y="0"/>
                </a:moveTo>
                <a:lnTo>
                  <a:pt x="4829954" y="0"/>
                </a:lnTo>
                <a:lnTo>
                  <a:pt x="4849083" y="7878"/>
                </a:lnTo>
                <a:cubicBezTo>
                  <a:pt x="4897715" y="25656"/>
                  <a:pt x="4945907" y="43580"/>
                  <a:pt x="4956485" y="75315"/>
                </a:cubicBezTo>
                <a:cubicBezTo>
                  <a:pt x="4976467" y="138786"/>
                  <a:pt x="4842472" y="246921"/>
                  <a:pt x="4858928" y="311567"/>
                </a:cubicBezTo>
                <a:cubicBezTo>
                  <a:pt x="4875383" y="375038"/>
                  <a:pt x="5044639" y="405598"/>
                  <a:pt x="5057568" y="471419"/>
                </a:cubicBezTo>
                <a:cubicBezTo>
                  <a:pt x="5070498" y="537241"/>
                  <a:pt x="4923574" y="627746"/>
                  <a:pt x="4931801" y="693567"/>
                </a:cubicBezTo>
                <a:cubicBezTo>
                  <a:pt x="4940029" y="758213"/>
                  <a:pt x="5104584" y="809930"/>
                  <a:pt x="5109286" y="876927"/>
                </a:cubicBezTo>
                <a:cubicBezTo>
                  <a:pt x="5112812" y="942748"/>
                  <a:pt x="4956485" y="1014447"/>
                  <a:pt x="4956485" y="1081443"/>
                </a:cubicBezTo>
                <a:cubicBezTo>
                  <a:pt x="4956485" y="1148440"/>
                  <a:pt x="5112812" y="1218963"/>
                  <a:pt x="5108110" y="1285960"/>
                </a:cubicBezTo>
                <a:cubicBezTo>
                  <a:pt x="5103409" y="1351782"/>
                  <a:pt x="4938854" y="1403498"/>
                  <a:pt x="4930626" y="1469320"/>
                </a:cubicBezTo>
                <a:cubicBezTo>
                  <a:pt x="4922398" y="1536317"/>
                  <a:pt x="5068147" y="1626821"/>
                  <a:pt x="5056393" y="1691467"/>
                </a:cubicBezTo>
                <a:cubicBezTo>
                  <a:pt x="5043463" y="1757289"/>
                  <a:pt x="4874207" y="1786673"/>
                  <a:pt x="4857752" y="1851320"/>
                </a:cubicBezTo>
                <a:cubicBezTo>
                  <a:pt x="4841297" y="1915966"/>
                  <a:pt x="4975291" y="2024101"/>
                  <a:pt x="4955309" y="2087572"/>
                </a:cubicBezTo>
                <a:cubicBezTo>
                  <a:pt x="4934152" y="2151042"/>
                  <a:pt x="4762545" y="2160446"/>
                  <a:pt x="4737862" y="2221565"/>
                </a:cubicBezTo>
                <a:cubicBezTo>
                  <a:pt x="4713179" y="2283861"/>
                  <a:pt x="4833069" y="2408451"/>
                  <a:pt x="4804859" y="2468396"/>
                </a:cubicBezTo>
                <a:cubicBezTo>
                  <a:pt x="4775474" y="2529516"/>
                  <a:pt x="4603868" y="2516587"/>
                  <a:pt x="4572132" y="2574180"/>
                </a:cubicBezTo>
                <a:cubicBezTo>
                  <a:pt x="4540396" y="2632950"/>
                  <a:pt x="4642655" y="2770470"/>
                  <a:pt x="4607394" y="2826888"/>
                </a:cubicBezTo>
                <a:cubicBezTo>
                  <a:pt x="4572132" y="2883306"/>
                  <a:pt x="4402876" y="2848045"/>
                  <a:pt x="4364088" y="2902112"/>
                </a:cubicBezTo>
                <a:cubicBezTo>
                  <a:pt x="4325300" y="2956180"/>
                  <a:pt x="4409928" y="3105454"/>
                  <a:pt x="4367614" y="3157171"/>
                </a:cubicBezTo>
                <a:cubicBezTo>
                  <a:pt x="4325300" y="3208887"/>
                  <a:pt x="4161921" y="3153645"/>
                  <a:pt x="4116080" y="3201835"/>
                </a:cubicBezTo>
                <a:cubicBezTo>
                  <a:pt x="4071415" y="3251201"/>
                  <a:pt x="4136062" y="3409878"/>
                  <a:pt x="4087871" y="3455718"/>
                </a:cubicBezTo>
                <a:cubicBezTo>
                  <a:pt x="4039680" y="3501558"/>
                  <a:pt x="3884528" y="3426333"/>
                  <a:pt x="3832811" y="3468647"/>
                </a:cubicBezTo>
                <a:cubicBezTo>
                  <a:pt x="3781094" y="3510961"/>
                  <a:pt x="3826934" y="3677865"/>
                  <a:pt x="3772866" y="3716653"/>
                </a:cubicBezTo>
                <a:cubicBezTo>
                  <a:pt x="3719974" y="3756616"/>
                  <a:pt x="3575401" y="3662585"/>
                  <a:pt x="3518982" y="3697847"/>
                </a:cubicBezTo>
                <a:cubicBezTo>
                  <a:pt x="3462563" y="3733108"/>
                  <a:pt x="3487246" y="3904714"/>
                  <a:pt x="3428477" y="3936450"/>
                </a:cubicBezTo>
                <a:cubicBezTo>
                  <a:pt x="3369707" y="3969360"/>
                  <a:pt x="3238063" y="3857699"/>
                  <a:pt x="3178118" y="3885908"/>
                </a:cubicBezTo>
                <a:cubicBezTo>
                  <a:pt x="3118173" y="3914118"/>
                  <a:pt x="3120524" y="4086899"/>
                  <a:pt x="3058229" y="4111582"/>
                </a:cubicBezTo>
                <a:cubicBezTo>
                  <a:pt x="2995933" y="4136265"/>
                  <a:pt x="2879569" y="4008148"/>
                  <a:pt x="2816098" y="4029305"/>
                </a:cubicBezTo>
                <a:cubicBezTo>
                  <a:pt x="2753802" y="4049287"/>
                  <a:pt x="2733821" y="4220893"/>
                  <a:pt x="2669174" y="4237348"/>
                </a:cubicBezTo>
                <a:cubicBezTo>
                  <a:pt x="2604528" y="4253803"/>
                  <a:pt x="2505795" y="4112757"/>
                  <a:pt x="2439973" y="4125687"/>
                </a:cubicBezTo>
                <a:cubicBezTo>
                  <a:pt x="2374151" y="4137441"/>
                  <a:pt x="2333013" y="4305520"/>
                  <a:pt x="2267191" y="4313748"/>
                </a:cubicBezTo>
                <a:cubicBezTo>
                  <a:pt x="2201369" y="4321975"/>
                  <a:pt x="2120267" y="4169175"/>
                  <a:pt x="2053270" y="4173877"/>
                </a:cubicBezTo>
                <a:cubicBezTo>
                  <a:pt x="1987448" y="4177403"/>
                  <a:pt x="1926327" y="4338431"/>
                  <a:pt x="1859330" y="4338431"/>
                </a:cubicBezTo>
                <a:cubicBezTo>
                  <a:pt x="1792333" y="4338431"/>
                  <a:pt x="1731212" y="4177403"/>
                  <a:pt x="1665391" y="4173877"/>
                </a:cubicBezTo>
                <a:cubicBezTo>
                  <a:pt x="1598393" y="4170351"/>
                  <a:pt x="1517291" y="4321975"/>
                  <a:pt x="1451469" y="4313748"/>
                </a:cubicBezTo>
                <a:cubicBezTo>
                  <a:pt x="1384472" y="4305520"/>
                  <a:pt x="1343334" y="4137441"/>
                  <a:pt x="1278687" y="4125687"/>
                </a:cubicBezTo>
                <a:cubicBezTo>
                  <a:pt x="1212865" y="4112757"/>
                  <a:pt x="1114132" y="4253803"/>
                  <a:pt x="1049486" y="4237348"/>
                </a:cubicBezTo>
                <a:cubicBezTo>
                  <a:pt x="984839" y="4220893"/>
                  <a:pt x="966033" y="4049287"/>
                  <a:pt x="902562" y="4029305"/>
                </a:cubicBezTo>
                <a:cubicBezTo>
                  <a:pt x="840266" y="4009324"/>
                  <a:pt x="722727" y="4136265"/>
                  <a:pt x="661607" y="4111582"/>
                </a:cubicBezTo>
                <a:cubicBezTo>
                  <a:pt x="599311" y="4086899"/>
                  <a:pt x="601662" y="3914118"/>
                  <a:pt x="541717" y="3885908"/>
                </a:cubicBezTo>
                <a:cubicBezTo>
                  <a:pt x="480597" y="3856524"/>
                  <a:pt x="348953" y="3968185"/>
                  <a:pt x="291359" y="3936450"/>
                </a:cubicBezTo>
                <a:cubicBezTo>
                  <a:pt x="232589" y="3904714"/>
                  <a:pt x="257272" y="3733108"/>
                  <a:pt x="200854" y="3697847"/>
                </a:cubicBezTo>
                <a:cubicBezTo>
                  <a:pt x="159421" y="3670519"/>
                  <a:pt x="67740" y="3716580"/>
                  <a:pt x="1680" y="3724954"/>
                </a:cubicBezTo>
                <a:lnTo>
                  <a:pt x="0" y="3724983"/>
                </a:lnTo>
                <a:lnTo>
                  <a:pt x="0" y="0"/>
                </a:lnTo>
                <a:close/>
              </a:path>
            </a:pathLst>
          </a:custGeom>
          <a:solidFill>
            <a:schemeClr val="bg1"/>
          </a:solidFill>
          <a:ln w="10576" cap="flat">
            <a:noFill/>
            <a:prstDash val="solid"/>
            <a:miter/>
          </a:ln>
        </p:spPr>
        <p:txBody>
          <a:bodyPr rtlCol="0" anchor="ctr"/>
          <a:lstStyle/>
          <a:p>
            <a:endParaRPr lang="en-US"/>
          </a:p>
        </p:txBody>
      </p:sp>
      <p:sp>
        <p:nvSpPr>
          <p:cNvPr id="8" name="Freeform: Shape 11">
            <a:extLst>
              <a:ext uri="{FF2B5EF4-FFF2-40B4-BE49-F238E27FC236}">
                <a16:creationId xmlns:a16="http://schemas.microsoft.com/office/drawing/2014/main" id="{1D7B953C-4AF7-260B-152C-B57886E1B644}"/>
              </a:ext>
            </a:extLst>
          </p:cNvPr>
          <p:cNvSpPr/>
          <p:nvPr/>
        </p:nvSpPr>
        <p:spPr>
          <a:xfrm rot="20498793">
            <a:off x="831415" y="5110141"/>
            <a:ext cx="981925" cy="977472"/>
          </a:xfrm>
          <a:custGeom>
            <a:avLst/>
            <a:gdLst>
              <a:gd name="connsiteX0" fmla="*/ 999114 w 1078303"/>
              <a:gd name="connsiteY0" fmla="*/ 717011 h 1073414"/>
              <a:gd name="connsiteX1" fmla="*/ 952730 w 1078303"/>
              <a:gd name="connsiteY1" fmla="*/ 851747 h 1073414"/>
              <a:gd name="connsiteX2" fmla="*/ 844500 w 1078303"/>
              <a:gd name="connsiteY2" fmla="*/ 979856 h 1073414"/>
              <a:gd name="connsiteX3" fmla="*/ 654545 w 1078303"/>
              <a:gd name="connsiteY3" fmla="*/ 1057163 h 1073414"/>
              <a:gd name="connsiteX4" fmla="*/ 347526 w 1078303"/>
              <a:gd name="connsiteY4" fmla="*/ 1070416 h 1073414"/>
              <a:gd name="connsiteX5" fmla="*/ 126649 w 1078303"/>
              <a:gd name="connsiteY5" fmla="*/ 913592 h 1073414"/>
              <a:gd name="connsiteX6" fmla="*/ 217208 w 1078303"/>
              <a:gd name="connsiteY6" fmla="*/ 692715 h 1073414"/>
              <a:gd name="connsiteX7" fmla="*/ 323229 w 1078303"/>
              <a:gd name="connsiteY7" fmla="*/ 690506 h 1073414"/>
              <a:gd name="connsiteX8" fmla="*/ 382866 w 1078303"/>
              <a:gd name="connsiteY8" fmla="*/ 686088 h 1073414"/>
              <a:gd name="connsiteX9" fmla="*/ 471217 w 1078303"/>
              <a:gd name="connsiteY9" fmla="*/ 668418 h 1073414"/>
              <a:gd name="connsiteX10" fmla="*/ 539689 w 1078303"/>
              <a:gd name="connsiteY10" fmla="*/ 593320 h 1073414"/>
              <a:gd name="connsiteX11" fmla="*/ 550733 w 1078303"/>
              <a:gd name="connsiteY11" fmla="*/ 557979 h 1073414"/>
              <a:gd name="connsiteX12" fmla="*/ 431459 w 1078303"/>
              <a:gd name="connsiteY12" fmla="*/ 551353 h 1073414"/>
              <a:gd name="connsiteX13" fmla="*/ 307768 w 1078303"/>
              <a:gd name="connsiteY13" fmla="*/ 482881 h 1073414"/>
              <a:gd name="connsiteX14" fmla="*/ 33880 w 1078303"/>
              <a:gd name="connsiteY14" fmla="*/ 436497 h 1073414"/>
              <a:gd name="connsiteX15" fmla="*/ 2957 w 1078303"/>
              <a:gd name="connsiteY15" fmla="*/ 262003 h 1073414"/>
              <a:gd name="connsiteX16" fmla="*/ 104561 w 1078303"/>
              <a:gd name="connsiteY16" fmla="*/ 133894 h 1073414"/>
              <a:gd name="connsiteX17" fmla="*/ 161989 w 1078303"/>
              <a:gd name="connsiteY17" fmla="*/ 96345 h 1073414"/>
              <a:gd name="connsiteX18" fmla="*/ 232670 w 1078303"/>
              <a:gd name="connsiteY18" fmla="*/ 63213 h 1073414"/>
              <a:gd name="connsiteX19" fmla="*/ 420415 w 1078303"/>
              <a:gd name="connsiteY19" fmla="*/ 19038 h 1073414"/>
              <a:gd name="connsiteX20" fmla="*/ 517601 w 1078303"/>
              <a:gd name="connsiteY20" fmla="*/ 5785 h 1073414"/>
              <a:gd name="connsiteX21" fmla="*/ 601535 w 1078303"/>
              <a:gd name="connsiteY21" fmla="*/ 23455 h 1073414"/>
              <a:gd name="connsiteX22" fmla="*/ 656754 w 1078303"/>
              <a:gd name="connsiteY22" fmla="*/ 45543 h 1073414"/>
              <a:gd name="connsiteX23" fmla="*/ 822412 w 1078303"/>
              <a:gd name="connsiteY23" fmla="*/ 140520 h 1073414"/>
              <a:gd name="connsiteX24" fmla="*/ 840082 w 1078303"/>
              <a:gd name="connsiteY24" fmla="*/ 155982 h 1073414"/>
              <a:gd name="connsiteX25" fmla="*/ 1023411 w 1078303"/>
              <a:gd name="connsiteY25" fmla="*/ 326058 h 1073414"/>
              <a:gd name="connsiteX26" fmla="*/ 1047707 w 1078303"/>
              <a:gd name="connsiteY26" fmla="*/ 376860 h 1073414"/>
              <a:gd name="connsiteX27" fmla="*/ 1056542 w 1078303"/>
              <a:gd name="connsiteY27" fmla="*/ 690506 h 1073414"/>
              <a:gd name="connsiteX28" fmla="*/ 1043290 w 1078303"/>
              <a:gd name="connsiteY28" fmla="*/ 717011 h 1073414"/>
              <a:gd name="connsiteX29" fmla="*/ 999114 w 1078303"/>
              <a:gd name="connsiteY29" fmla="*/ 717011 h 10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78303" h="1073414">
                <a:moveTo>
                  <a:pt x="999114" y="717011"/>
                </a:moveTo>
                <a:cubicBezTo>
                  <a:pt x="1014575" y="776648"/>
                  <a:pt x="994696" y="816406"/>
                  <a:pt x="952730" y="851747"/>
                </a:cubicBezTo>
                <a:cubicBezTo>
                  <a:pt x="910763" y="889296"/>
                  <a:pt x="882049" y="937889"/>
                  <a:pt x="844500" y="979856"/>
                </a:cubicBezTo>
                <a:cubicBezTo>
                  <a:pt x="791489" y="1035075"/>
                  <a:pt x="720809" y="1035075"/>
                  <a:pt x="654545" y="1057163"/>
                </a:cubicBezTo>
                <a:cubicBezTo>
                  <a:pt x="552942" y="1092503"/>
                  <a:pt x="451338" y="1057163"/>
                  <a:pt x="347526" y="1070416"/>
                </a:cubicBezTo>
                <a:cubicBezTo>
                  <a:pt x="241505" y="1085877"/>
                  <a:pt x="166406" y="1017405"/>
                  <a:pt x="126649" y="913592"/>
                </a:cubicBezTo>
                <a:cubicBezTo>
                  <a:pt x="102352" y="849538"/>
                  <a:pt x="148736" y="734681"/>
                  <a:pt x="217208" y="692715"/>
                </a:cubicBezTo>
                <a:cubicBezTo>
                  <a:pt x="248131" y="672836"/>
                  <a:pt x="287889" y="668418"/>
                  <a:pt x="323229" y="690506"/>
                </a:cubicBezTo>
                <a:cubicBezTo>
                  <a:pt x="345317" y="703759"/>
                  <a:pt x="367405" y="703759"/>
                  <a:pt x="382866" y="686088"/>
                </a:cubicBezTo>
                <a:cubicBezTo>
                  <a:pt x="409372" y="655165"/>
                  <a:pt x="442503" y="672836"/>
                  <a:pt x="471217" y="668418"/>
                </a:cubicBezTo>
                <a:cubicBezTo>
                  <a:pt x="517601" y="661792"/>
                  <a:pt x="552942" y="652957"/>
                  <a:pt x="539689" y="593320"/>
                </a:cubicBezTo>
                <a:cubicBezTo>
                  <a:pt x="537480" y="580067"/>
                  <a:pt x="548524" y="569023"/>
                  <a:pt x="550733" y="557979"/>
                </a:cubicBezTo>
                <a:cubicBezTo>
                  <a:pt x="510975" y="544727"/>
                  <a:pt x="473426" y="542518"/>
                  <a:pt x="431459" y="551353"/>
                </a:cubicBezTo>
                <a:cubicBezTo>
                  <a:pt x="371822" y="564606"/>
                  <a:pt x="340900" y="522639"/>
                  <a:pt x="307768" y="482881"/>
                </a:cubicBezTo>
                <a:cubicBezTo>
                  <a:pt x="230461" y="571232"/>
                  <a:pt x="108978" y="546935"/>
                  <a:pt x="33880" y="436497"/>
                </a:cubicBezTo>
                <a:cubicBezTo>
                  <a:pt x="-1460" y="385695"/>
                  <a:pt x="-3669" y="321640"/>
                  <a:pt x="2957" y="262003"/>
                </a:cubicBezTo>
                <a:cubicBezTo>
                  <a:pt x="7375" y="197949"/>
                  <a:pt x="55968" y="162608"/>
                  <a:pt x="104561" y="133894"/>
                </a:cubicBezTo>
                <a:cubicBezTo>
                  <a:pt x="124440" y="122850"/>
                  <a:pt x="146527" y="114015"/>
                  <a:pt x="161989" y="96345"/>
                </a:cubicBezTo>
                <a:cubicBezTo>
                  <a:pt x="181868" y="74257"/>
                  <a:pt x="219417" y="80883"/>
                  <a:pt x="232670" y="63213"/>
                </a:cubicBezTo>
                <a:cubicBezTo>
                  <a:pt x="285680" y="-5259"/>
                  <a:pt x="354152" y="21246"/>
                  <a:pt x="420415" y="19038"/>
                </a:cubicBezTo>
                <a:cubicBezTo>
                  <a:pt x="453547" y="16829"/>
                  <a:pt x="484470" y="21246"/>
                  <a:pt x="517601" y="5785"/>
                </a:cubicBezTo>
                <a:cubicBezTo>
                  <a:pt x="546316" y="-7468"/>
                  <a:pt x="577238" y="3576"/>
                  <a:pt x="601535" y="23455"/>
                </a:cubicBezTo>
                <a:cubicBezTo>
                  <a:pt x="619205" y="38917"/>
                  <a:pt x="636875" y="45543"/>
                  <a:pt x="656754" y="45543"/>
                </a:cubicBezTo>
                <a:cubicBezTo>
                  <a:pt x="727435" y="47752"/>
                  <a:pt x="789281" y="69839"/>
                  <a:pt x="822412" y="140520"/>
                </a:cubicBezTo>
                <a:cubicBezTo>
                  <a:pt x="826830" y="147147"/>
                  <a:pt x="833456" y="151564"/>
                  <a:pt x="840082" y="155982"/>
                </a:cubicBezTo>
                <a:cubicBezTo>
                  <a:pt x="917389" y="195740"/>
                  <a:pt x="972609" y="257586"/>
                  <a:pt x="1023411" y="326058"/>
                </a:cubicBezTo>
                <a:cubicBezTo>
                  <a:pt x="1034454" y="341519"/>
                  <a:pt x="1045498" y="359189"/>
                  <a:pt x="1047707" y="376860"/>
                </a:cubicBezTo>
                <a:cubicBezTo>
                  <a:pt x="1058751" y="480672"/>
                  <a:pt x="1105135" y="584485"/>
                  <a:pt x="1056542" y="690506"/>
                </a:cubicBezTo>
                <a:cubicBezTo>
                  <a:pt x="1052125" y="699341"/>
                  <a:pt x="1049916" y="710385"/>
                  <a:pt x="1043290" y="717011"/>
                </a:cubicBezTo>
                <a:cubicBezTo>
                  <a:pt x="1030037" y="734681"/>
                  <a:pt x="1018993" y="747934"/>
                  <a:pt x="999114" y="717011"/>
                </a:cubicBezTo>
                <a:close/>
              </a:path>
            </a:pathLst>
          </a:custGeom>
          <a:solidFill>
            <a:schemeClr val="bg1"/>
          </a:solidFill>
          <a:ln w="21989" cap="flat">
            <a:noFill/>
            <a:prstDash val="solid"/>
            <a:miter/>
          </a:ln>
        </p:spPr>
        <p:txBody>
          <a:bodyPr rtlCol="0" anchor="ct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9" name="Freeform: Shape 14">
            <a:extLst>
              <a:ext uri="{FF2B5EF4-FFF2-40B4-BE49-F238E27FC236}">
                <a16:creationId xmlns:a16="http://schemas.microsoft.com/office/drawing/2014/main" id="{F94D78FB-F1BC-1E31-CB61-A6E2B0A44548}"/>
              </a:ext>
            </a:extLst>
          </p:cNvPr>
          <p:cNvSpPr/>
          <p:nvPr/>
        </p:nvSpPr>
        <p:spPr>
          <a:xfrm rot="2417348">
            <a:off x="2164404" y="4768490"/>
            <a:ext cx="805573" cy="801921"/>
          </a:xfrm>
          <a:custGeom>
            <a:avLst/>
            <a:gdLst>
              <a:gd name="connsiteX0" fmla="*/ 999114 w 1078303"/>
              <a:gd name="connsiteY0" fmla="*/ 717011 h 1073414"/>
              <a:gd name="connsiteX1" fmla="*/ 952730 w 1078303"/>
              <a:gd name="connsiteY1" fmla="*/ 851747 h 1073414"/>
              <a:gd name="connsiteX2" fmla="*/ 844500 w 1078303"/>
              <a:gd name="connsiteY2" fmla="*/ 979856 h 1073414"/>
              <a:gd name="connsiteX3" fmla="*/ 654545 w 1078303"/>
              <a:gd name="connsiteY3" fmla="*/ 1057163 h 1073414"/>
              <a:gd name="connsiteX4" fmla="*/ 347526 w 1078303"/>
              <a:gd name="connsiteY4" fmla="*/ 1070416 h 1073414"/>
              <a:gd name="connsiteX5" fmla="*/ 126649 w 1078303"/>
              <a:gd name="connsiteY5" fmla="*/ 913592 h 1073414"/>
              <a:gd name="connsiteX6" fmla="*/ 217208 w 1078303"/>
              <a:gd name="connsiteY6" fmla="*/ 692715 h 1073414"/>
              <a:gd name="connsiteX7" fmla="*/ 323229 w 1078303"/>
              <a:gd name="connsiteY7" fmla="*/ 690506 h 1073414"/>
              <a:gd name="connsiteX8" fmla="*/ 382866 w 1078303"/>
              <a:gd name="connsiteY8" fmla="*/ 686088 h 1073414"/>
              <a:gd name="connsiteX9" fmla="*/ 471217 w 1078303"/>
              <a:gd name="connsiteY9" fmla="*/ 668418 h 1073414"/>
              <a:gd name="connsiteX10" fmla="*/ 539689 w 1078303"/>
              <a:gd name="connsiteY10" fmla="*/ 593320 h 1073414"/>
              <a:gd name="connsiteX11" fmla="*/ 550733 w 1078303"/>
              <a:gd name="connsiteY11" fmla="*/ 557979 h 1073414"/>
              <a:gd name="connsiteX12" fmla="*/ 431459 w 1078303"/>
              <a:gd name="connsiteY12" fmla="*/ 551353 h 1073414"/>
              <a:gd name="connsiteX13" fmla="*/ 307768 w 1078303"/>
              <a:gd name="connsiteY13" fmla="*/ 482881 h 1073414"/>
              <a:gd name="connsiteX14" fmla="*/ 33880 w 1078303"/>
              <a:gd name="connsiteY14" fmla="*/ 436497 h 1073414"/>
              <a:gd name="connsiteX15" fmla="*/ 2957 w 1078303"/>
              <a:gd name="connsiteY15" fmla="*/ 262003 h 1073414"/>
              <a:gd name="connsiteX16" fmla="*/ 104561 w 1078303"/>
              <a:gd name="connsiteY16" fmla="*/ 133894 h 1073414"/>
              <a:gd name="connsiteX17" fmla="*/ 161989 w 1078303"/>
              <a:gd name="connsiteY17" fmla="*/ 96345 h 1073414"/>
              <a:gd name="connsiteX18" fmla="*/ 232670 w 1078303"/>
              <a:gd name="connsiteY18" fmla="*/ 63213 h 1073414"/>
              <a:gd name="connsiteX19" fmla="*/ 420415 w 1078303"/>
              <a:gd name="connsiteY19" fmla="*/ 19038 h 1073414"/>
              <a:gd name="connsiteX20" fmla="*/ 517601 w 1078303"/>
              <a:gd name="connsiteY20" fmla="*/ 5785 h 1073414"/>
              <a:gd name="connsiteX21" fmla="*/ 601535 w 1078303"/>
              <a:gd name="connsiteY21" fmla="*/ 23455 h 1073414"/>
              <a:gd name="connsiteX22" fmla="*/ 656754 w 1078303"/>
              <a:gd name="connsiteY22" fmla="*/ 45543 h 1073414"/>
              <a:gd name="connsiteX23" fmla="*/ 822412 w 1078303"/>
              <a:gd name="connsiteY23" fmla="*/ 140520 h 1073414"/>
              <a:gd name="connsiteX24" fmla="*/ 840082 w 1078303"/>
              <a:gd name="connsiteY24" fmla="*/ 155982 h 1073414"/>
              <a:gd name="connsiteX25" fmla="*/ 1023411 w 1078303"/>
              <a:gd name="connsiteY25" fmla="*/ 326058 h 1073414"/>
              <a:gd name="connsiteX26" fmla="*/ 1047707 w 1078303"/>
              <a:gd name="connsiteY26" fmla="*/ 376860 h 1073414"/>
              <a:gd name="connsiteX27" fmla="*/ 1056542 w 1078303"/>
              <a:gd name="connsiteY27" fmla="*/ 690506 h 1073414"/>
              <a:gd name="connsiteX28" fmla="*/ 1043290 w 1078303"/>
              <a:gd name="connsiteY28" fmla="*/ 717011 h 1073414"/>
              <a:gd name="connsiteX29" fmla="*/ 999114 w 1078303"/>
              <a:gd name="connsiteY29" fmla="*/ 717011 h 10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78303" h="1073414">
                <a:moveTo>
                  <a:pt x="999114" y="717011"/>
                </a:moveTo>
                <a:cubicBezTo>
                  <a:pt x="1014575" y="776648"/>
                  <a:pt x="994696" y="816406"/>
                  <a:pt x="952730" y="851747"/>
                </a:cubicBezTo>
                <a:cubicBezTo>
                  <a:pt x="910763" y="889296"/>
                  <a:pt x="882049" y="937889"/>
                  <a:pt x="844500" y="979856"/>
                </a:cubicBezTo>
                <a:cubicBezTo>
                  <a:pt x="791489" y="1035075"/>
                  <a:pt x="720809" y="1035075"/>
                  <a:pt x="654545" y="1057163"/>
                </a:cubicBezTo>
                <a:cubicBezTo>
                  <a:pt x="552942" y="1092503"/>
                  <a:pt x="451338" y="1057163"/>
                  <a:pt x="347526" y="1070416"/>
                </a:cubicBezTo>
                <a:cubicBezTo>
                  <a:pt x="241505" y="1085877"/>
                  <a:pt x="166406" y="1017405"/>
                  <a:pt x="126649" y="913592"/>
                </a:cubicBezTo>
                <a:cubicBezTo>
                  <a:pt x="102352" y="849538"/>
                  <a:pt x="148736" y="734681"/>
                  <a:pt x="217208" y="692715"/>
                </a:cubicBezTo>
                <a:cubicBezTo>
                  <a:pt x="248131" y="672836"/>
                  <a:pt x="287889" y="668418"/>
                  <a:pt x="323229" y="690506"/>
                </a:cubicBezTo>
                <a:cubicBezTo>
                  <a:pt x="345317" y="703759"/>
                  <a:pt x="367405" y="703759"/>
                  <a:pt x="382866" y="686088"/>
                </a:cubicBezTo>
                <a:cubicBezTo>
                  <a:pt x="409372" y="655165"/>
                  <a:pt x="442503" y="672836"/>
                  <a:pt x="471217" y="668418"/>
                </a:cubicBezTo>
                <a:cubicBezTo>
                  <a:pt x="517601" y="661792"/>
                  <a:pt x="552942" y="652957"/>
                  <a:pt x="539689" y="593320"/>
                </a:cubicBezTo>
                <a:cubicBezTo>
                  <a:pt x="537480" y="580067"/>
                  <a:pt x="548524" y="569023"/>
                  <a:pt x="550733" y="557979"/>
                </a:cubicBezTo>
                <a:cubicBezTo>
                  <a:pt x="510975" y="544727"/>
                  <a:pt x="473426" y="542518"/>
                  <a:pt x="431459" y="551353"/>
                </a:cubicBezTo>
                <a:cubicBezTo>
                  <a:pt x="371822" y="564606"/>
                  <a:pt x="340900" y="522639"/>
                  <a:pt x="307768" y="482881"/>
                </a:cubicBezTo>
                <a:cubicBezTo>
                  <a:pt x="230461" y="571232"/>
                  <a:pt x="108978" y="546935"/>
                  <a:pt x="33880" y="436497"/>
                </a:cubicBezTo>
                <a:cubicBezTo>
                  <a:pt x="-1460" y="385695"/>
                  <a:pt x="-3669" y="321640"/>
                  <a:pt x="2957" y="262003"/>
                </a:cubicBezTo>
                <a:cubicBezTo>
                  <a:pt x="7375" y="197949"/>
                  <a:pt x="55968" y="162608"/>
                  <a:pt x="104561" y="133894"/>
                </a:cubicBezTo>
                <a:cubicBezTo>
                  <a:pt x="124440" y="122850"/>
                  <a:pt x="146527" y="114015"/>
                  <a:pt x="161989" y="96345"/>
                </a:cubicBezTo>
                <a:cubicBezTo>
                  <a:pt x="181868" y="74257"/>
                  <a:pt x="219417" y="80883"/>
                  <a:pt x="232670" y="63213"/>
                </a:cubicBezTo>
                <a:cubicBezTo>
                  <a:pt x="285680" y="-5259"/>
                  <a:pt x="354152" y="21246"/>
                  <a:pt x="420415" y="19038"/>
                </a:cubicBezTo>
                <a:cubicBezTo>
                  <a:pt x="453547" y="16829"/>
                  <a:pt x="484470" y="21246"/>
                  <a:pt x="517601" y="5785"/>
                </a:cubicBezTo>
                <a:cubicBezTo>
                  <a:pt x="546316" y="-7468"/>
                  <a:pt x="577238" y="3576"/>
                  <a:pt x="601535" y="23455"/>
                </a:cubicBezTo>
                <a:cubicBezTo>
                  <a:pt x="619205" y="38917"/>
                  <a:pt x="636875" y="45543"/>
                  <a:pt x="656754" y="45543"/>
                </a:cubicBezTo>
                <a:cubicBezTo>
                  <a:pt x="727435" y="47752"/>
                  <a:pt x="789281" y="69839"/>
                  <a:pt x="822412" y="140520"/>
                </a:cubicBezTo>
                <a:cubicBezTo>
                  <a:pt x="826830" y="147147"/>
                  <a:pt x="833456" y="151564"/>
                  <a:pt x="840082" y="155982"/>
                </a:cubicBezTo>
                <a:cubicBezTo>
                  <a:pt x="917389" y="195740"/>
                  <a:pt x="972609" y="257586"/>
                  <a:pt x="1023411" y="326058"/>
                </a:cubicBezTo>
                <a:cubicBezTo>
                  <a:pt x="1034454" y="341519"/>
                  <a:pt x="1045498" y="359189"/>
                  <a:pt x="1047707" y="376860"/>
                </a:cubicBezTo>
                <a:cubicBezTo>
                  <a:pt x="1058751" y="480672"/>
                  <a:pt x="1105135" y="584485"/>
                  <a:pt x="1056542" y="690506"/>
                </a:cubicBezTo>
                <a:cubicBezTo>
                  <a:pt x="1052125" y="699341"/>
                  <a:pt x="1049916" y="710385"/>
                  <a:pt x="1043290" y="717011"/>
                </a:cubicBezTo>
                <a:cubicBezTo>
                  <a:pt x="1030037" y="734681"/>
                  <a:pt x="1018993" y="747934"/>
                  <a:pt x="999114" y="717011"/>
                </a:cubicBezTo>
                <a:close/>
              </a:path>
            </a:pathLst>
          </a:custGeom>
          <a:solidFill>
            <a:schemeClr val="bg1"/>
          </a:solidFill>
          <a:ln w="21989" cap="flat">
            <a:noFill/>
            <a:prstDash val="solid"/>
            <a:miter/>
          </a:ln>
        </p:spPr>
        <p:txBody>
          <a:bodyPr rtlCol="0" anchor="ct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Shape 9">
            <a:extLst>
              <a:ext uri="{FF2B5EF4-FFF2-40B4-BE49-F238E27FC236}">
                <a16:creationId xmlns:a16="http://schemas.microsoft.com/office/drawing/2014/main" id="{571314D0-1E0B-3150-F7F2-195FD9131299}"/>
              </a:ext>
            </a:extLst>
          </p:cNvPr>
          <p:cNvSpPr/>
          <p:nvPr/>
        </p:nvSpPr>
        <p:spPr>
          <a:xfrm rot="13899652">
            <a:off x="1815832" y="5883815"/>
            <a:ext cx="1078196" cy="1133088"/>
          </a:xfrm>
          <a:custGeom>
            <a:avLst/>
            <a:gdLst>
              <a:gd name="connsiteX0" fmla="*/ 1681575 w 1860938"/>
              <a:gd name="connsiteY0" fmla="*/ 1501578 h 1955680"/>
              <a:gd name="connsiteX1" fmla="*/ 1632153 w 1860938"/>
              <a:gd name="connsiteY1" fmla="*/ 1551819 h 1955680"/>
              <a:gd name="connsiteX2" fmla="*/ 1434966 w 1860938"/>
              <a:gd name="connsiteY2" fmla="*/ 1785223 h 1955680"/>
              <a:gd name="connsiteX3" fmla="*/ 1088882 w 1860938"/>
              <a:gd name="connsiteY3" fmla="*/ 1926071 h 1955680"/>
              <a:gd name="connsiteX4" fmla="*/ 529516 w 1860938"/>
              <a:gd name="connsiteY4" fmla="*/ 1950217 h 1955680"/>
              <a:gd name="connsiteX5" fmla="*/ 127094 w 1860938"/>
              <a:gd name="connsiteY5" fmla="*/ 1664495 h 1955680"/>
              <a:gd name="connsiteX6" fmla="*/ 292086 w 1860938"/>
              <a:gd name="connsiteY6" fmla="*/ 1262074 h 1955680"/>
              <a:gd name="connsiteX7" fmla="*/ 485249 w 1860938"/>
              <a:gd name="connsiteY7" fmla="*/ 1258050 h 1955680"/>
              <a:gd name="connsiteX8" fmla="*/ 593903 w 1860938"/>
              <a:gd name="connsiteY8" fmla="*/ 1250000 h 1955680"/>
              <a:gd name="connsiteX9" fmla="*/ 754872 w 1860938"/>
              <a:gd name="connsiteY9" fmla="*/ 1217807 h 1955680"/>
              <a:gd name="connsiteX10" fmla="*/ 879623 w 1860938"/>
              <a:gd name="connsiteY10" fmla="*/ 1080984 h 1955680"/>
              <a:gd name="connsiteX11" fmla="*/ 899744 w 1860938"/>
              <a:gd name="connsiteY11" fmla="*/ 1016596 h 1955680"/>
              <a:gd name="connsiteX12" fmla="*/ 682435 w 1860938"/>
              <a:gd name="connsiteY12" fmla="*/ 1004523 h 1955680"/>
              <a:gd name="connsiteX13" fmla="*/ 457080 w 1860938"/>
              <a:gd name="connsiteY13" fmla="*/ 879773 h 1955680"/>
              <a:gd name="connsiteX14" fmla="*/ 13024 w 1860938"/>
              <a:gd name="connsiteY14" fmla="*/ 863267 h 1955680"/>
              <a:gd name="connsiteX15" fmla="*/ 0 w 1860938"/>
              <a:gd name="connsiteY15" fmla="*/ 847149 h 1955680"/>
              <a:gd name="connsiteX16" fmla="*/ 643094 w 1860938"/>
              <a:gd name="connsiteY16" fmla="*/ 33994 h 1955680"/>
              <a:gd name="connsiteX17" fmla="*/ 662314 w 1860938"/>
              <a:gd name="connsiteY17" fmla="*/ 34686 h 1955680"/>
              <a:gd name="connsiteX18" fmla="*/ 839380 w 1860938"/>
              <a:gd name="connsiteY18" fmla="*/ 10540 h 1955680"/>
              <a:gd name="connsiteX19" fmla="*/ 992301 w 1860938"/>
              <a:gd name="connsiteY19" fmla="*/ 42733 h 1955680"/>
              <a:gd name="connsiteX20" fmla="*/ 1092907 w 1860938"/>
              <a:gd name="connsiteY20" fmla="*/ 82976 h 1955680"/>
              <a:gd name="connsiteX21" fmla="*/ 1394723 w 1860938"/>
              <a:gd name="connsiteY21" fmla="*/ 256017 h 1955680"/>
              <a:gd name="connsiteX22" fmla="*/ 1426917 w 1860938"/>
              <a:gd name="connsiteY22" fmla="*/ 284187 h 1955680"/>
              <a:gd name="connsiteX23" fmla="*/ 1760929 w 1860938"/>
              <a:gd name="connsiteY23" fmla="*/ 594053 h 1955680"/>
              <a:gd name="connsiteX24" fmla="*/ 1805194 w 1860938"/>
              <a:gd name="connsiteY24" fmla="*/ 686610 h 1955680"/>
              <a:gd name="connsiteX25" fmla="*/ 1821291 w 1860938"/>
              <a:gd name="connsiteY25" fmla="*/ 1258050 h 1955680"/>
              <a:gd name="connsiteX26" fmla="*/ 1797147 w 1860938"/>
              <a:gd name="connsiteY26" fmla="*/ 1306340 h 1955680"/>
              <a:gd name="connsiteX27" fmla="*/ 1716662 w 1860938"/>
              <a:gd name="connsiteY27" fmla="*/ 1306340 h 1955680"/>
              <a:gd name="connsiteX28" fmla="*/ 1681575 w 1860938"/>
              <a:gd name="connsiteY28" fmla="*/ 1501578 h 195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60938" h="1955680">
                <a:moveTo>
                  <a:pt x="1681575" y="1501578"/>
                </a:moveTo>
                <a:cubicBezTo>
                  <a:pt x="1667868" y="1519121"/>
                  <a:pt x="1651268" y="1535722"/>
                  <a:pt x="1632153" y="1551819"/>
                </a:cubicBezTo>
                <a:cubicBezTo>
                  <a:pt x="1555692" y="1620230"/>
                  <a:pt x="1503378" y="1708763"/>
                  <a:pt x="1434966" y="1785223"/>
                </a:cubicBezTo>
                <a:cubicBezTo>
                  <a:pt x="1338384" y="1885828"/>
                  <a:pt x="1209610" y="1885828"/>
                  <a:pt x="1088882" y="1926071"/>
                </a:cubicBezTo>
                <a:cubicBezTo>
                  <a:pt x="903769" y="1990458"/>
                  <a:pt x="718654" y="1926071"/>
                  <a:pt x="529516" y="1950217"/>
                </a:cubicBezTo>
                <a:cubicBezTo>
                  <a:pt x="336353" y="1978386"/>
                  <a:pt x="199528" y="1853635"/>
                  <a:pt x="127094" y="1664495"/>
                </a:cubicBezTo>
                <a:cubicBezTo>
                  <a:pt x="82827" y="1547794"/>
                  <a:pt x="167335" y="1338533"/>
                  <a:pt x="292086" y="1262074"/>
                </a:cubicBezTo>
                <a:cubicBezTo>
                  <a:pt x="348426" y="1225856"/>
                  <a:pt x="420862" y="1217807"/>
                  <a:pt x="485249" y="1258050"/>
                </a:cubicBezTo>
                <a:cubicBezTo>
                  <a:pt x="525491" y="1282196"/>
                  <a:pt x="565734" y="1282195"/>
                  <a:pt x="593903" y="1250000"/>
                </a:cubicBezTo>
                <a:cubicBezTo>
                  <a:pt x="642195" y="1193661"/>
                  <a:pt x="702557" y="1225856"/>
                  <a:pt x="754872" y="1217807"/>
                </a:cubicBezTo>
                <a:cubicBezTo>
                  <a:pt x="839380" y="1205735"/>
                  <a:pt x="903769" y="1189638"/>
                  <a:pt x="879623" y="1080984"/>
                </a:cubicBezTo>
                <a:cubicBezTo>
                  <a:pt x="875598" y="1056838"/>
                  <a:pt x="895719" y="1036717"/>
                  <a:pt x="899744" y="1016596"/>
                </a:cubicBezTo>
                <a:cubicBezTo>
                  <a:pt x="827308" y="992451"/>
                  <a:pt x="758896" y="988427"/>
                  <a:pt x="682435" y="1004523"/>
                </a:cubicBezTo>
                <a:cubicBezTo>
                  <a:pt x="573781" y="1028669"/>
                  <a:pt x="517444" y="952209"/>
                  <a:pt x="457080" y="879773"/>
                </a:cubicBezTo>
                <a:cubicBezTo>
                  <a:pt x="333838" y="1020620"/>
                  <a:pt x="148975" y="1004334"/>
                  <a:pt x="13024" y="863267"/>
                </a:cubicBezTo>
                <a:lnTo>
                  <a:pt x="0" y="847149"/>
                </a:lnTo>
                <a:lnTo>
                  <a:pt x="643094" y="33994"/>
                </a:lnTo>
                <a:lnTo>
                  <a:pt x="662314" y="34686"/>
                </a:lnTo>
                <a:cubicBezTo>
                  <a:pt x="722678" y="30661"/>
                  <a:pt x="779018" y="38709"/>
                  <a:pt x="839380" y="10540"/>
                </a:cubicBezTo>
                <a:cubicBezTo>
                  <a:pt x="891697" y="-13606"/>
                  <a:pt x="948034" y="6515"/>
                  <a:pt x="992301" y="42733"/>
                </a:cubicBezTo>
                <a:cubicBezTo>
                  <a:pt x="1024495" y="70904"/>
                  <a:pt x="1056689" y="82976"/>
                  <a:pt x="1092907" y="82976"/>
                </a:cubicBezTo>
                <a:cubicBezTo>
                  <a:pt x="1221682" y="87000"/>
                  <a:pt x="1334361" y="127241"/>
                  <a:pt x="1394723" y="256017"/>
                </a:cubicBezTo>
                <a:cubicBezTo>
                  <a:pt x="1402773" y="268091"/>
                  <a:pt x="1414845" y="276138"/>
                  <a:pt x="1426917" y="284187"/>
                </a:cubicBezTo>
                <a:cubicBezTo>
                  <a:pt x="1567764" y="356624"/>
                  <a:pt x="1668371" y="469302"/>
                  <a:pt x="1760929" y="594053"/>
                </a:cubicBezTo>
                <a:cubicBezTo>
                  <a:pt x="1781048" y="622222"/>
                  <a:pt x="1801170" y="654415"/>
                  <a:pt x="1805194" y="686610"/>
                </a:cubicBezTo>
                <a:cubicBezTo>
                  <a:pt x="1825316" y="875748"/>
                  <a:pt x="1909824" y="1064887"/>
                  <a:pt x="1821291" y="1258050"/>
                </a:cubicBezTo>
                <a:cubicBezTo>
                  <a:pt x="1813244" y="1274146"/>
                  <a:pt x="1809219" y="1294268"/>
                  <a:pt x="1797147" y="1306340"/>
                </a:cubicBezTo>
                <a:cubicBezTo>
                  <a:pt x="1773001" y="1338533"/>
                  <a:pt x="1752880" y="1362679"/>
                  <a:pt x="1716662" y="1306340"/>
                </a:cubicBezTo>
                <a:cubicBezTo>
                  <a:pt x="1737788" y="1387830"/>
                  <a:pt x="1722697" y="1448948"/>
                  <a:pt x="1681575" y="1501578"/>
                </a:cubicBezTo>
                <a:close/>
              </a:path>
            </a:pathLst>
          </a:custGeom>
          <a:solidFill>
            <a:schemeClr val="bg1"/>
          </a:solidFill>
          <a:ln w="21989" cap="flat">
            <a:noFill/>
            <a:prstDash val="solid"/>
            <a:miter/>
          </a:ln>
        </p:spPr>
        <p:txBody>
          <a:bodyPr wrap="square" rtlCol="0" anchor="ctr">
            <a:noAutofit/>
          </a:bodyP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1" name="Title 6">
            <a:extLst>
              <a:ext uri="{FF2B5EF4-FFF2-40B4-BE49-F238E27FC236}">
                <a16:creationId xmlns:a16="http://schemas.microsoft.com/office/drawing/2014/main" id="{F43FD4DB-3B40-E8F7-976E-7375816AEE32}"/>
              </a:ext>
            </a:extLst>
          </p:cNvPr>
          <p:cNvSpPr>
            <a:spLocks noGrp="1"/>
          </p:cNvSpPr>
          <p:nvPr>
            <p:ph type="title" hasCustomPrompt="1"/>
          </p:nvPr>
        </p:nvSpPr>
        <p:spPr>
          <a:xfrm>
            <a:off x="232756" y="739027"/>
            <a:ext cx="5386648" cy="2234458"/>
          </a:xfrm>
        </p:spPr>
        <p:txBody>
          <a:bodyPr vert="horz" wrap="square" lIns="0" tIns="0" rIns="0" bIns="0" rtlCol="0" anchor="ctr" anchorCtr="0">
            <a:spAutoFit/>
            <a:scene3d>
              <a:camera prst="isometricOffAxis1Right"/>
              <a:lightRig rig="threePt" dir="t"/>
            </a:scene3d>
          </a:bodyPr>
          <a:lstStyle>
            <a:lvl1pPr>
              <a:defRPr kumimoji="0" lang="en-US" sz="8800" u="none" strike="noStrike" cap="none" spc="0" normalizeH="0" baseline="0" dirty="0">
                <a:ln>
                  <a:noFill/>
                </a:ln>
                <a:solidFill>
                  <a:schemeClr val="tx1"/>
                </a:solidFill>
                <a:effectLst/>
                <a:uLnTx/>
                <a:uFillTx/>
                <a:latin typeface="Gazpacho Bold"/>
                <a:ea typeface="+mn-ea"/>
                <a:cs typeface="+mn-cs"/>
              </a:defRPr>
            </a:lvl1pPr>
          </a:lstStyle>
          <a:p>
            <a:pPr lvl="0">
              <a:lnSpc>
                <a:spcPct val="80000"/>
              </a:lnSpc>
            </a:pPr>
            <a:r>
              <a:rPr lang="en-US"/>
              <a:t>today’s</a:t>
            </a:r>
            <a:br>
              <a:rPr lang="en-US"/>
            </a:br>
            <a:r>
              <a:rPr lang="en-US"/>
              <a:t>agenda</a:t>
            </a:r>
          </a:p>
        </p:txBody>
      </p:sp>
      <p:sp>
        <p:nvSpPr>
          <p:cNvPr id="3" name="Slide Number Placeholder 5">
            <a:extLst>
              <a:ext uri="{FF2B5EF4-FFF2-40B4-BE49-F238E27FC236}">
                <a16:creationId xmlns:a16="http://schemas.microsoft.com/office/drawing/2014/main" id="{8A29F467-8C1F-3897-5E85-682152EDCDA1}"/>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bg1"/>
                </a:solidFill>
                <a:latin typeface="Gazpacho Light" pitchFamily="2" charset="77"/>
              </a:defRPr>
            </a:lvl1pPr>
          </a:lstStyle>
          <a:p>
            <a:fld id="{1C897F9F-178E-40FE-BBF0-CD11DAF3CBDC}" type="slidenum">
              <a:rPr lang="en-IN" smtClean="0"/>
              <a:pPr/>
              <a:t>‹#›</a:t>
            </a:fld>
            <a:endParaRPr lang="en-IN"/>
          </a:p>
        </p:txBody>
      </p:sp>
      <p:sp>
        <p:nvSpPr>
          <p:cNvPr id="2" name="Freeform: Shape 11">
            <a:extLst>
              <a:ext uri="{FF2B5EF4-FFF2-40B4-BE49-F238E27FC236}">
                <a16:creationId xmlns:a16="http://schemas.microsoft.com/office/drawing/2014/main" id="{BC98D862-BE3B-9984-DF19-C309E1FB2555}"/>
              </a:ext>
            </a:extLst>
          </p:cNvPr>
          <p:cNvSpPr/>
          <p:nvPr userDrawn="1"/>
        </p:nvSpPr>
        <p:spPr>
          <a:xfrm rot="20498793">
            <a:off x="831415" y="5110141"/>
            <a:ext cx="981925" cy="977472"/>
          </a:xfrm>
          <a:custGeom>
            <a:avLst/>
            <a:gdLst>
              <a:gd name="connsiteX0" fmla="*/ 999114 w 1078303"/>
              <a:gd name="connsiteY0" fmla="*/ 717011 h 1073414"/>
              <a:gd name="connsiteX1" fmla="*/ 952730 w 1078303"/>
              <a:gd name="connsiteY1" fmla="*/ 851747 h 1073414"/>
              <a:gd name="connsiteX2" fmla="*/ 844500 w 1078303"/>
              <a:gd name="connsiteY2" fmla="*/ 979856 h 1073414"/>
              <a:gd name="connsiteX3" fmla="*/ 654545 w 1078303"/>
              <a:gd name="connsiteY3" fmla="*/ 1057163 h 1073414"/>
              <a:gd name="connsiteX4" fmla="*/ 347526 w 1078303"/>
              <a:gd name="connsiteY4" fmla="*/ 1070416 h 1073414"/>
              <a:gd name="connsiteX5" fmla="*/ 126649 w 1078303"/>
              <a:gd name="connsiteY5" fmla="*/ 913592 h 1073414"/>
              <a:gd name="connsiteX6" fmla="*/ 217208 w 1078303"/>
              <a:gd name="connsiteY6" fmla="*/ 692715 h 1073414"/>
              <a:gd name="connsiteX7" fmla="*/ 323229 w 1078303"/>
              <a:gd name="connsiteY7" fmla="*/ 690506 h 1073414"/>
              <a:gd name="connsiteX8" fmla="*/ 382866 w 1078303"/>
              <a:gd name="connsiteY8" fmla="*/ 686088 h 1073414"/>
              <a:gd name="connsiteX9" fmla="*/ 471217 w 1078303"/>
              <a:gd name="connsiteY9" fmla="*/ 668418 h 1073414"/>
              <a:gd name="connsiteX10" fmla="*/ 539689 w 1078303"/>
              <a:gd name="connsiteY10" fmla="*/ 593320 h 1073414"/>
              <a:gd name="connsiteX11" fmla="*/ 550733 w 1078303"/>
              <a:gd name="connsiteY11" fmla="*/ 557979 h 1073414"/>
              <a:gd name="connsiteX12" fmla="*/ 431459 w 1078303"/>
              <a:gd name="connsiteY12" fmla="*/ 551353 h 1073414"/>
              <a:gd name="connsiteX13" fmla="*/ 307768 w 1078303"/>
              <a:gd name="connsiteY13" fmla="*/ 482881 h 1073414"/>
              <a:gd name="connsiteX14" fmla="*/ 33880 w 1078303"/>
              <a:gd name="connsiteY14" fmla="*/ 436497 h 1073414"/>
              <a:gd name="connsiteX15" fmla="*/ 2957 w 1078303"/>
              <a:gd name="connsiteY15" fmla="*/ 262003 h 1073414"/>
              <a:gd name="connsiteX16" fmla="*/ 104561 w 1078303"/>
              <a:gd name="connsiteY16" fmla="*/ 133894 h 1073414"/>
              <a:gd name="connsiteX17" fmla="*/ 161989 w 1078303"/>
              <a:gd name="connsiteY17" fmla="*/ 96345 h 1073414"/>
              <a:gd name="connsiteX18" fmla="*/ 232670 w 1078303"/>
              <a:gd name="connsiteY18" fmla="*/ 63213 h 1073414"/>
              <a:gd name="connsiteX19" fmla="*/ 420415 w 1078303"/>
              <a:gd name="connsiteY19" fmla="*/ 19038 h 1073414"/>
              <a:gd name="connsiteX20" fmla="*/ 517601 w 1078303"/>
              <a:gd name="connsiteY20" fmla="*/ 5785 h 1073414"/>
              <a:gd name="connsiteX21" fmla="*/ 601535 w 1078303"/>
              <a:gd name="connsiteY21" fmla="*/ 23455 h 1073414"/>
              <a:gd name="connsiteX22" fmla="*/ 656754 w 1078303"/>
              <a:gd name="connsiteY22" fmla="*/ 45543 h 1073414"/>
              <a:gd name="connsiteX23" fmla="*/ 822412 w 1078303"/>
              <a:gd name="connsiteY23" fmla="*/ 140520 h 1073414"/>
              <a:gd name="connsiteX24" fmla="*/ 840082 w 1078303"/>
              <a:gd name="connsiteY24" fmla="*/ 155982 h 1073414"/>
              <a:gd name="connsiteX25" fmla="*/ 1023411 w 1078303"/>
              <a:gd name="connsiteY25" fmla="*/ 326058 h 1073414"/>
              <a:gd name="connsiteX26" fmla="*/ 1047707 w 1078303"/>
              <a:gd name="connsiteY26" fmla="*/ 376860 h 1073414"/>
              <a:gd name="connsiteX27" fmla="*/ 1056542 w 1078303"/>
              <a:gd name="connsiteY27" fmla="*/ 690506 h 1073414"/>
              <a:gd name="connsiteX28" fmla="*/ 1043290 w 1078303"/>
              <a:gd name="connsiteY28" fmla="*/ 717011 h 1073414"/>
              <a:gd name="connsiteX29" fmla="*/ 999114 w 1078303"/>
              <a:gd name="connsiteY29" fmla="*/ 717011 h 10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78303" h="1073414">
                <a:moveTo>
                  <a:pt x="999114" y="717011"/>
                </a:moveTo>
                <a:cubicBezTo>
                  <a:pt x="1014575" y="776648"/>
                  <a:pt x="994696" y="816406"/>
                  <a:pt x="952730" y="851747"/>
                </a:cubicBezTo>
                <a:cubicBezTo>
                  <a:pt x="910763" y="889296"/>
                  <a:pt x="882049" y="937889"/>
                  <a:pt x="844500" y="979856"/>
                </a:cubicBezTo>
                <a:cubicBezTo>
                  <a:pt x="791489" y="1035075"/>
                  <a:pt x="720809" y="1035075"/>
                  <a:pt x="654545" y="1057163"/>
                </a:cubicBezTo>
                <a:cubicBezTo>
                  <a:pt x="552942" y="1092503"/>
                  <a:pt x="451338" y="1057163"/>
                  <a:pt x="347526" y="1070416"/>
                </a:cubicBezTo>
                <a:cubicBezTo>
                  <a:pt x="241505" y="1085877"/>
                  <a:pt x="166406" y="1017405"/>
                  <a:pt x="126649" y="913592"/>
                </a:cubicBezTo>
                <a:cubicBezTo>
                  <a:pt x="102352" y="849538"/>
                  <a:pt x="148736" y="734681"/>
                  <a:pt x="217208" y="692715"/>
                </a:cubicBezTo>
                <a:cubicBezTo>
                  <a:pt x="248131" y="672836"/>
                  <a:pt x="287889" y="668418"/>
                  <a:pt x="323229" y="690506"/>
                </a:cubicBezTo>
                <a:cubicBezTo>
                  <a:pt x="345317" y="703759"/>
                  <a:pt x="367405" y="703759"/>
                  <a:pt x="382866" y="686088"/>
                </a:cubicBezTo>
                <a:cubicBezTo>
                  <a:pt x="409372" y="655165"/>
                  <a:pt x="442503" y="672836"/>
                  <a:pt x="471217" y="668418"/>
                </a:cubicBezTo>
                <a:cubicBezTo>
                  <a:pt x="517601" y="661792"/>
                  <a:pt x="552942" y="652957"/>
                  <a:pt x="539689" y="593320"/>
                </a:cubicBezTo>
                <a:cubicBezTo>
                  <a:pt x="537480" y="580067"/>
                  <a:pt x="548524" y="569023"/>
                  <a:pt x="550733" y="557979"/>
                </a:cubicBezTo>
                <a:cubicBezTo>
                  <a:pt x="510975" y="544727"/>
                  <a:pt x="473426" y="542518"/>
                  <a:pt x="431459" y="551353"/>
                </a:cubicBezTo>
                <a:cubicBezTo>
                  <a:pt x="371822" y="564606"/>
                  <a:pt x="340900" y="522639"/>
                  <a:pt x="307768" y="482881"/>
                </a:cubicBezTo>
                <a:cubicBezTo>
                  <a:pt x="230461" y="571232"/>
                  <a:pt x="108978" y="546935"/>
                  <a:pt x="33880" y="436497"/>
                </a:cubicBezTo>
                <a:cubicBezTo>
                  <a:pt x="-1460" y="385695"/>
                  <a:pt x="-3669" y="321640"/>
                  <a:pt x="2957" y="262003"/>
                </a:cubicBezTo>
                <a:cubicBezTo>
                  <a:pt x="7375" y="197949"/>
                  <a:pt x="55968" y="162608"/>
                  <a:pt x="104561" y="133894"/>
                </a:cubicBezTo>
                <a:cubicBezTo>
                  <a:pt x="124440" y="122850"/>
                  <a:pt x="146527" y="114015"/>
                  <a:pt x="161989" y="96345"/>
                </a:cubicBezTo>
                <a:cubicBezTo>
                  <a:pt x="181868" y="74257"/>
                  <a:pt x="219417" y="80883"/>
                  <a:pt x="232670" y="63213"/>
                </a:cubicBezTo>
                <a:cubicBezTo>
                  <a:pt x="285680" y="-5259"/>
                  <a:pt x="354152" y="21246"/>
                  <a:pt x="420415" y="19038"/>
                </a:cubicBezTo>
                <a:cubicBezTo>
                  <a:pt x="453547" y="16829"/>
                  <a:pt x="484470" y="21246"/>
                  <a:pt x="517601" y="5785"/>
                </a:cubicBezTo>
                <a:cubicBezTo>
                  <a:pt x="546316" y="-7468"/>
                  <a:pt x="577238" y="3576"/>
                  <a:pt x="601535" y="23455"/>
                </a:cubicBezTo>
                <a:cubicBezTo>
                  <a:pt x="619205" y="38917"/>
                  <a:pt x="636875" y="45543"/>
                  <a:pt x="656754" y="45543"/>
                </a:cubicBezTo>
                <a:cubicBezTo>
                  <a:pt x="727435" y="47752"/>
                  <a:pt x="789281" y="69839"/>
                  <a:pt x="822412" y="140520"/>
                </a:cubicBezTo>
                <a:cubicBezTo>
                  <a:pt x="826830" y="147147"/>
                  <a:pt x="833456" y="151564"/>
                  <a:pt x="840082" y="155982"/>
                </a:cubicBezTo>
                <a:cubicBezTo>
                  <a:pt x="917389" y="195740"/>
                  <a:pt x="972609" y="257586"/>
                  <a:pt x="1023411" y="326058"/>
                </a:cubicBezTo>
                <a:cubicBezTo>
                  <a:pt x="1034454" y="341519"/>
                  <a:pt x="1045498" y="359189"/>
                  <a:pt x="1047707" y="376860"/>
                </a:cubicBezTo>
                <a:cubicBezTo>
                  <a:pt x="1058751" y="480672"/>
                  <a:pt x="1105135" y="584485"/>
                  <a:pt x="1056542" y="690506"/>
                </a:cubicBezTo>
                <a:cubicBezTo>
                  <a:pt x="1052125" y="699341"/>
                  <a:pt x="1049916" y="710385"/>
                  <a:pt x="1043290" y="717011"/>
                </a:cubicBezTo>
                <a:cubicBezTo>
                  <a:pt x="1030037" y="734681"/>
                  <a:pt x="1018993" y="747934"/>
                  <a:pt x="999114" y="717011"/>
                </a:cubicBezTo>
                <a:close/>
              </a:path>
            </a:pathLst>
          </a:custGeom>
          <a:solidFill>
            <a:schemeClr val="bg1"/>
          </a:solidFill>
          <a:ln w="21989" cap="flat">
            <a:noFill/>
            <a:prstDash val="solid"/>
            <a:miter/>
          </a:ln>
        </p:spPr>
        <p:txBody>
          <a:bodyPr rtlCol="0" anchor="ct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4" name="Freeform: Shape 14">
            <a:extLst>
              <a:ext uri="{FF2B5EF4-FFF2-40B4-BE49-F238E27FC236}">
                <a16:creationId xmlns:a16="http://schemas.microsoft.com/office/drawing/2014/main" id="{F57FD2F2-AC31-9A9C-2070-46F8B5AEF2E8}"/>
              </a:ext>
            </a:extLst>
          </p:cNvPr>
          <p:cNvSpPr/>
          <p:nvPr userDrawn="1"/>
        </p:nvSpPr>
        <p:spPr>
          <a:xfrm rot="2417348">
            <a:off x="2164404" y="4768490"/>
            <a:ext cx="805573" cy="801921"/>
          </a:xfrm>
          <a:custGeom>
            <a:avLst/>
            <a:gdLst>
              <a:gd name="connsiteX0" fmla="*/ 999114 w 1078303"/>
              <a:gd name="connsiteY0" fmla="*/ 717011 h 1073414"/>
              <a:gd name="connsiteX1" fmla="*/ 952730 w 1078303"/>
              <a:gd name="connsiteY1" fmla="*/ 851747 h 1073414"/>
              <a:gd name="connsiteX2" fmla="*/ 844500 w 1078303"/>
              <a:gd name="connsiteY2" fmla="*/ 979856 h 1073414"/>
              <a:gd name="connsiteX3" fmla="*/ 654545 w 1078303"/>
              <a:gd name="connsiteY3" fmla="*/ 1057163 h 1073414"/>
              <a:gd name="connsiteX4" fmla="*/ 347526 w 1078303"/>
              <a:gd name="connsiteY4" fmla="*/ 1070416 h 1073414"/>
              <a:gd name="connsiteX5" fmla="*/ 126649 w 1078303"/>
              <a:gd name="connsiteY5" fmla="*/ 913592 h 1073414"/>
              <a:gd name="connsiteX6" fmla="*/ 217208 w 1078303"/>
              <a:gd name="connsiteY6" fmla="*/ 692715 h 1073414"/>
              <a:gd name="connsiteX7" fmla="*/ 323229 w 1078303"/>
              <a:gd name="connsiteY7" fmla="*/ 690506 h 1073414"/>
              <a:gd name="connsiteX8" fmla="*/ 382866 w 1078303"/>
              <a:gd name="connsiteY8" fmla="*/ 686088 h 1073414"/>
              <a:gd name="connsiteX9" fmla="*/ 471217 w 1078303"/>
              <a:gd name="connsiteY9" fmla="*/ 668418 h 1073414"/>
              <a:gd name="connsiteX10" fmla="*/ 539689 w 1078303"/>
              <a:gd name="connsiteY10" fmla="*/ 593320 h 1073414"/>
              <a:gd name="connsiteX11" fmla="*/ 550733 w 1078303"/>
              <a:gd name="connsiteY11" fmla="*/ 557979 h 1073414"/>
              <a:gd name="connsiteX12" fmla="*/ 431459 w 1078303"/>
              <a:gd name="connsiteY12" fmla="*/ 551353 h 1073414"/>
              <a:gd name="connsiteX13" fmla="*/ 307768 w 1078303"/>
              <a:gd name="connsiteY13" fmla="*/ 482881 h 1073414"/>
              <a:gd name="connsiteX14" fmla="*/ 33880 w 1078303"/>
              <a:gd name="connsiteY14" fmla="*/ 436497 h 1073414"/>
              <a:gd name="connsiteX15" fmla="*/ 2957 w 1078303"/>
              <a:gd name="connsiteY15" fmla="*/ 262003 h 1073414"/>
              <a:gd name="connsiteX16" fmla="*/ 104561 w 1078303"/>
              <a:gd name="connsiteY16" fmla="*/ 133894 h 1073414"/>
              <a:gd name="connsiteX17" fmla="*/ 161989 w 1078303"/>
              <a:gd name="connsiteY17" fmla="*/ 96345 h 1073414"/>
              <a:gd name="connsiteX18" fmla="*/ 232670 w 1078303"/>
              <a:gd name="connsiteY18" fmla="*/ 63213 h 1073414"/>
              <a:gd name="connsiteX19" fmla="*/ 420415 w 1078303"/>
              <a:gd name="connsiteY19" fmla="*/ 19038 h 1073414"/>
              <a:gd name="connsiteX20" fmla="*/ 517601 w 1078303"/>
              <a:gd name="connsiteY20" fmla="*/ 5785 h 1073414"/>
              <a:gd name="connsiteX21" fmla="*/ 601535 w 1078303"/>
              <a:gd name="connsiteY21" fmla="*/ 23455 h 1073414"/>
              <a:gd name="connsiteX22" fmla="*/ 656754 w 1078303"/>
              <a:gd name="connsiteY22" fmla="*/ 45543 h 1073414"/>
              <a:gd name="connsiteX23" fmla="*/ 822412 w 1078303"/>
              <a:gd name="connsiteY23" fmla="*/ 140520 h 1073414"/>
              <a:gd name="connsiteX24" fmla="*/ 840082 w 1078303"/>
              <a:gd name="connsiteY24" fmla="*/ 155982 h 1073414"/>
              <a:gd name="connsiteX25" fmla="*/ 1023411 w 1078303"/>
              <a:gd name="connsiteY25" fmla="*/ 326058 h 1073414"/>
              <a:gd name="connsiteX26" fmla="*/ 1047707 w 1078303"/>
              <a:gd name="connsiteY26" fmla="*/ 376860 h 1073414"/>
              <a:gd name="connsiteX27" fmla="*/ 1056542 w 1078303"/>
              <a:gd name="connsiteY27" fmla="*/ 690506 h 1073414"/>
              <a:gd name="connsiteX28" fmla="*/ 1043290 w 1078303"/>
              <a:gd name="connsiteY28" fmla="*/ 717011 h 1073414"/>
              <a:gd name="connsiteX29" fmla="*/ 999114 w 1078303"/>
              <a:gd name="connsiteY29" fmla="*/ 717011 h 107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78303" h="1073414">
                <a:moveTo>
                  <a:pt x="999114" y="717011"/>
                </a:moveTo>
                <a:cubicBezTo>
                  <a:pt x="1014575" y="776648"/>
                  <a:pt x="994696" y="816406"/>
                  <a:pt x="952730" y="851747"/>
                </a:cubicBezTo>
                <a:cubicBezTo>
                  <a:pt x="910763" y="889296"/>
                  <a:pt x="882049" y="937889"/>
                  <a:pt x="844500" y="979856"/>
                </a:cubicBezTo>
                <a:cubicBezTo>
                  <a:pt x="791489" y="1035075"/>
                  <a:pt x="720809" y="1035075"/>
                  <a:pt x="654545" y="1057163"/>
                </a:cubicBezTo>
                <a:cubicBezTo>
                  <a:pt x="552942" y="1092503"/>
                  <a:pt x="451338" y="1057163"/>
                  <a:pt x="347526" y="1070416"/>
                </a:cubicBezTo>
                <a:cubicBezTo>
                  <a:pt x="241505" y="1085877"/>
                  <a:pt x="166406" y="1017405"/>
                  <a:pt x="126649" y="913592"/>
                </a:cubicBezTo>
                <a:cubicBezTo>
                  <a:pt x="102352" y="849538"/>
                  <a:pt x="148736" y="734681"/>
                  <a:pt x="217208" y="692715"/>
                </a:cubicBezTo>
                <a:cubicBezTo>
                  <a:pt x="248131" y="672836"/>
                  <a:pt x="287889" y="668418"/>
                  <a:pt x="323229" y="690506"/>
                </a:cubicBezTo>
                <a:cubicBezTo>
                  <a:pt x="345317" y="703759"/>
                  <a:pt x="367405" y="703759"/>
                  <a:pt x="382866" y="686088"/>
                </a:cubicBezTo>
                <a:cubicBezTo>
                  <a:pt x="409372" y="655165"/>
                  <a:pt x="442503" y="672836"/>
                  <a:pt x="471217" y="668418"/>
                </a:cubicBezTo>
                <a:cubicBezTo>
                  <a:pt x="517601" y="661792"/>
                  <a:pt x="552942" y="652957"/>
                  <a:pt x="539689" y="593320"/>
                </a:cubicBezTo>
                <a:cubicBezTo>
                  <a:pt x="537480" y="580067"/>
                  <a:pt x="548524" y="569023"/>
                  <a:pt x="550733" y="557979"/>
                </a:cubicBezTo>
                <a:cubicBezTo>
                  <a:pt x="510975" y="544727"/>
                  <a:pt x="473426" y="542518"/>
                  <a:pt x="431459" y="551353"/>
                </a:cubicBezTo>
                <a:cubicBezTo>
                  <a:pt x="371822" y="564606"/>
                  <a:pt x="340900" y="522639"/>
                  <a:pt x="307768" y="482881"/>
                </a:cubicBezTo>
                <a:cubicBezTo>
                  <a:pt x="230461" y="571232"/>
                  <a:pt x="108978" y="546935"/>
                  <a:pt x="33880" y="436497"/>
                </a:cubicBezTo>
                <a:cubicBezTo>
                  <a:pt x="-1460" y="385695"/>
                  <a:pt x="-3669" y="321640"/>
                  <a:pt x="2957" y="262003"/>
                </a:cubicBezTo>
                <a:cubicBezTo>
                  <a:pt x="7375" y="197949"/>
                  <a:pt x="55968" y="162608"/>
                  <a:pt x="104561" y="133894"/>
                </a:cubicBezTo>
                <a:cubicBezTo>
                  <a:pt x="124440" y="122850"/>
                  <a:pt x="146527" y="114015"/>
                  <a:pt x="161989" y="96345"/>
                </a:cubicBezTo>
                <a:cubicBezTo>
                  <a:pt x="181868" y="74257"/>
                  <a:pt x="219417" y="80883"/>
                  <a:pt x="232670" y="63213"/>
                </a:cubicBezTo>
                <a:cubicBezTo>
                  <a:pt x="285680" y="-5259"/>
                  <a:pt x="354152" y="21246"/>
                  <a:pt x="420415" y="19038"/>
                </a:cubicBezTo>
                <a:cubicBezTo>
                  <a:pt x="453547" y="16829"/>
                  <a:pt x="484470" y="21246"/>
                  <a:pt x="517601" y="5785"/>
                </a:cubicBezTo>
                <a:cubicBezTo>
                  <a:pt x="546316" y="-7468"/>
                  <a:pt x="577238" y="3576"/>
                  <a:pt x="601535" y="23455"/>
                </a:cubicBezTo>
                <a:cubicBezTo>
                  <a:pt x="619205" y="38917"/>
                  <a:pt x="636875" y="45543"/>
                  <a:pt x="656754" y="45543"/>
                </a:cubicBezTo>
                <a:cubicBezTo>
                  <a:pt x="727435" y="47752"/>
                  <a:pt x="789281" y="69839"/>
                  <a:pt x="822412" y="140520"/>
                </a:cubicBezTo>
                <a:cubicBezTo>
                  <a:pt x="826830" y="147147"/>
                  <a:pt x="833456" y="151564"/>
                  <a:pt x="840082" y="155982"/>
                </a:cubicBezTo>
                <a:cubicBezTo>
                  <a:pt x="917389" y="195740"/>
                  <a:pt x="972609" y="257586"/>
                  <a:pt x="1023411" y="326058"/>
                </a:cubicBezTo>
                <a:cubicBezTo>
                  <a:pt x="1034454" y="341519"/>
                  <a:pt x="1045498" y="359189"/>
                  <a:pt x="1047707" y="376860"/>
                </a:cubicBezTo>
                <a:cubicBezTo>
                  <a:pt x="1058751" y="480672"/>
                  <a:pt x="1105135" y="584485"/>
                  <a:pt x="1056542" y="690506"/>
                </a:cubicBezTo>
                <a:cubicBezTo>
                  <a:pt x="1052125" y="699341"/>
                  <a:pt x="1049916" y="710385"/>
                  <a:pt x="1043290" y="717011"/>
                </a:cubicBezTo>
                <a:cubicBezTo>
                  <a:pt x="1030037" y="734681"/>
                  <a:pt x="1018993" y="747934"/>
                  <a:pt x="999114" y="717011"/>
                </a:cubicBezTo>
                <a:close/>
              </a:path>
            </a:pathLst>
          </a:custGeom>
          <a:solidFill>
            <a:schemeClr val="bg1"/>
          </a:solidFill>
          <a:ln w="21989" cap="flat">
            <a:noFill/>
            <a:prstDash val="solid"/>
            <a:miter/>
          </a:ln>
        </p:spPr>
        <p:txBody>
          <a:bodyPr rtlCol="0" anchor="ct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5" name="Freeform: Shape 4">
            <a:extLst>
              <a:ext uri="{FF2B5EF4-FFF2-40B4-BE49-F238E27FC236}">
                <a16:creationId xmlns:a16="http://schemas.microsoft.com/office/drawing/2014/main" id="{9F5F3FEE-60F4-4579-C485-DE536CA1EFB4}"/>
              </a:ext>
            </a:extLst>
          </p:cNvPr>
          <p:cNvSpPr/>
          <p:nvPr userDrawn="1"/>
        </p:nvSpPr>
        <p:spPr>
          <a:xfrm rot="13899652">
            <a:off x="1815832" y="5883815"/>
            <a:ext cx="1078196" cy="1133088"/>
          </a:xfrm>
          <a:custGeom>
            <a:avLst/>
            <a:gdLst>
              <a:gd name="connsiteX0" fmla="*/ 1681575 w 1860938"/>
              <a:gd name="connsiteY0" fmla="*/ 1501578 h 1955680"/>
              <a:gd name="connsiteX1" fmla="*/ 1632153 w 1860938"/>
              <a:gd name="connsiteY1" fmla="*/ 1551819 h 1955680"/>
              <a:gd name="connsiteX2" fmla="*/ 1434966 w 1860938"/>
              <a:gd name="connsiteY2" fmla="*/ 1785223 h 1955680"/>
              <a:gd name="connsiteX3" fmla="*/ 1088882 w 1860938"/>
              <a:gd name="connsiteY3" fmla="*/ 1926071 h 1955680"/>
              <a:gd name="connsiteX4" fmla="*/ 529516 w 1860938"/>
              <a:gd name="connsiteY4" fmla="*/ 1950217 h 1955680"/>
              <a:gd name="connsiteX5" fmla="*/ 127094 w 1860938"/>
              <a:gd name="connsiteY5" fmla="*/ 1664495 h 1955680"/>
              <a:gd name="connsiteX6" fmla="*/ 292086 w 1860938"/>
              <a:gd name="connsiteY6" fmla="*/ 1262074 h 1955680"/>
              <a:gd name="connsiteX7" fmla="*/ 485249 w 1860938"/>
              <a:gd name="connsiteY7" fmla="*/ 1258050 h 1955680"/>
              <a:gd name="connsiteX8" fmla="*/ 593903 w 1860938"/>
              <a:gd name="connsiteY8" fmla="*/ 1250000 h 1955680"/>
              <a:gd name="connsiteX9" fmla="*/ 754872 w 1860938"/>
              <a:gd name="connsiteY9" fmla="*/ 1217807 h 1955680"/>
              <a:gd name="connsiteX10" fmla="*/ 879623 w 1860938"/>
              <a:gd name="connsiteY10" fmla="*/ 1080984 h 1955680"/>
              <a:gd name="connsiteX11" fmla="*/ 899744 w 1860938"/>
              <a:gd name="connsiteY11" fmla="*/ 1016596 h 1955680"/>
              <a:gd name="connsiteX12" fmla="*/ 682435 w 1860938"/>
              <a:gd name="connsiteY12" fmla="*/ 1004523 h 1955680"/>
              <a:gd name="connsiteX13" fmla="*/ 457080 w 1860938"/>
              <a:gd name="connsiteY13" fmla="*/ 879773 h 1955680"/>
              <a:gd name="connsiteX14" fmla="*/ 13024 w 1860938"/>
              <a:gd name="connsiteY14" fmla="*/ 863267 h 1955680"/>
              <a:gd name="connsiteX15" fmla="*/ 0 w 1860938"/>
              <a:gd name="connsiteY15" fmla="*/ 847149 h 1955680"/>
              <a:gd name="connsiteX16" fmla="*/ 643094 w 1860938"/>
              <a:gd name="connsiteY16" fmla="*/ 33994 h 1955680"/>
              <a:gd name="connsiteX17" fmla="*/ 662314 w 1860938"/>
              <a:gd name="connsiteY17" fmla="*/ 34686 h 1955680"/>
              <a:gd name="connsiteX18" fmla="*/ 839380 w 1860938"/>
              <a:gd name="connsiteY18" fmla="*/ 10540 h 1955680"/>
              <a:gd name="connsiteX19" fmla="*/ 992301 w 1860938"/>
              <a:gd name="connsiteY19" fmla="*/ 42733 h 1955680"/>
              <a:gd name="connsiteX20" fmla="*/ 1092907 w 1860938"/>
              <a:gd name="connsiteY20" fmla="*/ 82976 h 1955680"/>
              <a:gd name="connsiteX21" fmla="*/ 1394723 w 1860938"/>
              <a:gd name="connsiteY21" fmla="*/ 256017 h 1955680"/>
              <a:gd name="connsiteX22" fmla="*/ 1426917 w 1860938"/>
              <a:gd name="connsiteY22" fmla="*/ 284187 h 1955680"/>
              <a:gd name="connsiteX23" fmla="*/ 1760929 w 1860938"/>
              <a:gd name="connsiteY23" fmla="*/ 594053 h 1955680"/>
              <a:gd name="connsiteX24" fmla="*/ 1805194 w 1860938"/>
              <a:gd name="connsiteY24" fmla="*/ 686610 h 1955680"/>
              <a:gd name="connsiteX25" fmla="*/ 1821291 w 1860938"/>
              <a:gd name="connsiteY25" fmla="*/ 1258050 h 1955680"/>
              <a:gd name="connsiteX26" fmla="*/ 1797147 w 1860938"/>
              <a:gd name="connsiteY26" fmla="*/ 1306340 h 1955680"/>
              <a:gd name="connsiteX27" fmla="*/ 1716662 w 1860938"/>
              <a:gd name="connsiteY27" fmla="*/ 1306340 h 1955680"/>
              <a:gd name="connsiteX28" fmla="*/ 1681575 w 1860938"/>
              <a:gd name="connsiteY28" fmla="*/ 1501578 h 195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60938" h="1955680">
                <a:moveTo>
                  <a:pt x="1681575" y="1501578"/>
                </a:moveTo>
                <a:cubicBezTo>
                  <a:pt x="1667868" y="1519121"/>
                  <a:pt x="1651268" y="1535722"/>
                  <a:pt x="1632153" y="1551819"/>
                </a:cubicBezTo>
                <a:cubicBezTo>
                  <a:pt x="1555692" y="1620230"/>
                  <a:pt x="1503378" y="1708763"/>
                  <a:pt x="1434966" y="1785223"/>
                </a:cubicBezTo>
                <a:cubicBezTo>
                  <a:pt x="1338384" y="1885828"/>
                  <a:pt x="1209610" y="1885828"/>
                  <a:pt x="1088882" y="1926071"/>
                </a:cubicBezTo>
                <a:cubicBezTo>
                  <a:pt x="903769" y="1990458"/>
                  <a:pt x="718654" y="1926071"/>
                  <a:pt x="529516" y="1950217"/>
                </a:cubicBezTo>
                <a:cubicBezTo>
                  <a:pt x="336353" y="1978386"/>
                  <a:pt x="199528" y="1853635"/>
                  <a:pt x="127094" y="1664495"/>
                </a:cubicBezTo>
                <a:cubicBezTo>
                  <a:pt x="82827" y="1547794"/>
                  <a:pt x="167335" y="1338533"/>
                  <a:pt x="292086" y="1262074"/>
                </a:cubicBezTo>
                <a:cubicBezTo>
                  <a:pt x="348426" y="1225856"/>
                  <a:pt x="420862" y="1217807"/>
                  <a:pt x="485249" y="1258050"/>
                </a:cubicBezTo>
                <a:cubicBezTo>
                  <a:pt x="525491" y="1282196"/>
                  <a:pt x="565734" y="1282195"/>
                  <a:pt x="593903" y="1250000"/>
                </a:cubicBezTo>
                <a:cubicBezTo>
                  <a:pt x="642195" y="1193661"/>
                  <a:pt x="702557" y="1225856"/>
                  <a:pt x="754872" y="1217807"/>
                </a:cubicBezTo>
                <a:cubicBezTo>
                  <a:pt x="839380" y="1205735"/>
                  <a:pt x="903769" y="1189638"/>
                  <a:pt x="879623" y="1080984"/>
                </a:cubicBezTo>
                <a:cubicBezTo>
                  <a:pt x="875598" y="1056838"/>
                  <a:pt x="895719" y="1036717"/>
                  <a:pt x="899744" y="1016596"/>
                </a:cubicBezTo>
                <a:cubicBezTo>
                  <a:pt x="827308" y="992451"/>
                  <a:pt x="758896" y="988427"/>
                  <a:pt x="682435" y="1004523"/>
                </a:cubicBezTo>
                <a:cubicBezTo>
                  <a:pt x="573781" y="1028669"/>
                  <a:pt x="517444" y="952209"/>
                  <a:pt x="457080" y="879773"/>
                </a:cubicBezTo>
                <a:cubicBezTo>
                  <a:pt x="333838" y="1020620"/>
                  <a:pt x="148975" y="1004334"/>
                  <a:pt x="13024" y="863267"/>
                </a:cubicBezTo>
                <a:lnTo>
                  <a:pt x="0" y="847149"/>
                </a:lnTo>
                <a:lnTo>
                  <a:pt x="643094" y="33994"/>
                </a:lnTo>
                <a:lnTo>
                  <a:pt x="662314" y="34686"/>
                </a:lnTo>
                <a:cubicBezTo>
                  <a:pt x="722678" y="30661"/>
                  <a:pt x="779018" y="38709"/>
                  <a:pt x="839380" y="10540"/>
                </a:cubicBezTo>
                <a:cubicBezTo>
                  <a:pt x="891697" y="-13606"/>
                  <a:pt x="948034" y="6515"/>
                  <a:pt x="992301" y="42733"/>
                </a:cubicBezTo>
                <a:cubicBezTo>
                  <a:pt x="1024495" y="70904"/>
                  <a:pt x="1056689" y="82976"/>
                  <a:pt x="1092907" y="82976"/>
                </a:cubicBezTo>
                <a:cubicBezTo>
                  <a:pt x="1221682" y="87000"/>
                  <a:pt x="1334361" y="127241"/>
                  <a:pt x="1394723" y="256017"/>
                </a:cubicBezTo>
                <a:cubicBezTo>
                  <a:pt x="1402773" y="268091"/>
                  <a:pt x="1414845" y="276138"/>
                  <a:pt x="1426917" y="284187"/>
                </a:cubicBezTo>
                <a:cubicBezTo>
                  <a:pt x="1567764" y="356624"/>
                  <a:pt x="1668371" y="469302"/>
                  <a:pt x="1760929" y="594053"/>
                </a:cubicBezTo>
                <a:cubicBezTo>
                  <a:pt x="1781048" y="622222"/>
                  <a:pt x="1801170" y="654415"/>
                  <a:pt x="1805194" y="686610"/>
                </a:cubicBezTo>
                <a:cubicBezTo>
                  <a:pt x="1825316" y="875748"/>
                  <a:pt x="1909824" y="1064887"/>
                  <a:pt x="1821291" y="1258050"/>
                </a:cubicBezTo>
                <a:cubicBezTo>
                  <a:pt x="1813244" y="1274146"/>
                  <a:pt x="1809219" y="1294268"/>
                  <a:pt x="1797147" y="1306340"/>
                </a:cubicBezTo>
                <a:cubicBezTo>
                  <a:pt x="1773001" y="1338533"/>
                  <a:pt x="1752880" y="1362679"/>
                  <a:pt x="1716662" y="1306340"/>
                </a:cubicBezTo>
                <a:cubicBezTo>
                  <a:pt x="1737788" y="1387830"/>
                  <a:pt x="1722697" y="1448948"/>
                  <a:pt x="1681575" y="1501578"/>
                </a:cubicBezTo>
                <a:close/>
              </a:path>
            </a:pathLst>
          </a:custGeom>
          <a:solidFill>
            <a:schemeClr val="bg1"/>
          </a:solidFill>
          <a:ln w="21989" cap="flat">
            <a:noFill/>
            <a:prstDash val="solid"/>
            <a:miter/>
          </a:ln>
        </p:spPr>
        <p:txBody>
          <a:bodyPr wrap="square" rtlCol="0" anchor="ctr">
            <a:noAutofit/>
          </a:bodyP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Tree>
    <p:extLst>
      <p:ext uri="{BB962C8B-B14F-4D97-AF65-F5344CB8AC3E}">
        <p14:creationId xmlns:p14="http://schemas.microsoft.com/office/powerpoint/2010/main" val="354708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ivider - Blue">
    <p:bg>
      <p:bgPr>
        <a:solidFill>
          <a:schemeClr val="tx2"/>
        </a:solidFill>
        <a:effectLst/>
      </p:bgPr>
    </p:bg>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A406F060-DC5E-CC87-3436-36AF8578F78B}"/>
              </a:ext>
            </a:extLst>
          </p:cNvPr>
          <p:cNvGrpSpPr/>
          <p:nvPr/>
        </p:nvGrpSpPr>
        <p:grpSpPr>
          <a:xfrm>
            <a:off x="-268379" y="-235812"/>
            <a:ext cx="12709513" cy="2768410"/>
            <a:chOff x="-268379" y="-235812"/>
            <a:chExt cx="12709513" cy="2768410"/>
          </a:xfrm>
        </p:grpSpPr>
        <p:sp>
          <p:nvSpPr>
            <p:cNvPr id="9" name="Freeform: Shape 8">
              <a:extLst>
                <a:ext uri="{FF2B5EF4-FFF2-40B4-BE49-F238E27FC236}">
                  <a16:creationId xmlns:a16="http://schemas.microsoft.com/office/drawing/2014/main" id="{14B700F3-E979-9DBF-DE71-D627E25618A6}"/>
                </a:ext>
              </a:extLst>
            </p:cNvPr>
            <p:cNvSpPr/>
            <p:nvPr/>
          </p:nvSpPr>
          <p:spPr>
            <a:xfrm rot="20481175">
              <a:off x="7455640" y="58626"/>
              <a:ext cx="1448104" cy="1389865"/>
            </a:xfrm>
            <a:custGeom>
              <a:avLst/>
              <a:gdLst>
                <a:gd name="connsiteX0" fmla="*/ 1021496 w 1448104"/>
                <a:gd name="connsiteY0" fmla="*/ 0 h 1389865"/>
                <a:gd name="connsiteX1" fmla="*/ 1301750 w 1448104"/>
                <a:gd name="connsiteY1" fmla="*/ 94572 h 1389865"/>
                <a:gd name="connsiteX2" fmla="*/ 1300912 w 1448104"/>
                <a:gd name="connsiteY2" fmla="*/ 127519 h 1389865"/>
                <a:gd name="connsiteX3" fmla="*/ 1334529 w 1448104"/>
                <a:gd name="connsiteY3" fmla="*/ 396741 h 1389865"/>
                <a:gd name="connsiteX4" fmla="*/ 1436926 w 1448104"/>
                <a:gd name="connsiteY4" fmla="*/ 833636 h 1389865"/>
                <a:gd name="connsiteX5" fmla="*/ 980174 w 1448104"/>
                <a:gd name="connsiteY5" fmla="*/ 1353687 h 1389865"/>
                <a:gd name="connsiteX6" fmla="*/ 131865 w 1448104"/>
                <a:gd name="connsiteY6" fmla="*/ 858914 h 1389865"/>
                <a:gd name="connsiteX7" fmla="*/ 367037 w 1448104"/>
                <a:gd name="connsiteY7" fmla="*/ 209611 h 1389865"/>
                <a:gd name="connsiteX8" fmla="*/ 801214 w 1448104"/>
                <a:gd name="connsiteY8" fmla="*/ 85675 h 1389865"/>
                <a:gd name="connsiteX9" fmla="*/ 980777 w 1448104"/>
                <a:gd name="connsiteY9" fmla="*/ 19983 h 138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04" h="1389865">
                  <a:moveTo>
                    <a:pt x="1021496" y="0"/>
                  </a:moveTo>
                  <a:lnTo>
                    <a:pt x="1301750" y="94572"/>
                  </a:lnTo>
                  <a:lnTo>
                    <a:pt x="1300912" y="127519"/>
                  </a:lnTo>
                  <a:cubicBezTo>
                    <a:pt x="1301839" y="205476"/>
                    <a:pt x="1311698" y="293691"/>
                    <a:pt x="1334529" y="396741"/>
                  </a:cubicBezTo>
                  <a:cubicBezTo>
                    <a:pt x="1366264" y="540643"/>
                    <a:pt x="1411834" y="686317"/>
                    <a:pt x="1436926" y="833636"/>
                  </a:cubicBezTo>
                  <a:cubicBezTo>
                    <a:pt x="1511708" y="1273220"/>
                    <a:pt x="1194682" y="1478785"/>
                    <a:pt x="980174" y="1353687"/>
                  </a:cubicBezTo>
                  <a:lnTo>
                    <a:pt x="131865" y="858914"/>
                  </a:lnTo>
                  <a:cubicBezTo>
                    <a:pt x="-82825" y="733692"/>
                    <a:pt x="-56135" y="358765"/>
                    <a:pt x="367037" y="209611"/>
                  </a:cubicBezTo>
                  <a:cubicBezTo>
                    <a:pt x="508790" y="159611"/>
                    <a:pt x="659153" y="128230"/>
                    <a:pt x="801214" y="85675"/>
                  </a:cubicBezTo>
                  <a:cubicBezTo>
                    <a:pt x="869093" y="65451"/>
                    <a:pt x="928355" y="43426"/>
                    <a:pt x="980777" y="19983"/>
                  </a:cubicBezTo>
                  <a:close/>
                </a:path>
              </a:pathLst>
            </a:custGeom>
            <a:solidFill>
              <a:schemeClr val="accent5">
                <a:alpha val="20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9" name="Freeform: Shape 18">
              <a:extLst>
                <a:ext uri="{FF2B5EF4-FFF2-40B4-BE49-F238E27FC236}">
                  <a16:creationId xmlns:a16="http://schemas.microsoft.com/office/drawing/2014/main" id="{A5B76ED7-1C34-A9BA-506A-18267E4A372F}"/>
                </a:ext>
              </a:extLst>
            </p:cNvPr>
            <p:cNvSpPr/>
            <p:nvPr/>
          </p:nvSpPr>
          <p:spPr>
            <a:xfrm rot="3903520">
              <a:off x="11517816" y="417078"/>
              <a:ext cx="218602" cy="1274125"/>
            </a:xfrm>
            <a:custGeom>
              <a:avLst/>
              <a:gdLst>
                <a:gd name="connsiteX0" fmla="*/ 79026 w 218602"/>
                <a:gd name="connsiteY0" fmla="*/ 0 h 1274125"/>
                <a:gd name="connsiteX1" fmla="*/ 216280 w 218602"/>
                <a:gd name="connsiteY1" fmla="*/ 63832 h 1274125"/>
                <a:gd name="connsiteX2" fmla="*/ 217873 w 218602"/>
                <a:gd name="connsiteY2" fmla="*/ 80524 h 1274125"/>
                <a:gd name="connsiteX3" fmla="*/ 218602 w 218602"/>
                <a:gd name="connsiteY3" fmla="*/ 114523 h 1274125"/>
                <a:gd name="connsiteX4" fmla="*/ 216683 w 218602"/>
                <a:gd name="connsiteY4" fmla="*/ 152888 h 1274125"/>
                <a:gd name="connsiteX5" fmla="*/ 212216 w 218602"/>
                <a:gd name="connsiteY5" fmla="*/ 190901 h 1274125"/>
                <a:gd name="connsiteX6" fmla="*/ 205893 w 218602"/>
                <a:gd name="connsiteY6" fmla="*/ 223900 h 1274125"/>
                <a:gd name="connsiteX7" fmla="*/ 198113 w 218602"/>
                <a:gd name="connsiteY7" fmla="*/ 252538 h 1274125"/>
                <a:gd name="connsiteX8" fmla="*/ 189272 w 218602"/>
                <a:gd name="connsiteY8" fmla="*/ 277475 h 1274125"/>
                <a:gd name="connsiteX9" fmla="*/ 184999 w 218602"/>
                <a:gd name="connsiteY9" fmla="*/ 291369 h 1274125"/>
                <a:gd name="connsiteX10" fmla="*/ 182864 w 218602"/>
                <a:gd name="connsiteY10" fmla="*/ 305941 h 1274125"/>
                <a:gd name="connsiteX11" fmla="*/ 182890 w 218602"/>
                <a:gd name="connsiteY11" fmla="*/ 320770 h 1274125"/>
                <a:gd name="connsiteX12" fmla="*/ 185109 w 218602"/>
                <a:gd name="connsiteY12" fmla="*/ 335438 h 1274125"/>
                <a:gd name="connsiteX13" fmla="*/ 190258 w 218602"/>
                <a:gd name="connsiteY13" fmla="*/ 362044 h 1274125"/>
                <a:gd name="connsiteX14" fmla="*/ 193832 w 218602"/>
                <a:gd name="connsiteY14" fmla="*/ 392031 h 1274125"/>
                <a:gd name="connsiteX15" fmla="*/ 195350 w 218602"/>
                <a:gd name="connsiteY15" fmla="*/ 425939 h 1274125"/>
                <a:gd name="connsiteX16" fmla="*/ 194329 w 218602"/>
                <a:gd name="connsiteY16" fmla="*/ 464308 h 1274125"/>
                <a:gd name="connsiteX17" fmla="*/ 190762 w 218602"/>
                <a:gd name="connsiteY17" fmla="*/ 502424 h 1274125"/>
                <a:gd name="connsiteX18" fmla="*/ 185217 w 218602"/>
                <a:gd name="connsiteY18" fmla="*/ 535609 h 1274125"/>
                <a:gd name="connsiteX19" fmla="*/ 178106 w 218602"/>
                <a:gd name="connsiteY19" fmla="*/ 564498 h 1274125"/>
                <a:gd name="connsiteX20" fmla="*/ 169845 w 218602"/>
                <a:gd name="connsiteY20" fmla="*/ 589731 h 1274125"/>
                <a:gd name="connsiteX21" fmla="*/ 165897 w 218602"/>
                <a:gd name="connsiteY21" fmla="*/ 603763 h 1274125"/>
                <a:gd name="connsiteX22" fmla="*/ 164104 w 218602"/>
                <a:gd name="connsiteY22" fmla="*/ 618388 h 1274125"/>
                <a:gd name="connsiteX23" fmla="*/ 164477 w 218602"/>
                <a:gd name="connsiteY23" fmla="*/ 633186 h 1274125"/>
                <a:gd name="connsiteX24" fmla="*/ 167031 w 218602"/>
                <a:gd name="connsiteY24" fmla="*/ 647744 h 1274125"/>
                <a:gd name="connsiteX25" fmla="*/ 172801 w 218602"/>
                <a:gd name="connsiteY25" fmla="*/ 674109 h 1274125"/>
                <a:gd name="connsiteX26" fmla="*/ 177077 w 218602"/>
                <a:gd name="connsiteY26" fmla="*/ 703906 h 1274125"/>
                <a:gd name="connsiteX27" fmla="*/ 179387 w 218602"/>
                <a:gd name="connsiteY27" fmla="*/ 737696 h 1274125"/>
                <a:gd name="connsiteX28" fmla="*/ 179255 w 218602"/>
                <a:gd name="connsiteY28" fmla="*/ 776046 h 1274125"/>
                <a:gd name="connsiteX29" fmla="*/ 176579 w 218602"/>
                <a:gd name="connsiteY29" fmla="*/ 814234 h 1274125"/>
                <a:gd name="connsiteX30" fmla="*/ 171806 w 218602"/>
                <a:gd name="connsiteY30" fmla="*/ 847579 h 1274125"/>
                <a:gd name="connsiteX31" fmla="*/ 165368 w 218602"/>
                <a:gd name="connsiteY31" fmla="*/ 876697 h 1274125"/>
                <a:gd name="connsiteX32" fmla="*/ 157698 w 218602"/>
                <a:gd name="connsiteY32" fmla="*/ 902208 h 1274125"/>
                <a:gd name="connsiteX33" fmla="*/ 154085 w 218602"/>
                <a:gd name="connsiteY33" fmla="*/ 916369 h 1274125"/>
                <a:gd name="connsiteX34" fmla="*/ 152632 w 218602"/>
                <a:gd name="connsiteY34" fmla="*/ 931041 h 1274125"/>
                <a:gd name="connsiteX35" fmla="*/ 153346 w 218602"/>
                <a:gd name="connsiteY35" fmla="*/ 945807 h 1274125"/>
                <a:gd name="connsiteX36" fmla="*/ 156234 w 218602"/>
                <a:gd name="connsiteY36" fmla="*/ 960245 h 1274125"/>
                <a:gd name="connsiteX37" fmla="*/ 162612 w 218602"/>
                <a:gd name="connsiteY37" fmla="*/ 986341 h 1274125"/>
                <a:gd name="connsiteX38" fmla="*/ 167580 w 218602"/>
                <a:gd name="connsiteY38" fmla="*/ 1015928 h 1274125"/>
                <a:gd name="connsiteX39" fmla="*/ 170677 w 218602"/>
                <a:gd name="connsiteY39" fmla="*/ 1049584 h 1274125"/>
                <a:gd name="connsiteX40" fmla="*/ 171442 w 218602"/>
                <a:gd name="connsiteY40" fmla="*/ 1087884 h 1274125"/>
                <a:gd name="connsiteX41" fmla="*/ 169639 w 218602"/>
                <a:gd name="connsiteY41" fmla="*/ 1126120 h 1274125"/>
                <a:gd name="connsiteX42" fmla="*/ 165642 w 218602"/>
                <a:gd name="connsiteY42" fmla="*/ 1159600 h 1274125"/>
                <a:gd name="connsiteX43" fmla="*/ 159885 w 218602"/>
                <a:gd name="connsiteY43" fmla="*/ 1188929 h 1274125"/>
                <a:gd name="connsiteX44" fmla="*/ 152813 w 218602"/>
                <a:gd name="connsiteY44" fmla="*/ 1214709 h 1274125"/>
                <a:gd name="connsiteX45" fmla="*/ 149523 w 218602"/>
                <a:gd name="connsiteY45" fmla="*/ 1228992 h 1274125"/>
                <a:gd name="connsiteX46" fmla="*/ 148408 w 218602"/>
                <a:gd name="connsiteY46" fmla="*/ 1243697 h 1274125"/>
                <a:gd name="connsiteX47" fmla="*/ 149467 w 218602"/>
                <a:gd name="connsiteY47" fmla="*/ 1258412 h 1274125"/>
                <a:gd name="connsiteX48" fmla="*/ 153117 w 218602"/>
                <a:gd name="connsiteY48" fmla="*/ 1274125 h 1274125"/>
                <a:gd name="connsiteX49" fmla="*/ 19711 w 218602"/>
                <a:gd name="connsiteY49" fmla="*/ 1274125 h 1274125"/>
                <a:gd name="connsiteX50" fmla="*/ 21859 w 218602"/>
                <a:gd name="connsiteY50" fmla="*/ 1259315 h 1274125"/>
                <a:gd name="connsiteX51" fmla="*/ 20795 w 218602"/>
                <a:gd name="connsiteY51" fmla="*/ 1243912 h 1274125"/>
                <a:gd name="connsiteX52" fmla="*/ 16537 w 218602"/>
                <a:gd name="connsiteY52" fmla="*/ 1229694 h 1274125"/>
                <a:gd name="connsiteX53" fmla="*/ 9687 w 218602"/>
                <a:gd name="connsiteY53" fmla="*/ 1203366 h 1274125"/>
                <a:gd name="connsiteX54" fmla="*/ 4305 w 218602"/>
                <a:gd name="connsiteY54" fmla="*/ 1173343 h 1274125"/>
                <a:gd name="connsiteX55" fmla="*/ 904 w 218602"/>
                <a:gd name="connsiteY55" fmla="*/ 1139065 h 1274125"/>
                <a:gd name="connsiteX56" fmla="*/ 0 w 218602"/>
                <a:gd name="connsiteY56" fmla="*/ 1099964 h 1274125"/>
                <a:gd name="connsiteX57" fmla="*/ 1867 w 218602"/>
                <a:gd name="connsiteY57" fmla="*/ 1060918 h 1274125"/>
                <a:gd name="connsiteX58" fmla="*/ 6108 w 218602"/>
                <a:gd name="connsiteY58" fmla="*/ 1026790 h 1274125"/>
                <a:gd name="connsiteX59" fmla="*/ 12229 w 218602"/>
                <a:gd name="connsiteY59" fmla="*/ 996988 h 1274125"/>
                <a:gd name="connsiteX60" fmla="*/ 19731 w 218602"/>
                <a:gd name="connsiteY60" fmla="*/ 970923 h 1274125"/>
                <a:gd name="connsiteX61" fmla="*/ 23287 w 218602"/>
                <a:gd name="connsiteY61" fmla="*/ 956504 h 1274125"/>
                <a:gd name="connsiteX62" fmla="*/ 24711 w 218602"/>
                <a:gd name="connsiteY62" fmla="*/ 941598 h 1274125"/>
                <a:gd name="connsiteX63" fmla="*/ 23996 w 218602"/>
                <a:gd name="connsiteY63" fmla="*/ 926597 h 1274125"/>
                <a:gd name="connsiteX64" fmla="*/ 21138 w 218602"/>
                <a:gd name="connsiteY64" fmla="*/ 911902 h 1274125"/>
                <a:gd name="connsiteX65" fmla="*/ 14899 w 218602"/>
                <a:gd name="connsiteY65" fmla="*/ 885289 h 1274125"/>
                <a:gd name="connsiteX66" fmla="*/ 10217 w 218602"/>
                <a:gd name="connsiteY66" fmla="*/ 855051 h 1274125"/>
                <a:gd name="connsiteX67" fmla="*/ 7617 w 218602"/>
                <a:gd name="connsiteY67" fmla="*/ 820634 h 1274125"/>
                <a:gd name="connsiteX68" fmla="*/ 7622 w 218602"/>
                <a:gd name="connsiteY68" fmla="*/ 781483 h 1274125"/>
                <a:gd name="connsiteX69" fmla="*/ 10397 w 218602"/>
                <a:gd name="connsiteY69" fmla="*/ 742488 h 1274125"/>
                <a:gd name="connsiteX70" fmla="*/ 15430 w 218602"/>
                <a:gd name="connsiteY70" fmla="*/ 708507 h 1274125"/>
                <a:gd name="connsiteX71" fmla="*/ 22239 w 218602"/>
                <a:gd name="connsiteY71" fmla="*/ 678923 h 1274125"/>
                <a:gd name="connsiteX72" fmla="*/ 30338 w 218602"/>
                <a:gd name="connsiteY72" fmla="*/ 653131 h 1274125"/>
                <a:gd name="connsiteX73" fmla="*/ 34223 w 218602"/>
                <a:gd name="connsiteY73" fmla="*/ 638838 h 1274125"/>
                <a:gd name="connsiteX74" fmla="*/ 35996 w 218602"/>
                <a:gd name="connsiteY74" fmla="*/ 623975 h 1274125"/>
                <a:gd name="connsiteX75" fmla="*/ 35634 w 218602"/>
                <a:gd name="connsiteY75" fmla="*/ 608940 h 1274125"/>
                <a:gd name="connsiteX76" fmla="*/ 33113 w 218602"/>
                <a:gd name="connsiteY76" fmla="*/ 594135 h 1274125"/>
                <a:gd name="connsiteX77" fmla="*/ 27506 w 218602"/>
                <a:gd name="connsiteY77" fmla="*/ 567263 h 1274125"/>
                <a:gd name="connsiteX78" fmla="*/ 23536 w 218602"/>
                <a:gd name="connsiteY78" fmla="*/ 536817 h 1274125"/>
                <a:gd name="connsiteX79" fmla="*/ 21733 w 218602"/>
                <a:gd name="connsiteY79" fmla="*/ 502266 h 1274125"/>
                <a:gd name="connsiteX80" fmla="*/ 22639 w 218602"/>
                <a:gd name="connsiteY80" fmla="*/ 463077 h 1274125"/>
                <a:gd name="connsiteX81" fmla="*/ 26328 w 218602"/>
                <a:gd name="connsiteY81" fmla="*/ 424169 h 1274125"/>
                <a:gd name="connsiteX82" fmla="*/ 32154 w 218602"/>
                <a:gd name="connsiteY82" fmla="*/ 390359 h 1274125"/>
                <a:gd name="connsiteX83" fmla="*/ 39645 w 218602"/>
                <a:gd name="connsiteY83" fmla="*/ 361021 h 1274125"/>
                <a:gd name="connsiteX84" fmla="*/ 48339 w 218602"/>
                <a:gd name="connsiteY84" fmla="*/ 335537 h 1274125"/>
                <a:gd name="connsiteX85" fmla="*/ 52558 w 218602"/>
                <a:gd name="connsiteY85" fmla="*/ 321382 h 1274125"/>
                <a:gd name="connsiteX86" fmla="*/ 54676 w 218602"/>
                <a:gd name="connsiteY86" fmla="*/ 306570 h 1274125"/>
                <a:gd name="connsiteX87" fmla="*/ 54666 w 218602"/>
                <a:gd name="connsiteY87" fmla="*/ 291504 h 1274125"/>
                <a:gd name="connsiteX88" fmla="*/ 52502 w 218602"/>
                <a:gd name="connsiteY88" fmla="*/ 276590 h 1274125"/>
                <a:gd name="connsiteX89" fmla="*/ 47518 w 218602"/>
                <a:gd name="connsiteY89" fmla="*/ 249467 h 1274125"/>
                <a:gd name="connsiteX90" fmla="*/ 44255 w 218602"/>
                <a:gd name="connsiteY90" fmla="*/ 218837 h 1274125"/>
                <a:gd name="connsiteX91" fmla="*/ 43261 w 218602"/>
                <a:gd name="connsiteY91" fmla="*/ 184191 h 1274125"/>
                <a:gd name="connsiteX92" fmla="*/ 45089 w 218602"/>
                <a:gd name="connsiteY92" fmla="*/ 145015 h 1274125"/>
                <a:gd name="connsiteX93" fmla="*/ 49686 w 218602"/>
                <a:gd name="connsiteY93" fmla="*/ 106199 h 1274125"/>
                <a:gd name="connsiteX94" fmla="*/ 56300 w 218602"/>
                <a:gd name="connsiteY94" fmla="*/ 72579 h 1274125"/>
                <a:gd name="connsiteX95" fmla="*/ 64475 w 218602"/>
                <a:gd name="connsiteY95" fmla="*/ 43507 h 1274125"/>
                <a:gd name="connsiteX96" fmla="*/ 73755 w 218602"/>
                <a:gd name="connsiteY96" fmla="*/ 18337 h 1274125"/>
                <a:gd name="connsiteX97" fmla="*/ 78302 w 218602"/>
                <a:gd name="connsiteY97" fmla="*/ 4329 h 127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8602" h="1274125">
                  <a:moveTo>
                    <a:pt x="79026" y="0"/>
                  </a:moveTo>
                  <a:lnTo>
                    <a:pt x="216280" y="63832"/>
                  </a:lnTo>
                  <a:lnTo>
                    <a:pt x="217873" y="80524"/>
                  </a:lnTo>
                  <a:lnTo>
                    <a:pt x="218602" y="114523"/>
                  </a:lnTo>
                  <a:lnTo>
                    <a:pt x="216683" y="152888"/>
                  </a:lnTo>
                  <a:lnTo>
                    <a:pt x="212216" y="190901"/>
                  </a:lnTo>
                  <a:lnTo>
                    <a:pt x="205893" y="223900"/>
                  </a:lnTo>
                  <a:lnTo>
                    <a:pt x="198113" y="252538"/>
                  </a:lnTo>
                  <a:lnTo>
                    <a:pt x="189272" y="277475"/>
                  </a:lnTo>
                  <a:lnTo>
                    <a:pt x="184999" y="291369"/>
                  </a:lnTo>
                  <a:lnTo>
                    <a:pt x="182864" y="305941"/>
                  </a:lnTo>
                  <a:lnTo>
                    <a:pt x="182890" y="320770"/>
                  </a:lnTo>
                  <a:lnTo>
                    <a:pt x="185109" y="335438"/>
                  </a:lnTo>
                  <a:lnTo>
                    <a:pt x="190258" y="362044"/>
                  </a:lnTo>
                  <a:lnTo>
                    <a:pt x="193832" y="392031"/>
                  </a:lnTo>
                  <a:lnTo>
                    <a:pt x="195350" y="425939"/>
                  </a:lnTo>
                  <a:lnTo>
                    <a:pt x="194329" y="464308"/>
                  </a:lnTo>
                  <a:lnTo>
                    <a:pt x="190762" y="502424"/>
                  </a:lnTo>
                  <a:lnTo>
                    <a:pt x="185217" y="535609"/>
                  </a:lnTo>
                  <a:lnTo>
                    <a:pt x="178106" y="564498"/>
                  </a:lnTo>
                  <a:lnTo>
                    <a:pt x="169845" y="589731"/>
                  </a:lnTo>
                  <a:lnTo>
                    <a:pt x="165897" y="603763"/>
                  </a:lnTo>
                  <a:lnTo>
                    <a:pt x="164104" y="618388"/>
                  </a:lnTo>
                  <a:lnTo>
                    <a:pt x="164477" y="633186"/>
                  </a:lnTo>
                  <a:lnTo>
                    <a:pt x="167031" y="647744"/>
                  </a:lnTo>
                  <a:lnTo>
                    <a:pt x="172801" y="674109"/>
                  </a:lnTo>
                  <a:lnTo>
                    <a:pt x="177077" y="703906"/>
                  </a:lnTo>
                  <a:lnTo>
                    <a:pt x="179387" y="737696"/>
                  </a:lnTo>
                  <a:lnTo>
                    <a:pt x="179255" y="776046"/>
                  </a:lnTo>
                  <a:lnTo>
                    <a:pt x="176579" y="814234"/>
                  </a:lnTo>
                  <a:lnTo>
                    <a:pt x="171806" y="847579"/>
                  </a:lnTo>
                  <a:lnTo>
                    <a:pt x="165368" y="876697"/>
                  </a:lnTo>
                  <a:lnTo>
                    <a:pt x="157698" y="902208"/>
                  </a:lnTo>
                  <a:lnTo>
                    <a:pt x="154085" y="916369"/>
                  </a:lnTo>
                  <a:lnTo>
                    <a:pt x="152632" y="931041"/>
                  </a:lnTo>
                  <a:lnTo>
                    <a:pt x="153346" y="945807"/>
                  </a:lnTo>
                  <a:lnTo>
                    <a:pt x="156234" y="960245"/>
                  </a:lnTo>
                  <a:lnTo>
                    <a:pt x="162612" y="986341"/>
                  </a:lnTo>
                  <a:lnTo>
                    <a:pt x="167580" y="1015928"/>
                  </a:lnTo>
                  <a:lnTo>
                    <a:pt x="170677" y="1049584"/>
                  </a:lnTo>
                  <a:lnTo>
                    <a:pt x="171442" y="1087884"/>
                  </a:lnTo>
                  <a:lnTo>
                    <a:pt x="169639" y="1126120"/>
                  </a:lnTo>
                  <a:lnTo>
                    <a:pt x="165642" y="1159600"/>
                  </a:lnTo>
                  <a:lnTo>
                    <a:pt x="159885" y="1188929"/>
                  </a:lnTo>
                  <a:lnTo>
                    <a:pt x="152813" y="1214709"/>
                  </a:lnTo>
                  <a:lnTo>
                    <a:pt x="149523" y="1228992"/>
                  </a:lnTo>
                  <a:lnTo>
                    <a:pt x="148408" y="1243697"/>
                  </a:lnTo>
                  <a:lnTo>
                    <a:pt x="149467" y="1258412"/>
                  </a:lnTo>
                  <a:lnTo>
                    <a:pt x="153117" y="1274125"/>
                  </a:lnTo>
                  <a:lnTo>
                    <a:pt x="19711" y="1274125"/>
                  </a:lnTo>
                  <a:lnTo>
                    <a:pt x="21859" y="1259315"/>
                  </a:lnTo>
                  <a:lnTo>
                    <a:pt x="20795" y="1243912"/>
                  </a:lnTo>
                  <a:lnTo>
                    <a:pt x="16537" y="1229694"/>
                  </a:lnTo>
                  <a:lnTo>
                    <a:pt x="9687" y="1203366"/>
                  </a:lnTo>
                  <a:lnTo>
                    <a:pt x="4305" y="1173343"/>
                  </a:lnTo>
                  <a:lnTo>
                    <a:pt x="904" y="1139065"/>
                  </a:lnTo>
                  <a:lnTo>
                    <a:pt x="0" y="1099964"/>
                  </a:lnTo>
                  <a:lnTo>
                    <a:pt x="1867" y="1060918"/>
                  </a:lnTo>
                  <a:lnTo>
                    <a:pt x="6108" y="1026790"/>
                  </a:lnTo>
                  <a:lnTo>
                    <a:pt x="12229" y="996988"/>
                  </a:lnTo>
                  <a:lnTo>
                    <a:pt x="19731" y="970923"/>
                  </a:lnTo>
                  <a:lnTo>
                    <a:pt x="23287" y="956504"/>
                  </a:lnTo>
                  <a:lnTo>
                    <a:pt x="24711" y="941598"/>
                  </a:lnTo>
                  <a:lnTo>
                    <a:pt x="23996" y="926597"/>
                  </a:lnTo>
                  <a:lnTo>
                    <a:pt x="21138" y="911902"/>
                  </a:lnTo>
                  <a:lnTo>
                    <a:pt x="14899" y="885289"/>
                  </a:lnTo>
                  <a:lnTo>
                    <a:pt x="10217" y="855051"/>
                  </a:lnTo>
                  <a:lnTo>
                    <a:pt x="7617" y="820634"/>
                  </a:lnTo>
                  <a:lnTo>
                    <a:pt x="7622" y="781483"/>
                  </a:lnTo>
                  <a:lnTo>
                    <a:pt x="10397" y="742488"/>
                  </a:lnTo>
                  <a:lnTo>
                    <a:pt x="15430" y="708507"/>
                  </a:lnTo>
                  <a:lnTo>
                    <a:pt x="22239" y="678923"/>
                  </a:lnTo>
                  <a:lnTo>
                    <a:pt x="30338" y="653131"/>
                  </a:lnTo>
                  <a:lnTo>
                    <a:pt x="34223" y="638838"/>
                  </a:lnTo>
                  <a:lnTo>
                    <a:pt x="35996" y="623975"/>
                  </a:lnTo>
                  <a:lnTo>
                    <a:pt x="35634" y="608940"/>
                  </a:lnTo>
                  <a:lnTo>
                    <a:pt x="33113" y="594135"/>
                  </a:lnTo>
                  <a:lnTo>
                    <a:pt x="27506" y="567263"/>
                  </a:lnTo>
                  <a:lnTo>
                    <a:pt x="23536" y="536817"/>
                  </a:lnTo>
                  <a:lnTo>
                    <a:pt x="21733" y="502266"/>
                  </a:lnTo>
                  <a:lnTo>
                    <a:pt x="22639" y="463077"/>
                  </a:lnTo>
                  <a:lnTo>
                    <a:pt x="26328" y="424169"/>
                  </a:lnTo>
                  <a:lnTo>
                    <a:pt x="32154" y="390359"/>
                  </a:lnTo>
                  <a:lnTo>
                    <a:pt x="39645" y="361021"/>
                  </a:lnTo>
                  <a:lnTo>
                    <a:pt x="48339" y="335537"/>
                  </a:lnTo>
                  <a:lnTo>
                    <a:pt x="52558" y="321382"/>
                  </a:lnTo>
                  <a:lnTo>
                    <a:pt x="54676" y="306570"/>
                  </a:lnTo>
                  <a:lnTo>
                    <a:pt x="54666" y="291504"/>
                  </a:lnTo>
                  <a:lnTo>
                    <a:pt x="52502" y="276590"/>
                  </a:lnTo>
                  <a:lnTo>
                    <a:pt x="47518" y="249467"/>
                  </a:lnTo>
                  <a:lnTo>
                    <a:pt x="44255" y="218837"/>
                  </a:lnTo>
                  <a:lnTo>
                    <a:pt x="43261" y="184191"/>
                  </a:lnTo>
                  <a:lnTo>
                    <a:pt x="45089" y="145015"/>
                  </a:lnTo>
                  <a:lnTo>
                    <a:pt x="49686" y="106199"/>
                  </a:lnTo>
                  <a:lnTo>
                    <a:pt x="56300" y="72579"/>
                  </a:lnTo>
                  <a:lnTo>
                    <a:pt x="64475" y="43507"/>
                  </a:lnTo>
                  <a:lnTo>
                    <a:pt x="73755" y="18337"/>
                  </a:lnTo>
                  <a:lnTo>
                    <a:pt x="78302" y="4329"/>
                  </a:lnTo>
                  <a:close/>
                </a:path>
              </a:pathLst>
            </a:custGeom>
            <a:solidFill>
              <a:schemeClr val="accent5">
                <a:alpha val="20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1" name="Freeform: Shape 20">
              <a:extLst>
                <a:ext uri="{FF2B5EF4-FFF2-40B4-BE49-F238E27FC236}">
                  <a16:creationId xmlns:a16="http://schemas.microsoft.com/office/drawing/2014/main" id="{7161D5E6-E604-A824-91E5-320AC3839503}"/>
                </a:ext>
              </a:extLst>
            </p:cNvPr>
            <p:cNvSpPr/>
            <p:nvPr/>
          </p:nvSpPr>
          <p:spPr>
            <a:xfrm rot="13654353">
              <a:off x="11464201" y="736041"/>
              <a:ext cx="387391" cy="1362193"/>
            </a:xfrm>
            <a:custGeom>
              <a:avLst/>
              <a:gdLst>
                <a:gd name="connsiteX0" fmla="*/ 147207 w 387391"/>
                <a:gd name="connsiteY0" fmla="*/ 1362193 h 1362193"/>
                <a:gd name="connsiteX1" fmla="*/ 0 w 387391"/>
                <a:gd name="connsiteY1" fmla="*/ 1227645 h 1362193"/>
                <a:gd name="connsiteX2" fmla="*/ 1801 w 387391"/>
                <a:gd name="connsiteY2" fmla="*/ 1216824 h 1362193"/>
                <a:gd name="connsiteX3" fmla="*/ 9982 w 387391"/>
                <a:gd name="connsiteY3" fmla="*/ 1183657 h 1362193"/>
                <a:gd name="connsiteX4" fmla="*/ 19511 w 387391"/>
                <a:gd name="connsiteY4" fmla="*/ 1155162 h 1362193"/>
                <a:gd name="connsiteX5" fmla="*/ 29965 w 387391"/>
                <a:gd name="connsiteY5" fmla="*/ 1130658 h 1362193"/>
                <a:gd name="connsiteX6" fmla="*/ 35174 w 387391"/>
                <a:gd name="connsiteY6" fmla="*/ 1116977 h 1362193"/>
                <a:gd name="connsiteX7" fmla="*/ 38332 w 387391"/>
                <a:gd name="connsiteY7" fmla="*/ 1102401 h 1362193"/>
                <a:gd name="connsiteX8" fmla="*/ 39384 w 387391"/>
                <a:gd name="connsiteY8" fmla="*/ 1087320 h 1362193"/>
                <a:gd name="connsiteX9" fmla="*/ 38273 w 387391"/>
                <a:gd name="connsiteY9" fmla="*/ 1072129 h 1362193"/>
                <a:gd name="connsiteX10" fmla="*/ 35227 w 387391"/>
                <a:gd name="connsiteY10" fmla="*/ 1044400 h 1362193"/>
                <a:gd name="connsiteX11" fmla="*/ 34146 w 387391"/>
                <a:gd name="connsiteY11" fmla="*/ 1013355 h 1362193"/>
                <a:gd name="connsiteX12" fmla="*/ 35613 w 387391"/>
                <a:gd name="connsiteY12" fmla="*/ 978542 h 1362193"/>
                <a:gd name="connsiteX13" fmla="*/ 40211 w 387391"/>
                <a:gd name="connsiteY13" fmla="*/ 939522 h 1362193"/>
                <a:gd name="connsiteX14" fmla="*/ 47532 w 387391"/>
                <a:gd name="connsiteY14" fmla="*/ 901192 h 1362193"/>
                <a:gd name="connsiteX15" fmla="*/ 56501 w 387391"/>
                <a:gd name="connsiteY15" fmla="*/ 868288 h 1362193"/>
                <a:gd name="connsiteX16" fmla="*/ 66705 w 387391"/>
                <a:gd name="connsiteY16" fmla="*/ 840114 h 1362193"/>
                <a:gd name="connsiteX17" fmla="*/ 77736 w 387391"/>
                <a:gd name="connsiteY17" fmla="*/ 815968 h 1362193"/>
                <a:gd name="connsiteX18" fmla="*/ 83263 w 387391"/>
                <a:gd name="connsiteY18" fmla="*/ 802466 h 1362193"/>
                <a:gd name="connsiteX19" fmla="*/ 86767 w 387391"/>
                <a:gd name="connsiteY19" fmla="*/ 787986 h 1362193"/>
                <a:gd name="connsiteX20" fmla="*/ 88180 w 387391"/>
                <a:gd name="connsiteY20" fmla="*/ 772917 h 1362193"/>
                <a:gd name="connsiteX21" fmla="*/ 87430 w 387391"/>
                <a:gd name="connsiteY21" fmla="*/ 757660 h 1362193"/>
                <a:gd name="connsiteX22" fmla="*/ 85045 w 387391"/>
                <a:gd name="connsiteY22" fmla="*/ 729759 h 1362193"/>
                <a:gd name="connsiteX23" fmla="*/ 84702 w 387391"/>
                <a:gd name="connsiteY23" fmla="*/ 698614 h 1362193"/>
                <a:gd name="connsiteX24" fmla="*/ 86996 w 387391"/>
                <a:gd name="connsiteY24" fmla="*/ 663797 h 1362193"/>
                <a:gd name="connsiteX25" fmla="*/ 92525 w 387391"/>
                <a:gd name="connsiteY25" fmla="*/ 624880 h 1362193"/>
                <a:gd name="connsiteX26" fmla="*/ 100755 w 387391"/>
                <a:gd name="connsiteY26" fmla="*/ 586757 h 1362193"/>
                <a:gd name="connsiteX27" fmla="*/ 110503 w 387391"/>
                <a:gd name="connsiteY27" fmla="*/ 554139 h 1362193"/>
                <a:gd name="connsiteX28" fmla="*/ 121375 w 387391"/>
                <a:gd name="connsiteY28" fmla="*/ 526301 h 1362193"/>
                <a:gd name="connsiteX29" fmla="*/ 132975 w 387391"/>
                <a:gd name="connsiteY29" fmla="*/ 502531 h 1362193"/>
                <a:gd name="connsiteX30" fmla="*/ 138829 w 387391"/>
                <a:gd name="connsiteY30" fmla="*/ 489213 h 1362193"/>
                <a:gd name="connsiteX31" fmla="*/ 142681 w 387391"/>
                <a:gd name="connsiteY31" fmla="*/ 474842 h 1362193"/>
                <a:gd name="connsiteX32" fmla="*/ 144456 w 387391"/>
                <a:gd name="connsiteY32" fmla="*/ 459803 h 1362193"/>
                <a:gd name="connsiteX33" fmla="*/ 144076 w 387391"/>
                <a:gd name="connsiteY33" fmla="*/ 444493 h 1362193"/>
                <a:gd name="connsiteX34" fmla="*/ 142357 w 387391"/>
                <a:gd name="connsiteY34" fmla="*/ 416450 h 1362193"/>
                <a:gd name="connsiteX35" fmla="*/ 142758 w 387391"/>
                <a:gd name="connsiteY35" fmla="*/ 385226 h 1362193"/>
                <a:gd name="connsiteX36" fmla="*/ 152346 w 387391"/>
                <a:gd name="connsiteY36" fmla="*/ 311639 h 1362193"/>
                <a:gd name="connsiteX37" fmla="*/ 172019 w 387391"/>
                <a:gd name="connsiteY37" fmla="*/ 241430 h 1362193"/>
                <a:gd name="connsiteX38" fmla="*/ 183555 w 387391"/>
                <a:gd name="connsiteY38" fmla="*/ 213957 h 1362193"/>
                <a:gd name="connsiteX39" fmla="*/ 195724 w 387391"/>
                <a:gd name="connsiteY39" fmla="*/ 190594 h 1362193"/>
                <a:gd name="connsiteX40" fmla="*/ 201893 w 387391"/>
                <a:gd name="connsiteY40" fmla="*/ 177476 h 1362193"/>
                <a:gd name="connsiteX41" fmla="*/ 206090 w 387391"/>
                <a:gd name="connsiteY41" fmla="*/ 163216 h 1362193"/>
                <a:gd name="connsiteX42" fmla="*/ 208224 w 387391"/>
                <a:gd name="connsiteY42" fmla="*/ 148202 h 1362193"/>
                <a:gd name="connsiteX43" fmla="*/ 208213 w 387391"/>
                <a:gd name="connsiteY43" fmla="*/ 132829 h 1362193"/>
                <a:gd name="connsiteX44" fmla="*/ 207176 w 387391"/>
                <a:gd name="connsiteY44" fmla="*/ 104665 h 1362193"/>
                <a:gd name="connsiteX45" fmla="*/ 208326 w 387391"/>
                <a:gd name="connsiteY45" fmla="*/ 73397 h 1362193"/>
                <a:gd name="connsiteX46" fmla="*/ 212288 w 387391"/>
                <a:gd name="connsiteY46" fmla="*/ 38637 h 1362193"/>
                <a:gd name="connsiteX47" fmla="*/ 219676 w 387391"/>
                <a:gd name="connsiteY47" fmla="*/ 0 h 1362193"/>
                <a:gd name="connsiteX48" fmla="*/ 287633 w 387391"/>
                <a:gd name="connsiteY48" fmla="*/ 26053 h 1362193"/>
                <a:gd name="connsiteX49" fmla="*/ 319472 w 387391"/>
                <a:gd name="connsiteY49" fmla="*/ 21526 h 1362193"/>
                <a:gd name="connsiteX50" fmla="*/ 387391 w 387391"/>
                <a:gd name="connsiteY50" fmla="*/ 47704 h 1362193"/>
                <a:gd name="connsiteX51" fmla="*/ 377580 w 387391"/>
                <a:gd name="connsiteY51" fmla="*/ 84557 h 1362193"/>
                <a:gd name="connsiteX52" fmla="*/ 366651 w 387391"/>
                <a:gd name="connsiteY52" fmla="*/ 115974 h 1362193"/>
                <a:gd name="connsiteX53" fmla="*/ 354905 w 387391"/>
                <a:gd name="connsiteY53" fmla="*/ 142708 h 1362193"/>
                <a:gd name="connsiteX54" fmla="*/ 342644 w 387391"/>
                <a:gd name="connsiteY54" fmla="*/ 165500 h 1362193"/>
                <a:gd name="connsiteX55" fmla="*/ 336471 w 387391"/>
                <a:gd name="connsiteY55" fmla="*/ 178343 h 1362193"/>
                <a:gd name="connsiteX56" fmla="*/ 332298 w 387391"/>
                <a:gd name="connsiteY56" fmla="*/ 192357 h 1362193"/>
                <a:gd name="connsiteX57" fmla="*/ 330215 w 387391"/>
                <a:gd name="connsiteY57" fmla="*/ 207132 h 1362193"/>
                <a:gd name="connsiteX58" fmla="*/ 330307 w 387391"/>
                <a:gd name="connsiteY58" fmla="*/ 222258 h 1362193"/>
                <a:gd name="connsiteX59" fmla="*/ 331589 w 387391"/>
                <a:gd name="connsiteY59" fmla="*/ 249962 h 1362193"/>
                <a:gd name="connsiteX60" fmla="*/ 327519 w 387391"/>
                <a:gd name="connsiteY60" fmla="*/ 314780 h 1362193"/>
                <a:gd name="connsiteX61" fmla="*/ 302000 w 387391"/>
                <a:gd name="connsiteY61" fmla="*/ 421596 h 1362193"/>
                <a:gd name="connsiteX62" fmla="*/ 290914 w 387391"/>
                <a:gd name="connsiteY62" fmla="*/ 448689 h 1362193"/>
                <a:gd name="connsiteX63" fmla="*/ 279212 w 387391"/>
                <a:gd name="connsiteY63" fmla="*/ 471876 h 1362193"/>
                <a:gd name="connsiteX64" fmla="*/ 273344 w 387391"/>
                <a:gd name="connsiteY64" fmla="*/ 484919 h 1362193"/>
                <a:gd name="connsiteX65" fmla="*/ 269507 w 387391"/>
                <a:gd name="connsiteY65" fmla="*/ 499050 h 1362193"/>
                <a:gd name="connsiteX66" fmla="*/ 267781 w 387391"/>
                <a:gd name="connsiteY66" fmla="*/ 513865 h 1362193"/>
                <a:gd name="connsiteX67" fmla="*/ 268244 w 387391"/>
                <a:gd name="connsiteY67" fmla="*/ 528953 h 1362193"/>
                <a:gd name="connsiteX68" fmla="*/ 270189 w 387391"/>
                <a:gd name="connsiteY68" fmla="*/ 556508 h 1362193"/>
                <a:gd name="connsiteX69" fmla="*/ 267683 w 387391"/>
                <a:gd name="connsiteY69" fmla="*/ 621274 h 1362193"/>
                <a:gd name="connsiteX70" fmla="*/ 244719 w 387391"/>
                <a:gd name="connsiteY70" fmla="*/ 728742 h 1362193"/>
                <a:gd name="connsiteX71" fmla="*/ 234282 w 387391"/>
                <a:gd name="connsiteY71" fmla="*/ 756186 h 1362193"/>
                <a:gd name="connsiteX72" fmla="*/ 223136 w 387391"/>
                <a:gd name="connsiteY72" fmla="*/ 779752 h 1362193"/>
                <a:gd name="connsiteX73" fmla="*/ 217590 w 387391"/>
                <a:gd name="connsiteY73" fmla="*/ 792993 h 1362193"/>
                <a:gd name="connsiteX74" fmla="*/ 214094 w 387391"/>
                <a:gd name="connsiteY74" fmla="*/ 807234 h 1362193"/>
                <a:gd name="connsiteX75" fmla="*/ 212719 w 387391"/>
                <a:gd name="connsiteY75" fmla="*/ 822065 h 1362193"/>
                <a:gd name="connsiteX76" fmla="*/ 213536 w 387391"/>
                <a:gd name="connsiteY76" fmla="*/ 837076 h 1362193"/>
                <a:gd name="connsiteX77" fmla="*/ 216138 w 387391"/>
                <a:gd name="connsiteY77" fmla="*/ 864486 h 1362193"/>
                <a:gd name="connsiteX78" fmla="*/ 216861 w 387391"/>
                <a:gd name="connsiteY78" fmla="*/ 895028 h 1362193"/>
                <a:gd name="connsiteX79" fmla="*/ 215178 w 387391"/>
                <a:gd name="connsiteY79" fmla="*/ 929167 h 1362193"/>
                <a:gd name="connsiteX80" fmla="*/ 210551 w 387391"/>
                <a:gd name="connsiteY80" fmla="*/ 967371 h 1362193"/>
                <a:gd name="connsiteX81" fmla="*/ 203422 w 387391"/>
                <a:gd name="connsiteY81" fmla="*/ 1004914 h 1362193"/>
                <a:gd name="connsiteX82" fmla="*/ 194788 w 387391"/>
                <a:gd name="connsiteY82" fmla="*/ 1037221 h 1362193"/>
                <a:gd name="connsiteX83" fmla="*/ 185007 w 387391"/>
                <a:gd name="connsiteY83" fmla="*/ 1064994 h 1362193"/>
                <a:gd name="connsiteX84" fmla="*/ 174434 w 387391"/>
                <a:gd name="connsiteY84" fmla="*/ 1088933 h 1362193"/>
                <a:gd name="connsiteX85" fmla="*/ 169197 w 387391"/>
                <a:gd name="connsiteY85" fmla="*/ 1102354 h 1362193"/>
                <a:gd name="connsiteX86" fmla="*/ 166041 w 387391"/>
                <a:gd name="connsiteY86" fmla="*/ 1116692 h 1362193"/>
                <a:gd name="connsiteX87" fmla="*/ 165025 w 387391"/>
                <a:gd name="connsiteY87" fmla="*/ 1131536 h 1362193"/>
                <a:gd name="connsiteX88" fmla="*/ 166203 w 387391"/>
                <a:gd name="connsiteY88" fmla="*/ 1146478 h 1362193"/>
                <a:gd name="connsiteX89" fmla="*/ 169452 w 387391"/>
                <a:gd name="connsiteY89" fmla="*/ 1173714 h 1362193"/>
                <a:gd name="connsiteX90" fmla="*/ 170899 w 387391"/>
                <a:gd name="connsiteY90" fmla="*/ 1204152 h 1362193"/>
                <a:gd name="connsiteX91" fmla="*/ 170020 w 387391"/>
                <a:gd name="connsiteY91" fmla="*/ 1238273 h 1362193"/>
                <a:gd name="connsiteX92" fmla="*/ 166299 w 387391"/>
                <a:gd name="connsiteY92" fmla="*/ 1276551 h 1362193"/>
                <a:gd name="connsiteX93" fmla="*/ 160059 w 387391"/>
                <a:gd name="connsiteY93" fmla="*/ 1314281 h 1362193"/>
                <a:gd name="connsiteX94" fmla="*/ 152194 w 387391"/>
                <a:gd name="connsiteY94" fmla="*/ 1346841 h 136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7391" h="1362193">
                  <a:moveTo>
                    <a:pt x="147207" y="1362193"/>
                  </a:moveTo>
                  <a:lnTo>
                    <a:pt x="0" y="1227645"/>
                  </a:lnTo>
                  <a:lnTo>
                    <a:pt x="1801" y="1216824"/>
                  </a:lnTo>
                  <a:lnTo>
                    <a:pt x="9982" y="1183657"/>
                  </a:lnTo>
                  <a:lnTo>
                    <a:pt x="19511" y="1155162"/>
                  </a:lnTo>
                  <a:lnTo>
                    <a:pt x="29965" y="1130658"/>
                  </a:lnTo>
                  <a:lnTo>
                    <a:pt x="35174" y="1116977"/>
                  </a:lnTo>
                  <a:lnTo>
                    <a:pt x="38332" y="1102401"/>
                  </a:lnTo>
                  <a:lnTo>
                    <a:pt x="39384" y="1087320"/>
                  </a:lnTo>
                  <a:lnTo>
                    <a:pt x="38273" y="1072129"/>
                  </a:lnTo>
                  <a:lnTo>
                    <a:pt x="35227" y="1044400"/>
                  </a:lnTo>
                  <a:lnTo>
                    <a:pt x="34146" y="1013355"/>
                  </a:lnTo>
                  <a:lnTo>
                    <a:pt x="35613" y="978542"/>
                  </a:lnTo>
                  <a:lnTo>
                    <a:pt x="40211" y="939522"/>
                  </a:lnTo>
                  <a:lnTo>
                    <a:pt x="47532" y="901192"/>
                  </a:lnTo>
                  <a:lnTo>
                    <a:pt x="56501" y="868288"/>
                  </a:lnTo>
                  <a:lnTo>
                    <a:pt x="66705" y="840114"/>
                  </a:lnTo>
                  <a:lnTo>
                    <a:pt x="77736" y="815968"/>
                  </a:lnTo>
                  <a:lnTo>
                    <a:pt x="83263" y="802466"/>
                  </a:lnTo>
                  <a:lnTo>
                    <a:pt x="86767" y="787986"/>
                  </a:lnTo>
                  <a:lnTo>
                    <a:pt x="88180" y="772917"/>
                  </a:lnTo>
                  <a:lnTo>
                    <a:pt x="87430" y="757660"/>
                  </a:lnTo>
                  <a:lnTo>
                    <a:pt x="85045" y="729759"/>
                  </a:lnTo>
                  <a:lnTo>
                    <a:pt x="84702" y="698614"/>
                  </a:lnTo>
                  <a:lnTo>
                    <a:pt x="86996" y="663797"/>
                  </a:lnTo>
                  <a:lnTo>
                    <a:pt x="92525" y="624880"/>
                  </a:lnTo>
                  <a:lnTo>
                    <a:pt x="100755" y="586757"/>
                  </a:lnTo>
                  <a:lnTo>
                    <a:pt x="110503" y="554139"/>
                  </a:lnTo>
                  <a:lnTo>
                    <a:pt x="121375" y="526301"/>
                  </a:lnTo>
                  <a:lnTo>
                    <a:pt x="132975" y="502531"/>
                  </a:lnTo>
                  <a:lnTo>
                    <a:pt x="138829" y="489213"/>
                  </a:lnTo>
                  <a:lnTo>
                    <a:pt x="142681" y="474842"/>
                  </a:lnTo>
                  <a:lnTo>
                    <a:pt x="144456" y="459803"/>
                  </a:lnTo>
                  <a:lnTo>
                    <a:pt x="144076" y="444493"/>
                  </a:lnTo>
                  <a:lnTo>
                    <a:pt x="142357" y="416450"/>
                  </a:lnTo>
                  <a:lnTo>
                    <a:pt x="142758" y="385226"/>
                  </a:lnTo>
                  <a:lnTo>
                    <a:pt x="152346" y="311639"/>
                  </a:lnTo>
                  <a:lnTo>
                    <a:pt x="172019" y="241430"/>
                  </a:lnTo>
                  <a:lnTo>
                    <a:pt x="183555" y="213957"/>
                  </a:lnTo>
                  <a:lnTo>
                    <a:pt x="195724" y="190594"/>
                  </a:lnTo>
                  <a:lnTo>
                    <a:pt x="201893" y="177476"/>
                  </a:lnTo>
                  <a:lnTo>
                    <a:pt x="206090" y="163216"/>
                  </a:lnTo>
                  <a:lnTo>
                    <a:pt x="208224" y="148202"/>
                  </a:lnTo>
                  <a:lnTo>
                    <a:pt x="208213" y="132829"/>
                  </a:lnTo>
                  <a:lnTo>
                    <a:pt x="207176" y="104665"/>
                  </a:lnTo>
                  <a:lnTo>
                    <a:pt x="208326" y="73397"/>
                  </a:lnTo>
                  <a:lnTo>
                    <a:pt x="212288" y="38637"/>
                  </a:lnTo>
                  <a:lnTo>
                    <a:pt x="219676" y="0"/>
                  </a:lnTo>
                  <a:lnTo>
                    <a:pt x="287633" y="26053"/>
                  </a:lnTo>
                  <a:lnTo>
                    <a:pt x="319472" y="21526"/>
                  </a:lnTo>
                  <a:lnTo>
                    <a:pt x="387391" y="47704"/>
                  </a:lnTo>
                  <a:lnTo>
                    <a:pt x="377580" y="84557"/>
                  </a:lnTo>
                  <a:lnTo>
                    <a:pt x="366651" y="115974"/>
                  </a:lnTo>
                  <a:lnTo>
                    <a:pt x="354905" y="142708"/>
                  </a:lnTo>
                  <a:lnTo>
                    <a:pt x="342644" y="165500"/>
                  </a:lnTo>
                  <a:lnTo>
                    <a:pt x="336471" y="178343"/>
                  </a:lnTo>
                  <a:lnTo>
                    <a:pt x="332298" y="192357"/>
                  </a:lnTo>
                  <a:lnTo>
                    <a:pt x="330215" y="207132"/>
                  </a:lnTo>
                  <a:lnTo>
                    <a:pt x="330307" y="222258"/>
                  </a:lnTo>
                  <a:lnTo>
                    <a:pt x="331589" y="249962"/>
                  </a:lnTo>
                  <a:lnTo>
                    <a:pt x="327519" y="314780"/>
                  </a:lnTo>
                  <a:lnTo>
                    <a:pt x="302000" y="421596"/>
                  </a:lnTo>
                  <a:lnTo>
                    <a:pt x="290914" y="448689"/>
                  </a:lnTo>
                  <a:lnTo>
                    <a:pt x="279212" y="471876"/>
                  </a:lnTo>
                  <a:lnTo>
                    <a:pt x="273344" y="484919"/>
                  </a:lnTo>
                  <a:lnTo>
                    <a:pt x="269507" y="499050"/>
                  </a:lnTo>
                  <a:lnTo>
                    <a:pt x="267781" y="513865"/>
                  </a:lnTo>
                  <a:lnTo>
                    <a:pt x="268244" y="528953"/>
                  </a:lnTo>
                  <a:lnTo>
                    <a:pt x="270189" y="556508"/>
                  </a:lnTo>
                  <a:lnTo>
                    <a:pt x="267683" y="621274"/>
                  </a:lnTo>
                  <a:lnTo>
                    <a:pt x="244719" y="728742"/>
                  </a:lnTo>
                  <a:lnTo>
                    <a:pt x="234282" y="756186"/>
                  </a:lnTo>
                  <a:lnTo>
                    <a:pt x="223136" y="779752"/>
                  </a:lnTo>
                  <a:lnTo>
                    <a:pt x="217590" y="792993"/>
                  </a:lnTo>
                  <a:lnTo>
                    <a:pt x="214094" y="807234"/>
                  </a:lnTo>
                  <a:lnTo>
                    <a:pt x="212719" y="822065"/>
                  </a:lnTo>
                  <a:lnTo>
                    <a:pt x="213536" y="837076"/>
                  </a:lnTo>
                  <a:lnTo>
                    <a:pt x="216138" y="864486"/>
                  </a:lnTo>
                  <a:lnTo>
                    <a:pt x="216861" y="895028"/>
                  </a:lnTo>
                  <a:lnTo>
                    <a:pt x="215178" y="929167"/>
                  </a:lnTo>
                  <a:lnTo>
                    <a:pt x="210551" y="967371"/>
                  </a:lnTo>
                  <a:lnTo>
                    <a:pt x="203422" y="1004914"/>
                  </a:lnTo>
                  <a:lnTo>
                    <a:pt x="194788" y="1037221"/>
                  </a:lnTo>
                  <a:lnTo>
                    <a:pt x="185007" y="1064994"/>
                  </a:lnTo>
                  <a:lnTo>
                    <a:pt x="174434" y="1088933"/>
                  </a:lnTo>
                  <a:lnTo>
                    <a:pt x="169197" y="1102354"/>
                  </a:lnTo>
                  <a:lnTo>
                    <a:pt x="166041" y="1116692"/>
                  </a:lnTo>
                  <a:lnTo>
                    <a:pt x="165025" y="1131536"/>
                  </a:lnTo>
                  <a:lnTo>
                    <a:pt x="166203" y="1146478"/>
                  </a:lnTo>
                  <a:lnTo>
                    <a:pt x="169452" y="1173714"/>
                  </a:lnTo>
                  <a:lnTo>
                    <a:pt x="170899" y="1204152"/>
                  </a:lnTo>
                  <a:lnTo>
                    <a:pt x="170020" y="1238273"/>
                  </a:lnTo>
                  <a:lnTo>
                    <a:pt x="166299" y="1276551"/>
                  </a:lnTo>
                  <a:lnTo>
                    <a:pt x="160059" y="1314281"/>
                  </a:lnTo>
                  <a:lnTo>
                    <a:pt x="152194" y="1346841"/>
                  </a:lnTo>
                  <a:close/>
                </a:path>
              </a:pathLst>
            </a:custGeom>
            <a:solidFill>
              <a:schemeClr val="accent5">
                <a:alpha val="20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3" name="Freeform: Shape 22">
              <a:extLst>
                <a:ext uri="{FF2B5EF4-FFF2-40B4-BE49-F238E27FC236}">
                  <a16:creationId xmlns:a16="http://schemas.microsoft.com/office/drawing/2014/main" id="{3E8E3230-9156-DD1E-B7F1-16D5D2D1922F}"/>
                </a:ext>
              </a:extLst>
            </p:cNvPr>
            <p:cNvSpPr/>
            <p:nvPr/>
          </p:nvSpPr>
          <p:spPr>
            <a:xfrm rot="14016479" flipH="1">
              <a:off x="11562598" y="1072719"/>
              <a:ext cx="396316" cy="1360756"/>
            </a:xfrm>
            <a:custGeom>
              <a:avLst/>
              <a:gdLst>
                <a:gd name="connsiteX0" fmla="*/ 1895 w 396316"/>
                <a:gd name="connsiteY0" fmla="*/ 1360756 h 1360756"/>
                <a:gd name="connsiteX1" fmla="*/ 179155 w 396316"/>
                <a:gd name="connsiteY1" fmla="*/ 1230107 h 1360756"/>
                <a:gd name="connsiteX2" fmla="*/ 179823 w 396316"/>
                <a:gd name="connsiteY2" fmla="*/ 1204153 h 1360756"/>
                <a:gd name="connsiteX3" fmla="*/ 178378 w 396316"/>
                <a:gd name="connsiteY3" fmla="*/ 1173715 h 1360756"/>
                <a:gd name="connsiteX4" fmla="*/ 175128 w 396316"/>
                <a:gd name="connsiteY4" fmla="*/ 1146478 h 1360756"/>
                <a:gd name="connsiteX5" fmla="*/ 173950 w 396316"/>
                <a:gd name="connsiteY5" fmla="*/ 1131536 h 1360756"/>
                <a:gd name="connsiteX6" fmla="*/ 174966 w 396316"/>
                <a:gd name="connsiteY6" fmla="*/ 1116691 h 1360756"/>
                <a:gd name="connsiteX7" fmla="*/ 178122 w 396316"/>
                <a:gd name="connsiteY7" fmla="*/ 1102354 h 1360756"/>
                <a:gd name="connsiteX8" fmla="*/ 183359 w 396316"/>
                <a:gd name="connsiteY8" fmla="*/ 1088934 h 1360756"/>
                <a:gd name="connsiteX9" fmla="*/ 193932 w 396316"/>
                <a:gd name="connsiteY9" fmla="*/ 1064996 h 1360756"/>
                <a:gd name="connsiteX10" fmla="*/ 203713 w 396316"/>
                <a:gd name="connsiteY10" fmla="*/ 1037221 h 1360756"/>
                <a:gd name="connsiteX11" fmla="*/ 212347 w 396316"/>
                <a:gd name="connsiteY11" fmla="*/ 1004914 h 1360756"/>
                <a:gd name="connsiteX12" fmla="*/ 219475 w 396316"/>
                <a:gd name="connsiteY12" fmla="*/ 967371 h 1360756"/>
                <a:gd name="connsiteX13" fmla="*/ 224102 w 396316"/>
                <a:gd name="connsiteY13" fmla="*/ 929167 h 1360756"/>
                <a:gd name="connsiteX14" fmla="*/ 225786 w 396316"/>
                <a:gd name="connsiteY14" fmla="*/ 895028 h 1360756"/>
                <a:gd name="connsiteX15" fmla="*/ 225064 w 396316"/>
                <a:gd name="connsiteY15" fmla="*/ 864486 h 1360756"/>
                <a:gd name="connsiteX16" fmla="*/ 222460 w 396316"/>
                <a:gd name="connsiteY16" fmla="*/ 837076 h 1360756"/>
                <a:gd name="connsiteX17" fmla="*/ 221643 w 396316"/>
                <a:gd name="connsiteY17" fmla="*/ 822065 h 1360756"/>
                <a:gd name="connsiteX18" fmla="*/ 223019 w 396316"/>
                <a:gd name="connsiteY18" fmla="*/ 807234 h 1360756"/>
                <a:gd name="connsiteX19" fmla="*/ 226515 w 396316"/>
                <a:gd name="connsiteY19" fmla="*/ 792993 h 1360756"/>
                <a:gd name="connsiteX20" fmla="*/ 232061 w 396316"/>
                <a:gd name="connsiteY20" fmla="*/ 779753 h 1360756"/>
                <a:gd name="connsiteX21" fmla="*/ 243207 w 396316"/>
                <a:gd name="connsiteY21" fmla="*/ 756187 h 1360756"/>
                <a:gd name="connsiteX22" fmla="*/ 253644 w 396316"/>
                <a:gd name="connsiteY22" fmla="*/ 728742 h 1360756"/>
                <a:gd name="connsiteX23" fmla="*/ 276608 w 396316"/>
                <a:gd name="connsiteY23" fmla="*/ 621274 h 1360756"/>
                <a:gd name="connsiteX24" fmla="*/ 279113 w 396316"/>
                <a:gd name="connsiteY24" fmla="*/ 556509 h 1360756"/>
                <a:gd name="connsiteX25" fmla="*/ 277169 w 396316"/>
                <a:gd name="connsiteY25" fmla="*/ 528954 h 1360756"/>
                <a:gd name="connsiteX26" fmla="*/ 276706 w 396316"/>
                <a:gd name="connsiteY26" fmla="*/ 513865 h 1360756"/>
                <a:gd name="connsiteX27" fmla="*/ 278432 w 396316"/>
                <a:gd name="connsiteY27" fmla="*/ 499051 h 1360756"/>
                <a:gd name="connsiteX28" fmla="*/ 282268 w 396316"/>
                <a:gd name="connsiteY28" fmla="*/ 484919 h 1360756"/>
                <a:gd name="connsiteX29" fmla="*/ 288136 w 396316"/>
                <a:gd name="connsiteY29" fmla="*/ 471875 h 1360756"/>
                <a:gd name="connsiteX30" fmla="*/ 299838 w 396316"/>
                <a:gd name="connsiteY30" fmla="*/ 448689 h 1360756"/>
                <a:gd name="connsiteX31" fmla="*/ 310926 w 396316"/>
                <a:gd name="connsiteY31" fmla="*/ 421596 h 1360756"/>
                <a:gd name="connsiteX32" fmla="*/ 336445 w 396316"/>
                <a:gd name="connsiteY32" fmla="*/ 314779 h 1360756"/>
                <a:gd name="connsiteX33" fmla="*/ 340514 w 396316"/>
                <a:gd name="connsiteY33" fmla="*/ 249962 h 1360756"/>
                <a:gd name="connsiteX34" fmla="*/ 339232 w 396316"/>
                <a:gd name="connsiteY34" fmla="*/ 222259 h 1360756"/>
                <a:gd name="connsiteX35" fmla="*/ 339139 w 396316"/>
                <a:gd name="connsiteY35" fmla="*/ 207132 h 1360756"/>
                <a:gd name="connsiteX36" fmla="*/ 341223 w 396316"/>
                <a:gd name="connsiteY36" fmla="*/ 192357 h 1360756"/>
                <a:gd name="connsiteX37" fmla="*/ 345396 w 396316"/>
                <a:gd name="connsiteY37" fmla="*/ 178344 h 1360756"/>
                <a:gd name="connsiteX38" fmla="*/ 351569 w 396316"/>
                <a:gd name="connsiteY38" fmla="*/ 165499 h 1360756"/>
                <a:gd name="connsiteX39" fmla="*/ 363830 w 396316"/>
                <a:gd name="connsiteY39" fmla="*/ 142708 h 1360756"/>
                <a:gd name="connsiteX40" fmla="*/ 375575 w 396316"/>
                <a:gd name="connsiteY40" fmla="*/ 115974 h 1360756"/>
                <a:gd name="connsiteX41" fmla="*/ 386505 w 396316"/>
                <a:gd name="connsiteY41" fmla="*/ 84557 h 1360756"/>
                <a:gd name="connsiteX42" fmla="*/ 396316 w 396316"/>
                <a:gd name="connsiteY42" fmla="*/ 47704 h 1360756"/>
                <a:gd name="connsiteX43" fmla="*/ 328398 w 396316"/>
                <a:gd name="connsiteY43" fmla="*/ 21526 h 1360756"/>
                <a:gd name="connsiteX44" fmla="*/ 296558 w 396316"/>
                <a:gd name="connsiteY44" fmla="*/ 26054 h 1360756"/>
                <a:gd name="connsiteX45" fmla="*/ 228600 w 396316"/>
                <a:gd name="connsiteY45" fmla="*/ 0 h 1360756"/>
                <a:gd name="connsiteX46" fmla="*/ 221212 w 396316"/>
                <a:gd name="connsiteY46" fmla="*/ 38637 h 1360756"/>
                <a:gd name="connsiteX47" fmla="*/ 217251 w 396316"/>
                <a:gd name="connsiteY47" fmla="*/ 73398 h 1360756"/>
                <a:gd name="connsiteX48" fmla="*/ 216101 w 396316"/>
                <a:gd name="connsiteY48" fmla="*/ 104666 h 1360756"/>
                <a:gd name="connsiteX49" fmla="*/ 217137 w 396316"/>
                <a:gd name="connsiteY49" fmla="*/ 132829 h 1360756"/>
                <a:gd name="connsiteX50" fmla="*/ 217148 w 396316"/>
                <a:gd name="connsiteY50" fmla="*/ 148202 h 1360756"/>
                <a:gd name="connsiteX51" fmla="*/ 215014 w 396316"/>
                <a:gd name="connsiteY51" fmla="*/ 163216 h 1360756"/>
                <a:gd name="connsiteX52" fmla="*/ 210819 w 396316"/>
                <a:gd name="connsiteY52" fmla="*/ 177476 h 1360756"/>
                <a:gd name="connsiteX53" fmla="*/ 204649 w 396316"/>
                <a:gd name="connsiteY53" fmla="*/ 190595 h 1360756"/>
                <a:gd name="connsiteX54" fmla="*/ 192480 w 396316"/>
                <a:gd name="connsiteY54" fmla="*/ 213957 h 1360756"/>
                <a:gd name="connsiteX55" fmla="*/ 180943 w 396316"/>
                <a:gd name="connsiteY55" fmla="*/ 241431 h 1360756"/>
                <a:gd name="connsiteX56" fmla="*/ 161271 w 396316"/>
                <a:gd name="connsiteY56" fmla="*/ 311640 h 1360756"/>
                <a:gd name="connsiteX57" fmla="*/ 151682 w 396316"/>
                <a:gd name="connsiteY57" fmla="*/ 385226 h 1360756"/>
                <a:gd name="connsiteX58" fmla="*/ 151281 w 396316"/>
                <a:gd name="connsiteY58" fmla="*/ 416450 h 1360756"/>
                <a:gd name="connsiteX59" fmla="*/ 153002 w 396316"/>
                <a:gd name="connsiteY59" fmla="*/ 444494 h 1360756"/>
                <a:gd name="connsiteX60" fmla="*/ 153382 w 396316"/>
                <a:gd name="connsiteY60" fmla="*/ 459803 h 1360756"/>
                <a:gd name="connsiteX61" fmla="*/ 151607 w 396316"/>
                <a:gd name="connsiteY61" fmla="*/ 474842 h 1360756"/>
                <a:gd name="connsiteX62" fmla="*/ 147754 w 396316"/>
                <a:gd name="connsiteY62" fmla="*/ 489214 h 1360756"/>
                <a:gd name="connsiteX63" fmla="*/ 141899 w 396316"/>
                <a:gd name="connsiteY63" fmla="*/ 502531 h 1360756"/>
                <a:gd name="connsiteX64" fmla="*/ 130300 w 396316"/>
                <a:gd name="connsiteY64" fmla="*/ 526301 h 1360756"/>
                <a:gd name="connsiteX65" fmla="*/ 119429 w 396316"/>
                <a:gd name="connsiteY65" fmla="*/ 554139 h 1360756"/>
                <a:gd name="connsiteX66" fmla="*/ 109680 w 396316"/>
                <a:gd name="connsiteY66" fmla="*/ 586758 h 1360756"/>
                <a:gd name="connsiteX67" fmla="*/ 101449 w 396316"/>
                <a:gd name="connsiteY67" fmla="*/ 624880 h 1360756"/>
                <a:gd name="connsiteX68" fmla="*/ 95922 w 396316"/>
                <a:gd name="connsiteY68" fmla="*/ 663796 h 1360756"/>
                <a:gd name="connsiteX69" fmla="*/ 93627 w 396316"/>
                <a:gd name="connsiteY69" fmla="*/ 698615 h 1360756"/>
                <a:gd name="connsiteX70" fmla="*/ 93970 w 396316"/>
                <a:gd name="connsiteY70" fmla="*/ 729759 h 1360756"/>
                <a:gd name="connsiteX71" fmla="*/ 96355 w 396316"/>
                <a:gd name="connsiteY71" fmla="*/ 757660 h 1360756"/>
                <a:gd name="connsiteX72" fmla="*/ 97105 w 396316"/>
                <a:gd name="connsiteY72" fmla="*/ 772918 h 1360756"/>
                <a:gd name="connsiteX73" fmla="*/ 95692 w 396316"/>
                <a:gd name="connsiteY73" fmla="*/ 787986 h 1360756"/>
                <a:gd name="connsiteX74" fmla="*/ 92188 w 396316"/>
                <a:gd name="connsiteY74" fmla="*/ 802466 h 1360756"/>
                <a:gd name="connsiteX75" fmla="*/ 86660 w 396316"/>
                <a:gd name="connsiteY75" fmla="*/ 815968 h 1360756"/>
                <a:gd name="connsiteX76" fmla="*/ 75630 w 396316"/>
                <a:gd name="connsiteY76" fmla="*/ 840114 h 1360756"/>
                <a:gd name="connsiteX77" fmla="*/ 65425 w 396316"/>
                <a:gd name="connsiteY77" fmla="*/ 868288 h 1360756"/>
                <a:gd name="connsiteX78" fmla="*/ 56457 w 396316"/>
                <a:gd name="connsiteY78" fmla="*/ 901192 h 1360756"/>
                <a:gd name="connsiteX79" fmla="*/ 49136 w 396316"/>
                <a:gd name="connsiteY79" fmla="*/ 939522 h 1360756"/>
                <a:gd name="connsiteX80" fmla="*/ 44538 w 396316"/>
                <a:gd name="connsiteY80" fmla="*/ 978543 h 1360756"/>
                <a:gd name="connsiteX81" fmla="*/ 43071 w 396316"/>
                <a:gd name="connsiteY81" fmla="*/ 1013355 h 1360756"/>
                <a:gd name="connsiteX82" fmla="*/ 44152 w 396316"/>
                <a:gd name="connsiteY82" fmla="*/ 1044400 h 1360756"/>
                <a:gd name="connsiteX83" fmla="*/ 47198 w 396316"/>
                <a:gd name="connsiteY83" fmla="*/ 1072130 h 1360756"/>
                <a:gd name="connsiteX84" fmla="*/ 48308 w 396316"/>
                <a:gd name="connsiteY84" fmla="*/ 1087319 h 1360756"/>
                <a:gd name="connsiteX85" fmla="*/ 47258 w 396316"/>
                <a:gd name="connsiteY85" fmla="*/ 1102401 h 1360756"/>
                <a:gd name="connsiteX86" fmla="*/ 44099 w 396316"/>
                <a:gd name="connsiteY86" fmla="*/ 1116978 h 1360756"/>
                <a:gd name="connsiteX87" fmla="*/ 38890 w 396316"/>
                <a:gd name="connsiteY87" fmla="*/ 1130659 h 1360756"/>
                <a:gd name="connsiteX88" fmla="*/ 28435 w 396316"/>
                <a:gd name="connsiteY88" fmla="*/ 1155163 h 1360756"/>
                <a:gd name="connsiteX89" fmla="*/ 18907 w 396316"/>
                <a:gd name="connsiteY89" fmla="*/ 1183657 h 1360756"/>
                <a:gd name="connsiteX90" fmla="*/ 10725 w 396316"/>
                <a:gd name="connsiteY90" fmla="*/ 1216824 h 1360756"/>
                <a:gd name="connsiteX91" fmla="*/ 4314 w 396316"/>
                <a:gd name="connsiteY91" fmla="*/ 1255345 h 1360756"/>
                <a:gd name="connsiteX92" fmla="*/ 643 w 396316"/>
                <a:gd name="connsiteY92" fmla="*/ 1294449 h 1360756"/>
                <a:gd name="connsiteX93" fmla="*/ 0 w 396316"/>
                <a:gd name="connsiteY93" fmla="*/ 1329231 h 1360756"/>
                <a:gd name="connsiteX94" fmla="*/ 1814 w 396316"/>
                <a:gd name="connsiteY94" fmla="*/ 1360158 h 136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96316" h="1360756">
                  <a:moveTo>
                    <a:pt x="1895" y="1360756"/>
                  </a:moveTo>
                  <a:lnTo>
                    <a:pt x="179155" y="1230107"/>
                  </a:lnTo>
                  <a:lnTo>
                    <a:pt x="179823" y="1204153"/>
                  </a:lnTo>
                  <a:lnTo>
                    <a:pt x="178378" y="1173715"/>
                  </a:lnTo>
                  <a:lnTo>
                    <a:pt x="175128" y="1146478"/>
                  </a:lnTo>
                  <a:lnTo>
                    <a:pt x="173950" y="1131536"/>
                  </a:lnTo>
                  <a:lnTo>
                    <a:pt x="174966" y="1116691"/>
                  </a:lnTo>
                  <a:lnTo>
                    <a:pt x="178122" y="1102354"/>
                  </a:lnTo>
                  <a:lnTo>
                    <a:pt x="183359" y="1088934"/>
                  </a:lnTo>
                  <a:lnTo>
                    <a:pt x="193932" y="1064996"/>
                  </a:lnTo>
                  <a:lnTo>
                    <a:pt x="203713" y="1037221"/>
                  </a:lnTo>
                  <a:lnTo>
                    <a:pt x="212347" y="1004914"/>
                  </a:lnTo>
                  <a:lnTo>
                    <a:pt x="219475" y="967371"/>
                  </a:lnTo>
                  <a:lnTo>
                    <a:pt x="224102" y="929167"/>
                  </a:lnTo>
                  <a:lnTo>
                    <a:pt x="225786" y="895028"/>
                  </a:lnTo>
                  <a:lnTo>
                    <a:pt x="225064" y="864486"/>
                  </a:lnTo>
                  <a:lnTo>
                    <a:pt x="222460" y="837076"/>
                  </a:lnTo>
                  <a:lnTo>
                    <a:pt x="221643" y="822065"/>
                  </a:lnTo>
                  <a:lnTo>
                    <a:pt x="223019" y="807234"/>
                  </a:lnTo>
                  <a:lnTo>
                    <a:pt x="226515" y="792993"/>
                  </a:lnTo>
                  <a:lnTo>
                    <a:pt x="232061" y="779753"/>
                  </a:lnTo>
                  <a:lnTo>
                    <a:pt x="243207" y="756187"/>
                  </a:lnTo>
                  <a:lnTo>
                    <a:pt x="253644" y="728742"/>
                  </a:lnTo>
                  <a:lnTo>
                    <a:pt x="276608" y="621274"/>
                  </a:lnTo>
                  <a:lnTo>
                    <a:pt x="279113" y="556509"/>
                  </a:lnTo>
                  <a:lnTo>
                    <a:pt x="277169" y="528954"/>
                  </a:lnTo>
                  <a:lnTo>
                    <a:pt x="276706" y="513865"/>
                  </a:lnTo>
                  <a:lnTo>
                    <a:pt x="278432" y="499051"/>
                  </a:lnTo>
                  <a:lnTo>
                    <a:pt x="282268" y="484919"/>
                  </a:lnTo>
                  <a:lnTo>
                    <a:pt x="288136" y="471875"/>
                  </a:lnTo>
                  <a:lnTo>
                    <a:pt x="299838" y="448689"/>
                  </a:lnTo>
                  <a:lnTo>
                    <a:pt x="310926" y="421596"/>
                  </a:lnTo>
                  <a:lnTo>
                    <a:pt x="336445" y="314779"/>
                  </a:lnTo>
                  <a:lnTo>
                    <a:pt x="340514" y="249962"/>
                  </a:lnTo>
                  <a:lnTo>
                    <a:pt x="339232" y="222259"/>
                  </a:lnTo>
                  <a:lnTo>
                    <a:pt x="339139" y="207132"/>
                  </a:lnTo>
                  <a:lnTo>
                    <a:pt x="341223" y="192357"/>
                  </a:lnTo>
                  <a:lnTo>
                    <a:pt x="345396" y="178344"/>
                  </a:lnTo>
                  <a:lnTo>
                    <a:pt x="351569" y="165499"/>
                  </a:lnTo>
                  <a:lnTo>
                    <a:pt x="363830" y="142708"/>
                  </a:lnTo>
                  <a:lnTo>
                    <a:pt x="375575" y="115974"/>
                  </a:lnTo>
                  <a:lnTo>
                    <a:pt x="386505" y="84557"/>
                  </a:lnTo>
                  <a:lnTo>
                    <a:pt x="396316" y="47704"/>
                  </a:lnTo>
                  <a:lnTo>
                    <a:pt x="328398" y="21526"/>
                  </a:lnTo>
                  <a:lnTo>
                    <a:pt x="296558" y="26054"/>
                  </a:lnTo>
                  <a:lnTo>
                    <a:pt x="228600" y="0"/>
                  </a:lnTo>
                  <a:lnTo>
                    <a:pt x="221212" y="38637"/>
                  </a:lnTo>
                  <a:lnTo>
                    <a:pt x="217251" y="73398"/>
                  </a:lnTo>
                  <a:lnTo>
                    <a:pt x="216101" y="104666"/>
                  </a:lnTo>
                  <a:lnTo>
                    <a:pt x="217137" y="132829"/>
                  </a:lnTo>
                  <a:lnTo>
                    <a:pt x="217148" y="148202"/>
                  </a:lnTo>
                  <a:lnTo>
                    <a:pt x="215014" y="163216"/>
                  </a:lnTo>
                  <a:lnTo>
                    <a:pt x="210819" y="177476"/>
                  </a:lnTo>
                  <a:lnTo>
                    <a:pt x="204649" y="190595"/>
                  </a:lnTo>
                  <a:lnTo>
                    <a:pt x="192480" y="213957"/>
                  </a:lnTo>
                  <a:lnTo>
                    <a:pt x="180943" y="241431"/>
                  </a:lnTo>
                  <a:lnTo>
                    <a:pt x="161271" y="311640"/>
                  </a:lnTo>
                  <a:lnTo>
                    <a:pt x="151682" y="385226"/>
                  </a:lnTo>
                  <a:lnTo>
                    <a:pt x="151281" y="416450"/>
                  </a:lnTo>
                  <a:lnTo>
                    <a:pt x="153002" y="444494"/>
                  </a:lnTo>
                  <a:lnTo>
                    <a:pt x="153382" y="459803"/>
                  </a:lnTo>
                  <a:lnTo>
                    <a:pt x="151607" y="474842"/>
                  </a:lnTo>
                  <a:lnTo>
                    <a:pt x="147754" y="489214"/>
                  </a:lnTo>
                  <a:lnTo>
                    <a:pt x="141899" y="502531"/>
                  </a:lnTo>
                  <a:lnTo>
                    <a:pt x="130300" y="526301"/>
                  </a:lnTo>
                  <a:lnTo>
                    <a:pt x="119429" y="554139"/>
                  </a:lnTo>
                  <a:lnTo>
                    <a:pt x="109680" y="586758"/>
                  </a:lnTo>
                  <a:lnTo>
                    <a:pt x="101449" y="624880"/>
                  </a:lnTo>
                  <a:lnTo>
                    <a:pt x="95922" y="663796"/>
                  </a:lnTo>
                  <a:lnTo>
                    <a:pt x="93627" y="698615"/>
                  </a:lnTo>
                  <a:lnTo>
                    <a:pt x="93970" y="729759"/>
                  </a:lnTo>
                  <a:lnTo>
                    <a:pt x="96355" y="757660"/>
                  </a:lnTo>
                  <a:lnTo>
                    <a:pt x="97105" y="772918"/>
                  </a:lnTo>
                  <a:lnTo>
                    <a:pt x="95692" y="787986"/>
                  </a:lnTo>
                  <a:lnTo>
                    <a:pt x="92188" y="802466"/>
                  </a:lnTo>
                  <a:lnTo>
                    <a:pt x="86660" y="815968"/>
                  </a:lnTo>
                  <a:lnTo>
                    <a:pt x="75630" y="840114"/>
                  </a:lnTo>
                  <a:lnTo>
                    <a:pt x="65425" y="868288"/>
                  </a:lnTo>
                  <a:lnTo>
                    <a:pt x="56457" y="901192"/>
                  </a:lnTo>
                  <a:lnTo>
                    <a:pt x="49136" y="939522"/>
                  </a:lnTo>
                  <a:lnTo>
                    <a:pt x="44538" y="978543"/>
                  </a:lnTo>
                  <a:lnTo>
                    <a:pt x="43071" y="1013355"/>
                  </a:lnTo>
                  <a:lnTo>
                    <a:pt x="44152" y="1044400"/>
                  </a:lnTo>
                  <a:lnTo>
                    <a:pt x="47198" y="1072130"/>
                  </a:lnTo>
                  <a:lnTo>
                    <a:pt x="48308" y="1087319"/>
                  </a:lnTo>
                  <a:lnTo>
                    <a:pt x="47258" y="1102401"/>
                  </a:lnTo>
                  <a:lnTo>
                    <a:pt x="44099" y="1116978"/>
                  </a:lnTo>
                  <a:lnTo>
                    <a:pt x="38890" y="1130659"/>
                  </a:lnTo>
                  <a:lnTo>
                    <a:pt x="28435" y="1155163"/>
                  </a:lnTo>
                  <a:lnTo>
                    <a:pt x="18907" y="1183657"/>
                  </a:lnTo>
                  <a:lnTo>
                    <a:pt x="10725" y="1216824"/>
                  </a:lnTo>
                  <a:lnTo>
                    <a:pt x="4314" y="1255345"/>
                  </a:lnTo>
                  <a:lnTo>
                    <a:pt x="643" y="1294449"/>
                  </a:lnTo>
                  <a:lnTo>
                    <a:pt x="0" y="1329231"/>
                  </a:lnTo>
                  <a:lnTo>
                    <a:pt x="1814" y="1360158"/>
                  </a:lnTo>
                  <a:close/>
                </a:path>
              </a:pathLst>
            </a:custGeom>
            <a:solidFill>
              <a:schemeClr val="accent5">
                <a:alpha val="20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5" name="Freeform: Shape 24">
              <a:extLst>
                <a:ext uri="{FF2B5EF4-FFF2-40B4-BE49-F238E27FC236}">
                  <a16:creationId xmlns:a16="http://schemas.microsoft.com/office/drawing/2014/main" id="{EC32B673-4698-7A79-A0A1-1C9D7A9F6DD6}"/>
                </a:ext>
              </a:extLst>
            </p:cNvPr>
            <p:cNvSpPr/>
            <p:nvPr/>
          </p:nvSpPr>
          <p:spPr>
            <a:xfrm rot="2178052">
              <a:off x="3337106" y="-195329"/>
              <a:ext cx="824420" cy="956250"/>
            </a:xfrm>
            <a:custGeom>
              <a:avLst/>
              <a:gdLst>
                <a:gd name="connsiteX0" fmla="*/ 7604 w 824420"/>
                <a:gd name="connsiteY0" fmla="*/ 424448 h 956250"/>
                <a:gd name="connsiteX1" fmla="*/ 585403 w 824420"/>
                <a:gd name="connsiteY1" fmla="*/ 0 h 956250"/>
                <a:gd name="connsiteX2" fmla="*/ 586429 w 824420"/>
                <a:gd name="connsiteY2" fmla="*/ 500 h 956250"/>
                <a:gd name="connsiteX3" fmla="*/ 608584 w 824420"/>
                <a:gd name="connsiteY3" fmla="*/ 15155 h 956250"/>
                <a:gd name="connsiteX4" fmla="*/ 665559 w 824420"/>
                <a:gd name="connsiteY4" fmla="*/ 46054 h 956250"/>
                <a:gd name="connsiteX5" fmla="*/ 696328 w 824420"/>
                <a:gd name="connsiteY5" fmla="*/ 82429 h 956250"/>
                <a:gd name="connsiteX6" fmla="*/ 763602 w 824420"/>
                <a:gd name="connsiteY6" fmla="*/ 138099 h 956250"/>
                <a:gd name="connsiteX7" fmla="*/ 824357 w 824420"/>
                <a:gd name="connsiteY7" fmla="*/ 267302 h 956250"/>
                <a:gd name="connsiteX8" fmla="*/ 779769 w 824420"/>
                <a:gd name="connsiteY8" fmla="*/ 384118 h 956250"/>
                <a:gd name="connsiteX9" fmla="*/ 654868 w 824420"/>
                <a:gd name="connsiteY9" fmla="*/ 444613 h 956250"/>
                <a:gd name="connsiteX10" fmla="*/ 515887 w 824420"/>
                <a:gd name="connsiteY10" fmla="*/ 439007 h 956250"/>
                <a:gd name="connsiteX11" fmla="*/ 445614 w 824420"/>
                <a:gd name="connsiteY11" fmla="*/ 369386 h 956250"/>
                <a:gd name="connsiteX12" fmla="*/ 419669 w 824420"/>
                <a:gd name="connsiteY12" fmla="*/ 372254 h 956250"/>
                <a:gd name="connsiteX13" fmla="*/ 385510 w 824420"/>
                <a:gd name="connsiteY13" fmla="*/ 384640 h 956250"/>
                <a:gd name="connsiteX14" fmla="*/ 386684 w 824420"/>
                <a:gd name="connsiteY14" fmla="*/ 412280 h 956250"/>
                <a:gd name="connsiteX15" fmla="*/ 364520 w 824420"/>
                <a:gd name="connsiteY15" fmla="*/ 460128 h 956250"/>
                <a:gd name="connsiteX16" fmla="*/ 412759 w 824420"/>
                <a:gd name="connsiteY16" fmla="*/ 484769 h 956250"/>
                <a:gd name="connsiteX17" fmla="*/ 429838 w 824420"/>
                <a:gd name="connsiteY17" fmla="*/ 512017 h 956250"/>
                <a:gd name="connsiteX18" fmla="*/ 564256 w 824420"/>
                <a:gd name="connsiteY18" fmla="*/ 492070 h 956250"/>
                <a:gd name="connsiteX19" fmla="*/ 722143 w 824420"/>
                <a:gd name="connsiteY19" fmla="*/ 609930 h 956250"/>
                <a:gd name="connsiteX20" fmla="*/ 716666 w 824420"/>
                <a:gd name="connsiteY20" fmla="*/ 832612 h 956250"/>
                <a:gd name="connsiteX21" fmla="*/ 606889 w 824420"/>
                <a:gd name="connsiteY21" fmla="*/ 916574 h 956250"/>
                <a:gd name="connsiteX22" fmla="*/ 531662 w 824420"/>
                <a:gd name="connsiteY22" fmla="*/ 956078 h 956250"/>
                <a:gd name="connsiteX23" fmla="*/ 402720 w 824420"/>
                <a:gd name="connsiteY23" fmla="*/ 906535 h 956250"/>
                <a:gd name="connsiteX24" fmla="*/ 314586 w 824420"/>
                <a:gd name="connsiteY24" fmla="*/ 887761 h 956250"/>
                <a:gd name="connsiteX25" fmla="*/ 267781 w 824420"/>
                <a:gd name="connsiteY25" fmla="*/ 855819 h 956250"/>
                <a:gd name="connsiteX26" fmla="*/ 174822 w 824420"/>
                <a:gd name="connsiteY26" fmla="*/ 807189 h 956250"/>
                <a:gd name="connsiteX27" fmla="*/ 107027 w 824420"/>
                <a:gd name="connsiteY27" fmla="*/ 730919 h 956250"/>
                <a:gd name="connsiteX28" fmla="*/ 37014 w 824420"/>
                <a:gd name="connsiteY28" fmla="*/ 609148 h 956250"/>
                <a:gd name="connsiteX29" fmla="*/ 2204 w 824420"/>
                <a:gd name="connsiteY29" fmla="*/ 524012 h 956250"/>
                <a:gd name="connsiteX30" fmla="*/ 14590 w 824420"/>
                <a:gd name="connsiteY30" fmla="*/ 457520 h 956250"/>
                <a:gd name="connsiteX31" fmla="*/ 9880 w 824420"/>
                <a:gd name="connsiteY31" fmla="*/ 431771 h 9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420" h="956250">
                  <a:moveTo>
                    <a:pt x="7604" y="424448"/>
                  </a:moveTo>
                  <a:lnTo>
                    <a:pt x="585403" y="0"/>
                  </a:lnTo>
                  <a:lnTo>
                    <a:pt x="586429" y="500"/>
                  </a:lnTo>
                  <a:cubicBezTo>
                    <a:pt x="595172" y="5792"/>
                    <a:pt x="602457" y="11015"/>
                    <a:pt x="608584" y="15155"/>
                  </a:cubicBezTo>
                  <a:cubicBezTo>
                    <a:pt x="633095" y="31712"/>
                    <a:pt x="642091" y="30278"/>
                    <a:pt x="665559" y="46054"/>
                  </a:cubicBezTo>
                  <a:cubicBezTo>
                    <a:pt x="674033" y="51790"/>
                    <a:pt x="688375" y="63002"/>
                    <a:pt x="696328" y="82429"/>
                  </a:cubicBezTo>
                  <a:cubicBezTo>
                    <a:pt x="704281" y="101855"/>
                    <a:pt x="723446" y="108634"/>
                    <a:pt x="763602" y="138099"/>
                  </a:cubicBezTo>
                  <a:cubicBezTo>
                    <a:pt x="803627" y="167564"/>
                    <a:pt x="824357" y="267302"/>
                    <a:pt x="824357" y="267302"/>
                  </a:cubicBezTo>
                  <a:cubicBezTo>
                    <a:pt x="824357" y="267302"/>
                    <a:pt x="828008" y="308631"/>
                    <a:pt x="779769" y="384118"/>
                  </a:cubicBezTo>
                  <a:cubicBezTo>
                    <a:pt x="731660" y="459607"/>
                    <a:pt x="683681" y="448785"/>
                    <a:pt x="654868" y="444613"/>
                  </a:cubicBezTo>
                  <a:cubicBezTo>
                    <a:pt x="626055" y="440441"/>
                    <a:pt x="591505" y="465604"/>
                    <a:pt x="515887" y="439007"/>
                  </a:cubicBezTo>
                  <a:cubicBezTo>
                    <a:pt x="440269" y="412410"/>
                    <a:pt x="445614" y="369386"/>
                    <a:pt x="445614" y="369386"/>
                  </a:cubicBezTo>
                  <a:cubicBezTo>
                    <a:pt x="445614" y="369386"/>
                    <a:pt x="445614" y="369386"/>
                    <a:pt x="419669" y="372254"/>
                  </a:cubicBezTo>
                  <a:cubicBezTo>
                    <a:pt x="405589" y="373819"/>
                    <a:pt x="393724" y="379686"/>
                    <a:pt x="385510" y="384640"/>
                  </a:cubicBezTo>
                  <a:cubicBezTo>
                    <a:pt x="387205" y="394418"/>
                    <a:pt x="387988" y="403936"/>
                    <a:pt x="386684" y="412280"/>
                  </a:cubicBezTo>
                  <a:cubicBezTo>
                    <a:pt x="381730" y="444091"/>
                    <a:pt x="364520" y="460128"/>
                    <a:pt x="364520" y="460128"/>
                  </a:cubicBezTo>
                  <a:cubicBezTo>
                    <a:pt x="364520" y="460128"/>
                    <a:pt x="400634" y="468863"/>
                    <a:pt x="412759" y="484769"/>
                  </a:cubicBezTo>
                  <a:cubicBezTo>
                    <a:pt x="425015" y="500675"/>
                    <a:pt x="429838" y="512017"/>
                    <a:pt x="429838" y="512017"/>
                  </a:cubicBezTo>
                  <a:cubicBezTo>
                    <a:pt x="429838" y="512017"/>
                    <a:pt x="483423" y="465212"/>
                    <a:pt x="564256" y="492070"/>
                  </a:cubicBezTo>
                  <a:cubicBezTo>
                    <a:pt x="645090" y="518928"/>
                    <a:pt x="694894" y="545784"/>
                    <a:pt x="722143" y="609930"/>
                  </a:cubicBezTo>
                  <a:cubicBezTo>
                    <a:pt x="749391" y="674205"/>
                    <a:pt x="770512" y="753865"/>
                    <a:pt x="716666" y="832612"/>
                  </a:cubicBezTo>
                  <a:cubicBezTo>
                    <a:pt x="662561" y="911489"/>
                    <a:pt x="634790" y="907969"/>
                    <a:pt x="606889" y="916574"/>
                  </a:cubicBezTo>
                  <a:cubicBezTo>
                    <a:pt x="578990" y="925179"/>
                    <a:pt x="573383" y="958946"/>
                    <a:pt x="531662" y="956078"/>
                  </a:cubicBezTo>
                  <a:cubicBezTo>
                    <a:pt x="489942" y="953209"/>
                    <a:pt x="421625" y="918530"/>
                    <a:pt x="402720" y="906535"/>
                  </a:cubicBezTo>
                  <a:cubicBezTo>
                    <a:pt x="383815" y="894541"/>
                    <a:pt x="341313" y="900277"/>
                    <a:pt x="314586" y="887761"/>
                  </a:cubicBezTo>
                  <a:cubicBezTo>
                    <a:pt x="287859" y="875375"/>
                    <a:pt x="267781" y="855819"/>
                    <a:pt x="267781" y="855819"/>
                  </a:cubicBezTo>
                  <a:cubicBezTo>
                    <a:pt x="267781" y="855819"/>
                    <a:pt x="211980" y="853993"/>
                    <a:pt x="174822" y="807189"/>
                  </a:cubicBezTo>
                  <a:cubicBezTo>
                    <a:pt x="137665" y="760514"/>
                    <a:pt x="136491" y="752952"/>
                    <a:pt x="107027" y="730919"/>
                  </a:cubicBezTo>
                  <a:cubicBezTo>
                    <a:pt x="77561" y="708755"/>
                    <a:pt x="47836" y="648260"/>
                    <a:pt x="37014" y="609148"/>
                  </a:cubicBezTo>
                  <a:cubicBezTo>
                    <a:pt x="26193" y="570035"/>
                    <a:pt x="9896" y="567688"/>
                    <a:pt x="2204" y="524012"/>
                  </a:cubicBezTo>
                  <a:cubicBezTo>
                    <a:pt x="-5619" y="480336"/>
                    <a:pt x="9505" y="474469"/>
                    <a:pt x="14590" y="457520"/>
                  </a:cubicBezTo>
                  <a:cubicBezTo>
                    <a:pt x="17132" y="449046"/>
                    <a:pt x="13253" y="440213"/>
                    <a:pt x="9880" y="431771"/>
                  </a:cubicBezTo>
                  <a:close/>
                </a:path>
              </a:pathLst>
            </a:custGeom>
            <a:solidFill>
              <a:schemeClr val="accent5">
                <a:alpha val="20000"/>
              </a:schemeClr>
            </a:solid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8" name="Freeform: Shape 38">
              <a:extLst>
                <a:ext uri="{FF2B5EF4-FFF2-40B4-BE49-F238E27FC236}">
                  <a16:creationId xmlns:a16="http://schemas.microsoft.com/office/drawing/2014/main" id="{70AE955C-F488-4170-0F06-FDA5A986ECD4}"/>
                </a:ext>
              </a:extLst>
            </p:cNvPr>
            <p:cNvSpPr/>
            <p:nvPr/>
          </p:nvSpPr>
          <p:spPr>
            <a:xfrm rot="2178052">
              <a:off x="4018658" y="599530"/>
              <a:ext cx="811337" cy="846750"/>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solidFill>
              <a:schemeClr val="accent5">
                <a:alpha val="20000"/>
              </a:schemeClr>
            </a:solid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9" name="Freeform: Shape 38">
              <a:extLst>
                <a:ext uri="{FF2B5EF4-FFF2-40B4-BE49-F238E27FC236}">
                  <a16:creationId xmlns:a16="http://schemas.microsoft.com/office/drawing/2014/main" id="{65BE474B-8D54-6B49-E928-0753148BA9FC}"/>
                </a:ext>
              </a:extLst>
            </p:cNvPr>
            <p:cNvSpPr/>
            <p:nvPr/>
          </p:nvSpPr>
          <p:spPr>
            <a:xfrm rot="2178052">
              <a:off x="4437060" y="-235812"/>
              <a:ext cx="896460" cy="864605"/>
            </a:xfrm>
            <a:custGeom>
              <a:avLst/>
              <a:gdLst>
                <a:gd name="connsiteX0" fmla="*/ 0 w 896460"/>
                <a:gd name="connsiteY0" fmla="*/ 517761 h 864605"/>
                <a:gd name="connsiteX1" fmla="*/ 341535 w 896460"/>
                <a:gd name="connsiteY1" fmla="*/ 266871 h 864605"/>
                <a:gd name="connsiteX2" fmla="*/ 348784 w 896460"/>
                <a:gd name="connsiteY2" fmla="*/ 284936 h 864605"/>
                <a:gd name="connsiteX3" fmla="*/ 355026 w 896460"/>
                <a:gd name="connsiteY3" fmla="*/ 317547 h 864605"/>
                <a:gd name="connsiteX4" fmla="*/ 346682 w 896460"/>
                <a:gd name="connsiteY4" fmla="*/ 367220 h 864605"/>
                <a:gd name="connsiteX5" fmla="*/ 347464 w 896460"/>
                <a:gd name="connsiteY5" fmla="*/ 368654 h 864605"/>
                <a:gd name="connsiteX6" fmla="*/ 364283 w 896460"/>
                <a:gd name="connsiteY6" fmla="*/ 417285 h 864605"/>
                <a:gd name="connsiteX7" fmla="*/ 406394 w 896460"/>
                <a:gd name="connsiteY7" fmla="*/ 437623 h 864605"/>
                <a:gd name="connsiteX8" fmla="*/ 428819 w 896460"/>
                <a:gd name="connsiteY8" fmla="*/ 460048 h 864605"/>
                <a:gd name="connsiteX9" fmla="*/ 449418 w 896460"/>
                <a:gd name="connsiteY9" fmla="*/ 454442 h 864605"/>
                <a:gd name="connsiteX10" fmla="*/ 463368 w 896460"/>
                <a:gd name="connsiteY10" fmla="*/ 442578 h 864605"/>
                <a:gd name="connsiteX11" fmla="*/ 503785 w 896460"/>
                <a:gd name="connsiteY11" fmla="*/ 420674 h 864605"/>
                <a:gd name="connsiteX12" fmla="*/ 481360 w 896460"/>
                <a:gd name="connsiteY12" fmla="*/ 378041 h 864605"/>
                <a:gd name="connsiteX13" fmla="*/ 471451 w 896460"/>
                <a:gd name="connsiteY13" fmla="*/ 303727 h 864605"/>
                <a:gd name="connsiteX14" fmla="*/ 403917 w 896460"/>
                <a:gd name="connsiteY14" fmla="*/ 228892 h 864605"/>
                <a:gd name="connsiteX15" fmla="*/ 401186 w 896460"/>
                <a:gd name="connsiteY15" fmla="*/ 223052 h 864605"/>
                <a:gd name="connsiteX16" fmla="*/ 704824 w 896460"/>
                <a:gd name="connsiteY16" fmla="*/ 0 h 864605"/>
                <a:gd name="connsiteX17" fmla="*/ 720340 w 896460"/>
                <a:gd name="connsiteY17" fmla="*/ 17422 h 864605"/>
                <a:gd name="connsiteX18" fmla="*/ 738593 w 896460"/>
                <a:gd name="connsiteY18" fmla="*/ 29155 h 864605"/>
                <a:gd name="connsiteX19" fmla="*/ 828553 w 896460"/>
                <a:gd name="connsiteY19" fmla="*/ 103861 h 864605"/>
                <a:gd name="connsiteX20" fmla="*/ 862320 w 896460"/>
                <a:gd name="connsiteY20" fmla="*/ 222112 h 864605"/>
                <a:gd name="connsiteX21" fmla="*/ 864015 w 896460"/>
                <a:gd name="connsiteY21" fmla="*/ 246493 h 864605"/>
                <a:gd name="connsiteX22" fmla="*/ 867927 w 896460"/>
                <a:gd name="connsiteY22" fmla="*/ 265136 h 864605"/>
                <a:gd name="connsiteX23" fmla="*/ 878617 w 896460"/>
                <a:gd name="connsiteY23" fmla="*/ 314418 h 864605"/>
                <a:gd name="connsiteX24" fmla="*/ 895957 w 896460"/>
                <a:gd name="connsiteY24" fmla="*/ 402943 h 864605"/>
                <a:gd name="connsiteX25" fmla="*/ 871838 w 896460"/>
                <a:gd name="connsiteY25" fmla="*/ 465394 h 864605"/>
                <a:gd name="connsiteX26" fmla="*/ 843285 w 896460"/>
                <a:gd name="connsiteY26" fmla="*/ 575692 h 864605"/>
                <a:gd name="connsiteX27" fmla="*/ 836114 w 896460"/>
                <a:gd name="connsiteY27" fmla="*/ 586122 h 864605"/>
                <a:gd name="connsiteX28" fmla="*/ 818513 w 896460"/>
                <a:gd name="connsiteY28" fmla="*/ 616499 h 864605"/>
                <a:gd name="connsiteX29" fmla="*/ 808214 w 896460"/>
                <a:gd name="connsiteY29" fmla="*/ 639836 h 864605"/>
                <a:gd name="connsiteX30" fmla="*/ 728163 w 896460"/>
                <a:gd name="connsiteY30" fmla="*/ 712717 h 864605"/>
                <a:gd name="connsiteX31" fmla="*/ 671449 w 896460"/>
                <a:gd name="connsiteY31" fmla="*/ 762520 h 864605"/>
                <a:gd name="connsiteX32" fmla="*/ 590615 w 896460"/>
                <a:gd name="connsiteY32" fmla="*/ 787422 h 864605"/>
                <a:gd name="connsiteX33" fmla="*/ 541594 w 896460"/>
                <a:gd name="connsiteY33" fmla="*/ 814932 h 864605"/>
                <a:gd name="connsiteX34" fmla="*/ 509522 w 896460"/>
                <a:gd name="connsiteY34" fmla="*/ 818322 h 864605"/>
                <a:gd name="connsiteX35" fmla="*/ 426472 w 896460"/>
                <a:gd name="connsiteY35" fmla="*/ 862518 h 864605"/>
                <a:gd name="connsiteX36" fmla="*/ 407307 w 896460"/>
                <a:gd name="connsiteY36" fmla="*/ 864605 h 864605"/>
                <a:gd name="connsiteX37" fmla="*/ 341075 w 896460"/>
                <a:gd name="connsiteY37" fmla="*/ 843354 h 864605"/>
                <a:gd name="connsiteX38" fmla="*/ 326212 w 896460"/>
                <a:gd name="connsiteY38" fmla="*/ 836052 h 864605"/>
                <a:gd name="connsiteX39" fmla="*/ 288534 w 896460"/>
                <a:gd name="connsiteY39" fmla="*/ 832011 h 864605"/>
                <a:gd name="connsiteX40" fmla="*/ 207440 w 896460"/>
                <a:gd name="connsiteY40" fmla="*/ 819233 h 864605"/>
                <a:gd name="connsiteX41" fmla="*/ 78497 w 896460"/>
                <a:gd name="connsiteY41" fmla="*/ 701374 h 864605"/>
                <a:gd name="connsiteX42" fmla="*/ 46164 w 896460"/>
                <a:gd name="connsiteY42" fmla="*/ 607373 h 864605"/>
                <a:gd name="connsiteX43" fmla="*/ 43034 w 896460"/>
                <a:gd name="connsiteY43" fmla="*/ 582471 h 864605"/>
                <a:gd name="connsiteX44" fmla="*/ 40688 w 896460"/>
                <a:gd name="connsiteY44" fmla="*/ 579473 h 864605"/>
                <a:gd name="connsiteX45" fmla="*/ 8697 w 896460"/>
                <a:gd name="connsiteY45" fmla="*/ 534656 h 86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96460" h="864605">
                  <a:moveTo>
                    <a:pt x="0" y="517761"/>
                  </a:moveTo>
                  <a:lnTo>
                    <a:pt x="341535" y="266871"/>
                  </a:lnTo>
                  <a:lnTo>
                    <a:pt x="348784" y="284936"/>
                  </a:lnTo>
                  <a:cubicBezTo>
                    <a:pt x="351277" y="293297"/>
                    <a:pt x="353592" y="304053"/>
                    <a:pt x="355026" y="317547"/>
                  </a:cubicBezTo>
                  <a:cubicBezTo>
                    <a:pt x="357633" y="343231"/>
                    <a:pt x="352157" y="358615"/>
                    <a:pt x="346682" y="367220"/>
                  </a:cubicBezTo>
                  <a:lnTo>
                    <a:pt x="347464" y="368654"/>
                  </a:lnTo>
                  <a:cubicBezTo>
                    <a:pt x="352418" y="377650"/>
                    <a:pt x="359589" y="400858"/>
                    <a:pt x="364283" y="417285"/>
                  </a:cubicBezTo>
                  <a:cubicBezTo>
                    <a:pt x="378233" y="420805"/>
                    <a:pt x="394790" y="426933"/>
                    <a:pt x="406394" y="437623"/>
                  </a:cubicBezTo>
                  <a:cubicBezTo>
                    <a:pt x="416694" y="447010"/>
                    <a:pt x="423995" y="454702"/>
                    <a:pt x="428819" y="460048"/>
                  </a:cubicBezTo>
                  <a:cubicBezTo>
                    <a:pt x="434816" y="457571"/>
                    <a:pt x="442508" y="454963"/>
                    <a:pt x="449418" y="454442"/>
                  </a:cubicBezTo>
                  <a:cubicBezTo>
                    <a:pt x="454503" y="449879"/>
                    <a:pt x="459066" y="445967"/>
                    <a:pt x="463368" y="442578"/>
                  </a:cubicBezTo>
                  <a:cubicBezTo>
                    <a:pt x="473407" y="434625"/>
                    <a:pt x="486966" y="427193"/>
                    <a:pt x="503785" y="420674"/>
                  </a:cubicBezTo>
                  <a:cubicBezTo>
                    <a:pt x="495571" y="407116"/>
                    <a:pt x="486966" y="391471"/>
                    <a:pt x="481360" y="378041"/>
                  </a:cubicBezTo>
                  <a:cubicBezTo>
                    <a:pt x="471191" y="353922"/>
                    <a:pt x="471060" y="318720"/>
                    <a:pt x="471451" y="303727"/>
                  </a:cubicBezTo>
                  <a:cubicBezTo>
                    <a:pt x="458805" y="293558"/>
                    <a:pt x="427775" y="266831"/>
                    <a:pt x="403917" y="228892"/>
                  </a:cubicBezTo>
                  <a:lnTo>
                    <a:pt x="401186" y="223052"/>
                  </a:lnTo>
                  <a:lnTo>
                    <a:pt x="704824" y="0"/>
                  </a:lnTo>
                  <a:lnTo>
                    <a:pt x="720340" y="17422"/>
                  </a:lnTo>
                  <a:cubicBezTo>
                    <a:pt x="722036" y="19638"/>
                    <a:pt x="731162" y="24853"/>
                    <a:pt x="738593" y="29155"/>
                  </a:cubicBezTo>
                  <a:cubicBezTo>
                    <a:pt x="762061" y="42584"/>
                    <a:pt x="797523" y="63053"/>
                    <a:pt x="828553" y="103861"/>
                  </a:cubicBezTo>
                  <a:cubicBezTo>
                    <a:pt x="854106" y="137367"/>
                    <a:pt x="856844" y="165659"/>
                    <a:pt x="862320" y="222112"/>
                  </a:cubicBezTo>
                  <a:cubicBezTo>
                    <a:pt x="863363" y="232803"/>
                    <a:pt x="863754" y="240495"/>
                    <a:pt x="864015" y="246493"/>
                  </a:cubicBezTo>
                  <a:cubicBezTo>
                    <a:pt x="864537" y="258356"/>
                    <a:pt x="864797" y="260051"/>
                    <a:pt x="867927" y="265136"/>
                  </a:cubicBezTo>
                  <a:cubicBezTo>
                    <a:pt x="878095" y="281303"/>
                    <a:pt x="878748" y="305422"/>
                    <a:pt x="878617" y="314418"/>
                  </a:cubicBezTo>
                  <a:cubicBezTo>
                    <a:pt x="883572" y="325630"/>
                    <a:pt x="899477" y="365656"/>
                    <a:pt x="895957" y="402943"/>
                  </a:cubicBezTo>
                  <a:cubicBezTo>
                    <a:pt x="892698" y="436319"/>
                    <a:pt x="878878" y="456919"/>
                    <a:pt x="871838" y="465394"/>
                  </a:cubicBezTo>
                  <a:cubicBezTo>
                    <a:pt x="871447" y="482864"/>
                    <a:pt x="868057" y="539577"/>
                    <a:pt x="843285" y="575692"/>
                  </a:cubicBezTo>
                  <a:lnTo>
                    <a:pt x="836114" y="586122"/>
                  </a:lnTo>
                  <a:cubicBezTo>
                    <a:pt x="823859" y="603984"/>
                    <a:pt x="823859" y="603984"/>
                    <a:pt x="818513" y="616499"/>
                  </a:cubicBezTo>
                  <a:cubicBezTo>
                    <a:pt x="816297" y="621715"/>
                    <a:pt x="813168" y="628885"/>
                    <a:pt x="808214" y="639836"/>
                  </a:cubicBezTo>
                  <a:cubicBezTo>
                    <a:pt x="789049" y="682208"/>
                    <a:pt x="741201" y="706720"/>
                    <a:pt x="728163" y="712717"/>
                  </a:cubicBezTo>
                  <a:cubicBezTo>
                    <a:pt x="722035" y="720279"/>
                    <a:pt x="703913" y="740748"/>
                    <a:pt x="671449" y="762520"/>
                  </a:cubicBezTo>
                  <a:cubicBezTo>
                    <a:pt x="638203" y="785075"/>
                    <a:pt x="603262" y="787422"/>
                    <a:pt x="590615" y="787422"/>
                  </a:cubicBezTo>
                  <a:cubicBezTo>
                    <a:pt x="581750" y="793550"/>
                    <a:pt x="558152" y="809065"/>
                    <a:pt x="541594" y="814932"/>
                  </a:cubicBezTo>
                  <a:cubicBezTo>
                    <a:pt x="529469" y="819103"/>
                    <a:pt x="518257" y="818843"/>
                    <a:pt x="509522" y="818322"/>
                  </a:cubicBezTo>
                  <a:cubicBezTo>
                    <a:pt x="482143" y="842180"/>
                    <a:pt x="447723" y="857825"/>
                    <a:pt x="426472" y="862518"/>
                  </a:cubicBezTo>
                  <a:cubicBezTo>
                    <a:pt x="419953" y="863953"/>
                    <a:pt x="413434" y="864605"/>
                    <a:pt x="407307" y="864605"/>
                  </a:cubicBezTo>
                  <a:cubicBezTo>
                    <a:pt x="379928" y="864605"/>
                    <a:pt x="357112" y="852219"/>
                    <a:pt x="341075" y="843354"/>
                  </a:cubicBezTo>
                  <a:cubicBezTo>
                    <a:pt x="335208" y="840094"/>
                    <a:pt x="329603" y="837095"/>
                    <a:pt x="326212" y="836052"/>
                  </a:cubicBezTo>
                  <a:cubicBezTo>
                    <a:pt x="318520" y="833706"/>
                    <a:pt x="303918" y="832924"/>
                    <a:pt x="288534" y="832011"/>
                  </a:cubicBezTo>
                  <a:cubicBezTo>
                    <a:pt x="263371" y="830577"/>
                    <a:pt x="232080" y="828882"/>
                    <a:pt x="207440" y="819233"/>
                  </a:cubicBezTo>
                  <a:cubicBezTo>
                    <a:pt x="159591" y="800590"/>
                    <a:pt x="121130" y="765389"/>
                    <a:pt x="78497" y="701374"/>
                  </a:cubicBezTo>
                  <a:cubicBezTo>
                    <a:pt x="51248" y="660306"/>
                    <a:pt x="48641" y="633448"/>
                    <a:pt x="46164" y="607373"/>
                  </a:cubicBezTo>
                  <a:cubicBezTo>
                    <a:pt x="45382" y="598898"/>
                    <a:pt x="44599" y="590945"/>
                    <a:pt x="43034" y="582471"/>
                  </a:cubicBezTo>
                  <a:lnTo>
                    <a:pt x="40688" y="579473"/>
                  </a:lnTo>
                  <a:cubicBezTo>
                    <a:pt x="32344" y="569042"/>
                    <a:pt x="20382" y="554147"/>
                    <a:pt x="8697" y="534656"/>
                  </a:cubicBezTo>
                  <a:close/>
                </a:path>
              </a:pathLst>
            </a:custGeom>
            <a:solidFill>
              <a:schemeClr val="accent5">
                <a:alpha val="20000"/>
              </a:schemeClr>
            </a:solid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0" name="Freeform 804">
              <a:extLst>
                <a:ext uri="{FF2B5EF4-FFF2-40B4-BE49-F238E27FC236}">
                  <a16:creationId xmlns:a16="http://schemas.microsoft.com/office/drawing/2014/main" id="{A2F5D7E5-A7CF-A991-0565-88B5DA4C8761}"/>
                </a:ext>
              </a:extLst>
            </p:cNvPr>
            <p:cNvSpPr/>
            <p:nvPr/>
          </p:nvSpPr>
          <p:spPr>
            <a:xfrm rot="2446866">
              <a:off x="1632046" y="308867"/>
              <a:ext cx="1252773" cy="581372"/>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solidFill>
              <a:schemeClr val="accent5">
                <a:alpha val="20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3" name="Freeform: Shape 12">
              <a:extLst>
                <a:ext uri="{FF2B5EF4-FFF2-40B4-BE49-F238E27FC236}">
                  <a16:creationId xmlns:a16="http://schemas.microsoft.com/office/drawing/2014/main" id="{DDA5A6CD-236E-CB01-1606-AC3A9BFD6401}"/>
                </a:ext>
              </a:extLst>
            </p:cNvPr>
            <p:cNvSpPr/>
            <p:nvPr/>
          </p:nvSpPr>
          <p:spPr>
            <a:xfrm rot="7810828">
              <a:off x="6121498" y="55300"/>
              <a:ext cx="830632" cy="452973"/>
            </a:xfrm>
            <a:custGeom>
              <a:avLst/>
              <a:gdLst>
                <a:gd name="connsiteX0" fmla="*/ 237757 w 830632"/>
                <a:gd name="connsiteY0" fmla="*/ 452973 h 452973"/>
                <a:gd name="connsiteX1" fmla="*/ 0 w 830632"/>
                <a:gd name="connsiteY1" fmla="*/ 171431 h 452973"/>
                <a:gd name="connsiteX2" fmla="*/ 400522 w 830632"/>
                <a:gd name="connsiteY2" fmla="*/ 91373 h 452973"/>
                <a:gd name="connsiteX3" fmla="*/ 447867 w 830632"/>
                <a:gd name="connsiteY3" fmla="*/ 116410 h 452973"/>
                <a:gd name="connsiteX4" fmla="*/ 483002 w 830632"/>
                <a:gd name="connsiteY4" fmla="*/ 208749 h 452973"/>
                <a:gd name="connsiteX5" fmla="*/ 599632 w 830632"/>
                <a:gd name="connsiteY5" fmla="*/ 95808 h 452973"/>
                <a:gd name="connsiteX6" fmla="*/ 751650 w 830632"/>
                <a:gd name="connsiteY6" fmla="*/ 0 h 452973"/>
                <a:gd name="connsiteX7" fmla="*/ 830632 w 830632"/>
                <a:gd name="connsiteY7" fmla="*/ 355627 h 452973"/>
                <a:gd name="connsiteX8" fmla="*/ 650793 w 830632"/>
                <a:gd name="connsiteY8" fmla="*/ 326186 h 452973"/>
                <a:gd name="connsiteX9" fmla="*/ 496038 w 830632"/>
                <a:gd name="connsiteY9" fmla="*/ 267513 h 452973"/>
                <a:gd name="connsiteX10" fmla="*/ 503162 w 830632"/>
                <a:gd name="connsiteY10" fmla="*/ 365431 h 452973"/>
                <a:gd name="connsiteX11" fmla="*/ 470474 w 830632"/>
                <a:gd name="connsiteY11" fmla="*/ 406457 h 45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632" h="452973">
                  <a:moveTo>
                    <a:pt x="237757" y="452973"/>
                  </a:moveTo>
                  <a:lnTo>
                    <a:pt x="0" y="171431"/>
                  </a:lnTo>
                  <a:lnTo>
                    <a:pt x="400522" y="91373"/>
                  </a:lnTo>
                  <a:cubicBezTo>
                    <a:pt x="420682" y="87361"/>
                    <a:pt x="440872" y="98040"/>
                    <a:pt x="447867" y="116410"/>
                  </a:cubicBezTo>
                  <a:lnTo>
                    <a:pt x="483002" y="208749"/>
                  </a:lnTo>
                  <a:cubicBezTo>
                    <a:pt x="538742" y="197376"/>
                    <a:pt x="553463" y="147632"/>
                    <a:pt x="599632" y="95808"/>
                  </a:cubicBezTo>
                  <a:cubicBezTo>
                    <a:pt x="631524" y="60030"/>
                    <a:pt x="682556" y="13815"/>
                    <a:pt x="751650" y="0"/>
                  </a:cubicBezTo>
                  <a:cubicBezTo>
                    <a:pt x="836197" y="82746"/>
                    <a:pt x="747517" y="282505"/>
                    <a:pt x="830632" y="355627"/>
                  </a:cubicBezTo>
                  <a:cubicBezTo>
                    <a:pt x="761539" y="369444"/>
                    <a:pt x="695180" y="346699"/>
                    <a:pt x="650793" y="326186"/>
                  </a:cubicBezTo>
                  <a:cubicBezTo>
                    <a:pt x="586500" y="296471"/>
                    <a:pt x="551874" y="256592"/>
                    <a:pt x="496038" y="267513"/>
                  </a:cubicBezTo>
                  <a:lnTo>
                    <a:pt x="503162" y="365431"/>
                  </a:lnTo>
                  <a:cubicBezTo>
                    <a:pt x="504592" y="384918"/>
                    <a:pt x="490634" y="402415"/>
                    <a:pt x="470474" y="406457"/>
                  </a:cubicBezTo>
                  <a:close/>
                </a:path>
              </a:pathLst>
            </a:custGeom>
            <a:solidFill>
              <a:schemeClr val="accent5">
                <a:alpha val="20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47" name="Freeform: Shape 46">
              <a:extLst>
                <a:ext uri="{FF2B5EF4-FFF2-40B4-BE49-F238E27FC236}">
                  <a16:creationId xmlns:a16="http://schemas.microsoft.com/office/drawing/2014/main" id="{A834EA7C-7383-3679-D682-F521E10A0371}"/>
                </a:ext>
              </a:extLst>
            </p:cNvPr>
            <p:cNvSpPr>
              <a:spLocks noChangeAspect="1"/>
            </p:cNvSpPr>
            <p:nvPr/>
          </p:nvSpPr>
          <p:spPr>
            <a:xfrm rot="4135771">
              <a:off x="-471911" y="1291003"/>
              <a:ext cx="1445127" cy="1038064"/>
            </a:xfrm>
            <a:custGeom>
              <a:avLst/>
              <a:gdLst>
                <a:gd name="connsiteX0" fmla="*/ 27721 w 1445127"/>
                <a:gd name="connsiteY0" fmla="*/ 428157 h 1038064"/>
                <a:gd name="connsiteX1" fmla="*/ 81240 w 1445127"/>
                <a:gd name="connsiteY1" fmla="*/ 403987 h 1038064"/>
                <a:gd name="connsiteX2" fmla="*/ 72608 w 1445127"/>
                <a:gd name="connsiteY2" fmla="*/ 347014 h 1038064"/>
                <a:gd name="connsiteX3" fmla="*/ 127854 w 1445127"/>
                <a:gd name="connsiteY3" fmla="*/ 329750 h 1038064"/>
                <a:gd name="connsiteX4" fmla="*/ 127854 w 1445127"/>
                <a:gd name="connsiteY4" fmla="*/ 271051 h 1038064"/>
                <a:gd name="connsiteX5" fmla="*/ 184827 w 1445127"/>
                <a:gd name="connsiteY5" fmla="*/ 260692 h 1038064"/>
                <a:gd name="connsiteX6" fmla="*/ 191732 w 1445127"/>
                <a:gd name="connsiteY6" fmla="*/ 201994 h 1038064"/>
                <a:gd name="connsiteX7" fmla="*/ 250432 w 1445127"/>
                <a:gd name="connsiteY7" fmla="*/ 198540 h 1038064"/>
                <a:gd name="connsiteX8" fmla="*/ 264243 w 1445127"/>
                <a:gd name="connsiteY8" fmla="*/ 141568 h 1038064"/>
                <a:gd name="connsiteX9" fmla="*/ 322942 w 1445127"/>
                <a:gd name="connsiteY9" fmla="*/ 146747 h 1038064"/>
                <a:gd name="connsiteX10" fmla="*/ 343659 w 1445127"/>
                <a:gd name="connsiteY10" fmla="*/ 91502 h 1038064"/>
                <a:gd name="connsiteX11" fmla="*/ 400631 w 1445127"/>
                <a:gd name="connsiteY11" fmla="*/ 103586 h 1038064"/>
                <a:gd name="connsiteX12" fmla="*/ 428255 w 1445127"/>
                <a:gd name="connsiteY12" fmla="*/ 51793 h 1038064"/>
                <a:gd name="connsiteX13" fmla="*/ 481774 w 1445127"/>
                <a:gd name="connsiteY13" fmla="*/ 70784 h 1038064"/>
                <a:gd name="connsiteX14" fmla="*/ 516303 w 1445127"/>
                <a:gd name="connsiteY14" fmla="*/ 22444 h 1038064"/>
                <a:gd name="connsiteX15" fmla="*/ 568096 w 1445127"/>
                <a:gd name="connsiteY15" fmla="*/ 48340 h 1038064"/>
                <a:gd name="connsiteX16" fmla="*/ 607804 w 1445127"/>
                <a:gd name="connsiteY16" fmla="*/ 5179 h 1038064"/>
                <a:gd name="connsiteX17" fmla="*/ 656145 w 1445127"/>
                <a:gd name="connsiteY17" fmla="*/ 37982 h 1038064"/>
                <a:gd name="connsiteX18" fmla="*/ 701032 w 1445127"/>
                <a:gd name="connsiteY18" fmla="*/ 0 h 1038064"/>
                <a:gd name="connsiteX19" fmla="*/ 745919 w 1445127"/>
                <a:gd name="connsiteY19" fmla="*/ 37982 h 1038064"/>
                <a:gd name="connsiteX20" fmla="*/ 794259 w 1445127"/>
                <a:gd name="connsiteY20" fmla="*/ 5179 h 1038064"/>
                <a:gd name="connsiteX21" fmla="*/ 833968 w 1445127"/>
                <a:gd name="connsiteY21" fmla="*/ 48340 h 1038064"/>
                <a:gd name="connsiteX22" fmla="*/ 885761 w 1445127"/>
                <a:gd name="connsiteY22" fmla="*/ 22444 h 1038064"/>
                <a:gd name="connsiteX23" fmla="*/ 920290 w 1445127"/>
                <a:gd name="connsiteY23" fmla="*/ 70784 h 1038064"/>
                <a:gd name="connsiteX24" fmla="*/ 975536 w 1445127"/>
                <a:gd name="connsiteY24" fmla="*/ 51793 h 1038064"/>
                <a:gd name="connsiteX25" fmla="*/ 1003158 w 1445127"/>
                <a:gd name="connsiteY25" fmla="*/ 103586 h 1038064"/>
                <a:gd name="connsiteX26" fmla="*/ 1060131 w 1445127"/>
                <a:gd name="connsiteY26" fmla="*/ 91502 h 1038064"/>
                <a:gd name="connsiteX27" fmla="*/ 1080848 w 1445127"/>
                <a:gd name="connsiteY27" fmla="*/ 146747 h 1038064"/>
                <a:gd name="connsiteX28" fmla="*/ 1139547 w 1445127"/>
                <a:gd name="connsiteY28" fmla="*/ 141568 h 1038064"/>
                <a:gd name="connsiteX29" fmla="*/ 1153358 w 1445127"/>
                <a:gd name="connsiteY29" fmla="*/ 198540 h 1038064"/>
                <a:gd name="connsiteX30" fmla="*/ 1212058 w 1445127"/>
                <a:gd name="connsiteY30" fmla="*/ 201994 h 1038064"/>
                <a:gd name="connsiteX31" fmla="*/ 1218963 w 1445127"/>
                <a:gd name="connsiteY31" fmla="*/ 260692 h 1038064"/>
                <a:gd name="connsiteX32" fmla="*/ 1275936 w 1445127"/>
                <a:gd name="connsiteY32" fmla="*/ 271051 h 1038064"/>
                <a:gd name="connsiteX33" fmla="*/ 1275936 w 1445127"/>
                <a:gd name="connsiteY33" fmla="*/ 329750 h 1038064"/>
                <a:gd name="connsiteX34" fmla="*/ 1331182 w 1445127"/>
                <a:gd name="connsiteY34" fmla="*/ 347014 h 1038064"/>
                <a:gd name="connsiteX35" fmla="*/ 1322550 w 1445127"/>
                <a:gd name="connsiteY35" fmla="*/ 403987 h 1038064"/>
                <a:gd name="connsiteX36" fmla="*/ 1376070 w 1445127"/>
                <a:gd name="connsiteY36" fmla="*/ 428157 h 1038064"/>
                <a:gd name="connsiteX37" fmla="*/ 1360531 w 1445127"/>
                <a:gd name="connsiteY37" fmla="*/ 485129 h 1038064"/>
                <a:gd name="connsiteX38" fmla="*/ 1410598 w 1445127"/>
                <a:gd name="connsiteY38" fmla="*/ 516205 h 1038064"/>
                <a:gd name="connsiteX39" fmla="*/ 1388155 w 1445127"/>
                <a:gd name="connsiteY39" fmla="*/ 569725 h 1038064"/>
                <a:gd name="connsiteX40" fmla="*/ 1433042 w 1445127"/>
                <a:gd name="connsiteY40" fmla="*/ 605980 h 1038064"/>
                <a:gd name="connsiteX41" fmla="*/ 1403692 w 1445127"/>
                <a:gd name="connsiteY41" fmla="*/ 656047 h 1038064"/>
                <a:gd name="connsiteX42" fmla="*/ 1443401 w 1445127"/>
                <a:gd name="connsiteY42" fmla="*/ 697481 h 1038064"/>
                <a:gd name="connsiteX43" fmla="*/ 1408872 w 1445127"/>
                <a:gd name="connsiteY43" fmla="*/ 744095 h 1038064"/>
                <a:gd name="connsiteX44" fmla="*/ 1445127 w 1445127"/>
                <a:gd name="connsiteY44" fmla="*/ 792436 h 1038064"/>
                <a:gd name="connsiteX45" fmla="*/ 1405418 w 1445127"/>
                <a:gd name="connsiteY45" fmla="*/ 833870 h 1038064"/>
                <a:gd name="connsiteX46" fmla="*/ 1434768 w 1445127"/>
                <a:gd name="connsiteY46" fmla="*/ 883937 h 1038064"/>
                <a:gd name="connsiteX47" fmla="*/ 1389881 w 1445127"/>
                <a:gd name="connsiteY47" fmla="*/ 920191 h 1038064"/>
                <a:gd name="connsiteX48" fmla="*/ 1412324 w 1445127"/>
                <a:gd name="connsiteY48" fmla="*/ 973711 h 1038064"/>
                <a:gd name="connsiteX49" fmla="*/ 1362257 w 1445127"/>
                <a:gd name="connsiteY49" fmla="*/ 1004787 h 1038064"/>
                <a:gd name="connsiteX50" fmla="*/ 1370674 w 1445127"/>
                <a:gd name="connsiteY50" fmla="*/ 1033921 h 1038064"/>
                <a:gd name="connsiteX51" fmla="*/ 1372538 w 1445127"/>
                <a:gd name="connsiteY51" fmla="*/ 1038064 h 1038064"/>
                <a:gd name="connsiteX52" fmla="*/ 0 w 1445127"/>
                <a:gd name="connsiteY52" fmla="*/ 509258 h 1038064"/>
                <a:gd name="connsiteX53" fmla="*/ 2472 w 1445127"/>
                <a:gd name="connsiteY53" fmla="*/ 506737 h 1038064"/>
                <a:gd name="connsiteX54" fmla="*/ 43259 w 1445127"/>
                <a:gd name="connsiteY54" fmla="*/ 485130 h 1038064"/>
                <a:gd name="connsiteX55" fmla="*/ 27721 w 1445127"/>
                <a:gd name="connsiteY55" fmla="*/ 428157 h 10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5127" h="1038064">
                  <a:moveTo>
                    <a:pt x="27721" y="428157"/>
                  </a:moveTo>
                  <a:cubicBezTo>
                    <a:pt x="34627" y="414345"/>
                    <a:pt x="74335" y="417798"/>
                    <a:pt x="81240" y="403987"/>
                  </a:cubicBezTo>
                  <a:cubicBezTo>
                    <a:pt x="88146" y="391902"/>
                    <a:pt x="63976" y="359099"/>
                    <a:pt x="72608" y="347014"/>
                  </a:cubicBezTo>
                  <a:cubicBezTo>
                    <a:pt x="79514" y="334929"/>
                    <a:pt x="119222" y="341834"/>
                    <a:pt x="127854" y="329750"/>
                  </a:cubicBezTo>
                  <a:cubicBezTo>
                    <a:pt x="138213" y="317665"/>
                    <a:pt x="117495" y="283136"/>
                    <a:pt x="127854" y="271051"/>
                  </a:cubicBezTo>
                  <a:cubicBezTo>
                    <a:pt x="136486" y="258966"/>
                    <a:pt x="174469" y="271051"/>
                    <a:pt x="184827" y="260692"/>
                  </a:cubicBezTo>
                  <a:cubicBezTo>
                    <a:pt x="195186" y="248607"/>
                    <a:pt x="181374" y="212352"/>
                    <a:pt x="191732" y="201994"/>
                  </a:cubicBezTo>
                  <a:cubicBezTo>
                    <a:pt x="203818" y="191634"/>
                    <a:pt x="238346" y="208899"/>
                    <a:pt x="250432" y="198540"/>
                  </a:cubicBezTo>
                  <a:cubicBezTo>
                    <a:pt x="262517" y="188182"/>
                    <a:pt x="252158" y="150200"/>
                    <a:pt x="264243" y="141568"/>
                  </a:cubicBezTo>
                  <a:cubicBezTo>
                    <a:pt x="276328" y="132936"/>
                    <a:pt x="310857" y="155379"/>
                    <a:pt x="322942" y="146747"/>
                  </a:cubicBezTo>
                  <a:cubicBezTo>
                    <a:pt x="335027" y="138115"/>
                    <a:pt x="329848" y="98407"/>
                    <a:pt x="343659" y="91502"/>
                  </a:cubicBezTo>
                  <a:cubicBezTo>
                    <a:pt x="357470" y="84596"/>
                    <a:pt x="386820" y="110492"/>
                    <a:pt x="400631" y="103586"/>
                  </a:cubicBezTo>
                  <a:cubicBezTo>
                    <a:pt x="414443" y="96681"/>
                    <a:pt x="414443" y="56972"/>
                    <a:pt x="428255" y="51793"/>
                  </a:cubicBezTo>
                  <a:cubicBezTo>
                    <a:pt x="442066" y="46614"/>
                    <a:pt x="467962" y="75963"/>
                    <a:pt x="481774" y="70784"/>
                  </a:cubicBezTo>
                  <a:cubicBezTo>
                    <a:pt x="497312" y="65605"/>
                    <a:pt x="500765" y="25896"/>
                    <a:pt x="516303" y="22444"/>
                  </a:cubicBezTo>
                  <a:cubicBezTo>
                    <a:pt x="530114" y="18991"/>
                    <a:pt x="552558" y="51793"/>
                    <a:pt x="568096" y="48340"/>
                  </a:cubicBezTo>
                  <a:cubicBezTo>
                    <a:pt x="583634" y="44887"/>
                    <a:pt x="592266" y="6906"/>
                    <a:pt x="607804" y="5179"/>
                  </a:cubicBezTo>
                  <a:cubicBezTo>
                    <a:pt x="621616" y="3453"/>
                    <a:pt x="640606" y="39708"/>
                    <a:pt x="656145" y="37982"/>
                  </a:cubicBezTo>
                  <a:cubicBezTo>
                    <a:pt x="671682" y="36255"/>
                    <a:pt x="685494" y="0"/>
                    <a:pt x="701032" y="0"/>
                  </a:cubicBezTo>
                  <a:cubicBezTo>
                    <a:pt x="716570" y="0"/>
                    <a:pt x="730381" y="36255"/>
                    <a:pt x="745919" y="37982"/>
                  </a:cubicBezTo>
                  <a:cubicBezTo>
                    <a:pt x="761458" y="37982"/>
                    <a:pt x="778722" y="3453"/>
                    <a:pt x="794259" y="5179"/>
                  </a:cubicBezTo>
                  <a:cubicBezTo>
                    <a:pt x="809798" y="6906"/>
                    <a:pt x="818429" y="44887"/>
                    <a:pt x="833968" y="48340"/>
                  </a:cubicBezTo>
                  <a:cubicBezTo>
                    <a:pt x="847779" y="50067"/>
                    <a:pt x="871950" y="18991"/>
                    <a:pt x="885761" y="22444"/>
                  </a:cubicBezTo>
                  <a:cubicBezTo>
                    <a:pt x="901299" y="27623"/>
                    <a:pt x="906478" y="65605"/>
                    <a:pt x="920290" y="70784"/>
                  </a:cubicBezTo>
                  <a:cubicBezTo>
                    <a:pt x="934101" y="75963"/>
                    <a:pt x="961724" y="46614"/>
                    <a:pt x="975536" y="51793"/>
                  </a:cubicBezTo>
                  <a:cubicBezTo>
                    <a:pt x="989347" y="56972"/>
                    <a:pt x="989347" y="96681"/>
                    <a:pt x="1003158" y="103586"/>
                  </a:cubicBezTo>
                  <a:cubicBezTo>
                    <a:pt x="1016970" y="110492"/>
                    <a:pt x="1046319" y="84596"/>
                    <a:pt x="1060131" y="91502"/>
                  </a:cubicBezTo>
                  <a:cubicBezTo>
                    <a:pt x="1073943" y="100133"/>
                    <a:pt x="1068763" y="138115"/>
                    <a:pt x="1080848" y="146747"/>
                  </a:cubicBezTo>
                  <a:cubicBezTo>
                    <a:pt x="1092934" y="155379"/>
                    <a:pt x="1127462" y="132936"/>
                    <a:pt x="1139547" y="141568"/>
                  </a:cubicBezTo>
                  <a:cubicBezTo>
                    <a:pt x="1151632" y="150200"/>
                    <a:pt x="1141273" y="188182"/>
                    <a:pt x="1153358" y="198540"/>
                  </a:cubicBezTo>
                  <a:cubicBezTo>
                    <a:pt x="1165443" y="208899"/>
                    <a:pt x="1201699" y="191634"/>
                    <a:pt x="1212058" y="201994"/>
                  </a:cubicBezTo>
                  <a:cubicBezTo>
                    <a:pt x="1224143" y="212352"/>
                    <a:pt x="1208605" y="250334"/>
                    <a:pt x="1218963" y="260692"/>
                  </a:cubicBezTo>
                  <a:cubicBezTo>
                    <a:pt x="1229322" y="272777"/>
                    <a:pt x="1265578" y="258966"/>
                    <a:pt x="1275936" y="271051"/>
                  </a:cubicBezTo>
                  <a:cubicBezTo>
                    <a:pt x="1286294" y="283136"/>
                    <a:pt x="1267304" y="317665"/>
                    <a:pt x="1275936" y="329750"/>
                  </a:cubicBezTo>
                  <a:cubicBezTo>
                    <a:pt x="1284568" y="341834"/>
                    <a:pt x="1322550" y="334929"/>
                    <a:pt x="1331182" y="347014"/>
                  </a:cubicBezTo>
                  <a:cubicBezTo>
                    <a:pt x="1338087" y="359099"/>
                    <a:pt x="1315644" y="390175"/>
                    <a:pt x="1322550" y="403987"/>
                  </a:cubicBezTo>
                  <a:cubicBezTo>
                    <a:pt x="1329455" y="417798"/>
                    <a:pt x="1369163" y="414345"/>
                    <a:pt x="1376070" y="428157"/>
                  </a:cubicBezTo>
                  <a:cubicBezTo>
                    <a:pt x="1382975" y="441969"/>
                    <a:pt x="1355352" y="471318"/>
                    <a:pt x="1360531" y="485129"/>
                  </a:cubicBezTo>
                  <a:cubicBezTo>
                    <a:pt x="1365711" y="498941"/>
                    <a:pt x="1405418" y="502394"/>
                    <a:pt x="1410598" y="516205"/>
                  </a:cubicBezTo>
                  <a:cubicBezTo>
                    <a:pt x="1415777" y="530017"/>
                    <a:pt x="1384702" y="554187"/>
                    <a:pt x="1388155" y="569725"/>
                  </a:cubicBezTo>
                  <a:cubicBezTo>
                    <a:pt x="1391607" y="583537"/>
                    <a:pt x="1429589" y="590442"/>
                    <a:pt x="1433042" y="605980"/>
                  </a:cubicBezTo>
                  <a:cubicBezTo>
                    <a:pt x="1434768" y="619792"/>
                    <a:pt x="1401966" y="640509"/>
                    <a:pt x="1403692" y="656047"/>
                  </a:cubicBezTo>
                  <a:cubicBezTo>
                    <a:pt x="1405418" y="669859"/>
                    <a:pt x="1441674" y="681943"/>
                    <a:pt x="1443401" y="697481"/>
                  </a:cubicBezTo>
                  <a:cubicBezTo>
                    <a:pt x="1445127" y="713019"/>
                    <a:pt x="1408872" y="728557"/>
                    <a:pt x="1408872" y="744095"/>
                  </a:cubicBezTo>
                  <a:cubicBezTo>
                    <a:pt x="1408872" y="759633"/>
                    <a:pt x="1445127" y="775171"/>
                    <a:pt x="1445127" y="792436"/>
                  </a:cubicBezTo>
                  <a:cubicBezTo>
                    <a:pt x="1445127" y="806247"/>
                    <a:pt x="1407145" y="818332"/>
                    <a:pt x="1405418" y="833870"/>
                  </a:cubicBezTo>
                  <a:cubicBezTo>
                    <a:pt x="1403692" y="847682"/>
                    <a:pt x="1438221" y="868399"/>
                    <a:pt x="1434768" y="883937"/>
                  </a:cubicBezTo>
                  <a:cubicBezTo>
                    <a:pt x="1433042" y="897748"/>
                    <a:pt x="1393334" y="906380"/>
                    <a:pt x="1389881" y="920191"/>
                  </a:cubicBezTo>
                  <a:cubicBezTo>
                    <a:pt x="1386428" y="934004"/>
                    <a:pt x="1417504" y="959900"/>
                    <a:pt x="1412324" y="973711"/>
                  </a:cubicBezTo>
                  <a:cubicBezTo>
                    <a:pt x="1407145" y="989250"/>
                    <a:pt x="1367437" y="990976"/>
                    <a:pt x="1362257" y="1004787"/>
                  </a:cubicBezTo>
                  <a:cubicBezTo>
                    <a:pt x="1359668" y="1012556"/>
                    <a:pt x="1365279" y="1023347"/>
                    <a:pt x="1370674" y="1033921"/>
                  </a:cubicBezTo>
                  <a:lnTo>
                    <a:pt x="1372538" y="1038064"/>
                  </a:lnTo>
                  <a:lnTo>
                    <a:pt x="0" y="509258"/>
                  </a:lnTo>
                  <a:lnTo>
                    <a:pt x="2472" y="506737"/>
                  </a:lnTo>
                  <a:cubicBezTo>
                    <a:pt x="16067" y="499049"/>
                    <a:pt x="39374" y="495488"/>
                    <a:pt x="43259" y="485130"/>
                  </a:cubicBezTo>
                  <a:cubicBezTo>
                    <a:pt x="48438" y="469591"/>
                    <a:pt x="20815" y="441969"/>
                    <a:pt x="27721" y="428157"/>
                  </a:cubicBezTo>
                  <a:close/>
                </a:path>
              </a:pathLst>
            </a:custGeom>
            <a:solidFill>
              <a:schemeClr val="accent5">
                <a:alpha val="20000"/>
              </a:schemeClr>
            </a:solidFill>
            <a:ln w="22151" cap="flat">
              <a:noFill/>
              <a:prstDash val="solid"/>
              <a:miter/>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a:ln>
                  <a:noFill/>
                </a:ln>
                <a:solidFill>
                  <a:srgbClr val="FFFFFF"/>
                </a:solidFill>
                <a:effectLst/>
                <a:uLnTx/>
                <a:uFillTx/>
                <a:latin typeface="TT Norms Pro" panose="02000503030000020003" pitchFamily="2" charset="0"/>
                <a:ea typeface="+mn-ea"/>
                <a:cs typeface="+mn-cs"/>
              </a:endParaRPr>
            </a:p>
          </p:txBody>
        </p:sp>
        <p:pic>
          <p:nvPicPr>
            <p:cNvPr id="33" name="Graphic 32">
              <a:extLst>
                <a:ext uri="{FF2B5EF4-FFF2-40B4-BE49-F238E27FC236}">
                  <a16:creationId xmlns:a16="http://schemas.microsoft.com/office/drawing/2014/main" id="{54CAD62A-B203-F01B-2CE1-847A0D2C974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9604866" y="377227"/>
              <a:ext cx="611416" cy="679936"/>
            </a:xfrm>
            <a:prstGeom prst="rect">
              <a:avLst/>
            </a:prstGeom>
          </p:spPr>
        </p:pic>
        <p:pic>
          <p:nvPicPr>
            <p:cNvPr id="34" name="Graphic 33">
              <a:extLst>
                <a:ext uri="{FF2B5EF4-FFF2-40B4-BE49-F238E27FC236}">
                  <a16:creationId xmlns:a16="http://schemas.microsoft.com/office/drawing/2014/main" id="{BC6FBC0C-D716-F2B5-7D2A-59F072D4DF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10384833" y="250098"/>
              <a:ext cx="611416" cy="679936"/>
            </a:xfrm>
            <a:prstGeom prst="rect">
              <a:avLst/>
            </a:prstGeom>
          </p:spPr>
        </p:pic>
        <p:pic>
          <p:nvPicPr>
            <p:cNvPr id="17" name="Graphic 16">
              <a:extLst>
                <a:ext uri="{FF2B5EF4-FFF2-40B4-BE49-F238E27FC236}">
                  <a16:creationId xmlns:a16="http://schemas.microsoft.com/office/drawing/2014/main" id="{06DE7199-F987-F1D6-7B22-52AA899245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9912"/>
            <a:stretch>
              <a:fillRect/>
            </a:stretch>
          </p:blipFill>
          <p:spPr>
            <a:xfrm rot="14912638">
              <a:off x="10094824" y="-264909"/>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sp>
          <p:nvSpPr>
            <p:cNvPr id="45" name="Freeform: Shape 44">
              <a:extLst>
                <a:ext uri="{FF2B5EF4-FFF2-40B4-BE49-F238E27FC236}">
                  <a16:creationId xmlns:a16="http://schemas.microsoft.com/office/drawing/2014/main" id="{9D92F409-FA32-23D4-09EE-C8037395B906}"/>
                </a:ext>
              </a:extLst>
            </p:cNvPr>
            <p:cNvSpPr/>
            <p:nvPr/>
          </p:nvSpPr>
          <p:spPr>
            <a:xfrm rot="19394395">
              <a:off x="302036" y="-179531"/>
              <a:ext cx="306159" cy="1283212"/>
            </a:xfrm>
            <a:custGeom>
              <a:avLst/>
              <a:gdLst>
                <a:gd name="connsiteX0" fmla="*/ 66280 w 306159"/>
                <a:gd name="connsiteY0" fmla="*/ 0 h 1283212"/>
                <a:gd name="connsiteX1" fmla="*/ 72368 w 306159"/>
                <a:gd name="connsiteY1" fmla="*/ 4547 h 1283212"/>
                <a:gd name="connsiteX2" fmla="*/ 55892 w 306159"/>
                <a:gd name="connsiteY2" fmla="*/ 30957 h 1283212"/>
                <a:gd name="connsiteX3" fmla="*/ 37819 w 306159"/>
                <a:gd name="connsiteY3" fmla="*/ 67070 h 1283212"/>
                <a:gd name="connsiteX4" fmla="*/ 28388 w 306159"/>
                <a:gd name="connsiteY4" fmla="*/ 135780 h 1283212"/>
                <a:gd name="connsiteX5" fmla="*/ 60723 w 306159"/>
                <a:gd name="connsiteY5" fmla="*/ 69090 h 1283212"/>
                <a:gd name="connsiteX6" fmla="*/ 89352 w 306159"/>
                <a:gd name="connsiteY6" fmla="*/ 31872 h 1283212"/>
                <a:gd name="connsiteX7" fmla="*/ 95581 w 306159"/>
                <a:gd name="connsiteY7" fmla="*/ 21888 h 1283212"/>
                <a:gd name="connsiteX8" fmla="*/ 144709 w 306159"/>
                <a:gd name="connsiteY8" fmla="*/ 58587 h 1283212"/>
                <a:gd name="connsiteX9" fmla="*/ 165726 w 306159"/>
                <a:gd name="connsiteY9" fmla="*/ 123486 h 1283212"/>
                <a:gd name="connsiteX10" fmla="*/ 206901 w 306159"/>
                <a:gd name="connsiteY10" fmla="*/ 304862 h 1283212"/>
                <a:gd name="connsiteX11" fmla="*/ 200838 w 306159"/>
                <a:gd name="connsiteY11" fmla="*/ 519077 h 1283212"/>
                <a:gd name="connsiteX12" fmla="*/ 236541 w 306159"/>
                <a:gd name="connsiteY12" fmla="*/ 742050 h 1283212"/>
                <a:gd name="connsiteX13" fmla="*/ 262139 w 306159"/>
                <a:gd name="connsiteY13" fmla="*/ 960307 h 1283212"/>
                <a:gd name="connsiteX14" fmla="*/ 262139 w 306159"/>
                <a:gd name="connsiteY14" fmla="*/ 963001 h 1283212"/>
                <a:gd name="connsiteX15" fmla="*/ 261465 w 306159"/>
                <a:gd name="connsiteY15" fmla="*/ 983210 h 1283212"/>
                <a:gd name="connsiteX16" fmla="*/ 254729 w 306159"/>
                <a:gd name="connsiteY16" fmla="*/ 1013523 h 1283212"/>
                <a:gd name="connsiteX17" fmla="*/ 196796 w 306159"/>
                <a:gd name="connsiteY17" fmla="*/ 1101770 h 1283212"/>
                <a:gd name="connsiteX18" fmla="*/ 148969 w 306159"/>
                <a:gd name="connsiteY18" fmla="*/ 1199446 h 1283212"/>
                <a:gd name="connsiteX19" fmla="*/ 216332 w 306159"/>
                <a:gd name="connsiteY19" fmla="*/ 1133430 h 1283212"/>
                <a:gd name="connsiteX20" fmla="*/ 252034 w 306159"/>
                <a:gd name="connsiteY20" fmla="*/ 1093686 h 1283212"/>
                <a:gd name="connsiteX21" fmla="*/ 251361 w 306159"/>
                <a:gd name="connsiteY21" fmla="*/ 1096381 h 1283212"/>
                <a:gd name="connsiteX22" fmla="*/ 250687 w 306159"/>
                <a:gd name="connsiteY22" fmla="*/ 1100422 h 1283212"/>
                <a:gd name="connsiteX23" fmla="*/ 251361 w 306159"/>
                <a:gd name="connsiteY23" fmla="*/ 1097728 h 1283212"/>
                <a:gd name="connsiteX24" fmla="*/ 302557 w 306159"/>
                <a:gd name="connsiteY24" fmla="*/ 1245253 h 1283212"/>
                <a:gd name="connsiteX25" fmla="*/ 148295 w 306159"/>
                <a:gd name="connsiteY25" fmla="*/ 1282303 h 1283212"/>
                <a:gd name="connsiteX26" fmla="*/ 128086 w 306159"/>
                <a:gd name="connsiteY26" fmla="*/ 1225044 h 1283212"/>
                <a:gd name="connsiteX27" fmla="*/ 47924 w 306159"/>
                <a:gd name="connsiteY27" fmla="*/ 972432 h 1283212"/>
                <a:gd name="connsiteX28" fmla="*/ 47250 w 306159"/>
                <a:gd name="connsiteY28" fmla="*/ 901700 h 1283212"/>
                <a:gd name="connsiteX29" fmla="*/ 53986 w 306159"/>
                <a:gd name="connsiteY29" fmla="*/ 849157 h 1283212"/>
                <a:gd name="connsiteX30" fmla="*/ 150316 w 306159"/>
                <a:gd name="connsiteY30" fmla="*/ 620796 h 1283212"/>
                <a:gd name="connsiteX31" fmla="*/ 173893 w 306159"/>
                <a:gd name="connsiteY31" fmla="*/ 563537 h 1283212"/>
                <a:gd name="connsiteX32" fmla="*/ 89689 w 306159"/>
                <a:gd name="connsiteY32" fmla="*/ 650436 h 1283212"/>
                <a:gd name="connsiteX33" fmla="*/ 58702 w 306159"/>
                <a:gd name="connsiteY33" fmla="*/ 700285 h 1283212"/>
                <a:gd name="connsiteX34" fmla="*/ 58702 w 306159"/>
                <a:gd name="connsiteY34" fmla="*/ 699611 h 1283212"/>
                <a:gd name="connsiteX35" fmla="*/ 2117 w 306159"/>
                <a:gd name="connsiteY35" fmla="*/ 369531 h 1283212"/>
                <a:gd name="connsiteX36" fmla="*/ 7043 w 306159"/>
                <a:gd name="connsiteY36" fmla="*/ 151084 h 1283212"/>
                <a:gd name="connsiteX37" fmla="*/ 690 w 306159"/>
                <a:gd name="connsiteY37" fmla="*/ 87804 h 12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6159" h="1283212">
                  <a:moveTo>
                    <a:pt x="66280" y="0"/>
                  </a:moveTo>
                  <a:lnTo>
                    <a:pt x="72368" y="4547"/>
                  </a:lnTo>
                  <a:lnTo>
                    <a:pt x="55892" y="30957"/>
                  </a:lnTo>
                  <a:cubicBezTo>
                    <a:pt x="49145" y="42145"/>
                    <a:pt x="42872" y="53766"/>
                    <a:pt x="37819" y="67070"/>
                  </a:cubicBezTo>
                  <a:cubicBezTo>
                    <a:pt x="25694" y="98057"/>
                    <a:pt x="28388" y="135780"/>
                    <a:pt x="28388" y="135780"/>
                  </a:cubicBezTo>
                  <a:cubicBezTo>
                    <a:pt x="28388" y="135780"/>
                    <a:pt x="27041" y="118939"/>
                    <a:pt x="60723" y="69090"/>
                  </a:cubicBezTo>
                  <a:cubicBezTo>
                    <a:pt x="67796" y="58312"/>
                    <a:pt x="78237" y="46355"/>
                    <a:pt x="89352" y="31872"/>
                  </a:cubicBezTo>
                  <a:lnTo>
                    <a:pt x="95581" y="21888"/>
                  </a:lnTo>
                  <a:lnTo>
                    <a:pt x="144709" y="58587"/>
                  </a:lnTo>
                  <a:lnTo>
                    <a:pt x="165726" y="123486"/>
                  </a:lnTo>
                  <a:cubicBezTo>
                    <a:pt x="184335" y="183777"/>
                    <a:pt x="202860" y="252656"/>
                    <a:pt x="206901" y="304862"/>
                  </a:cubicBezTo>
                  <a:cubicBezTo>
                    <a:pt x="214985" y="409275"/>
                    <a:pt x="210269" y="484048"/>
                    <a:pt x="200838" y="519077"/>
                  </a:cubicBezTo>
                  <a:cubicBezTo>
                    <a:pt x="191407" y="554106"/>
                    <a:pt x="212290" y="686138"/>
                    <a:pt x="236541" y="742050"/>
                  </a:cubicBezTo>
                  <a:cubicBezTo>
                    <a:pt x="252708" y="779099"/>
                    <a:pt x="262812" y="868693"/>
                    <a:pt x="262139" y="960307"/>
                  </a:cubicBezTo>
                  <a:cubicBezTo>
                    <a:pt x="262139" y="960307"/>
                    <a:pt x="262139" y="961654"/>
                    <a:pt x="262139" y="963001"/>
                  </a:cubicBezTo>
                  <a:cubicBezTo>
                    <a:pt x="261465" y="969738"/>
                    <a:pt x="261465" y="976474"/>
                    <a:pt x="261465" y="983210"/>
                  </a:cubicBezTo>
                  <a:cubicBezTo>
                    <a:pt x="260792" y="991967"/>
                    <a:pt x="258771" y="1002745"/>
                    <a:pt x="254729" y="1013523"/>
                  </a:cubicBezTo>
                  <a:cubicBezTo>
                    <a:pt x="244625" y="1041143"/>
                    <a:pt x="221047" y="1070109"/>
                    <a:pt x="196796" y="1101770"/>
                  </a:cubicBezTo>
                  <a:cubicBezTo>
                    <a:pt x="137517" y="1179911"/>
                    <a:pt x="148969" y="1199446"/>
                    <a:pt x="148969" y="1199446"/>
                  </a:cubicBezTo>
                  <a:cubicBezTo>
                    <a:pt x="148969" y="1199446"/>
                    <a:pt x="174567" y="1163744"/>
                    <a:pt x="216332" y="1133430"/>
                  </a:cubicBezTo>
                  <a:cubicBezTo>
                    <a:pt x="227784" y="1125346"/>
                    <a:pt x="239909" y="1111200"/>
                    <a:pt x="252034" y="1093686"/>
                  </a:cubicBezTo>
                  <a:cubicBezTo>
                    <a:pt x="251361" y="1095033"/>
                    <a:pt x="251361" y="1095707"/>
                    <a:pt x="251361" y="1096381"/>
                  </a:cubicBezTo>
                  <a:cubicBezTo>
                    <a:pt x="251361" y="1097728"/>
                    <a:pt x="250687" y="1099075"/>
                    <a:pt x="250687" y="1100422"/>
                  </a:cubicBezTo>
                  <a:cubicBezTo>
                    <a:pt x="251361" y="1098401"/>
                    <a:pt x="251361" y="1097728"/>
                    <a:pt x="251361" y="1097728"/>
                  </a:cubicBezTo>
                  <a:cubicBezTo>
                    <a:pt x="251361" y="1097728"/>
                    <a:pt x="322766" y="1216287"/>
                    <a:pt x="302557" y="1245253"/>
                  </a:cubicBezTo>
                  <a:cubicBezTo>
                    <a:pt x="290432" y="1262768"/>
                    <a:pt x="165136" y="1288366"/>
                    <a:pt x="148295" y="1282303"/>
                  </a:cubicBezTo>
                  <a:cubicBezTo>
                    <a:pt x="113266" y="1268831"/>
                    <a:pt x="128086" y="1225044"/>
                    <a:pt x="128086" y="1225044"/>
                  </a:cubicBezTo>
                  <a:cubicBezTo>
                    <a:pt x="128086" y="1225044"/>
                    <a:pt x="57355" y="1049226"/>
                    <a:pt x="47924" y="972432"/>
                  </a:cubicBezTo>
                  <a:cubicBezTo>
                    <a:pt x="45903" y="953570"/>
                    <a:pt x="45903" y="928646"/>
                    <a:pt x="47250" y="901700"/>
                  </a:cubicBezTo>
                  <a:cubicBezTo>
                    <a:pt x="48597" y="884860"/>
                    <a:pt x="51292" y="867346"/>
                    <a:pt x="53986" y="849157"/>
                  </a:cubicBezTo>
                  <a:cubicBezTo>
                    <a:pt x="75543" y="712410"/>
                    <a:pt x="122697" y="655825"/>
                    <a:pt x="150316" y="620796"/>
                  </a:cubicBezTo>
                  <a:cubicBezTo>
                    <a:pt x="183324" y="578357"/>
                    <a:pt x="173893" y="563537"/>
                    <a:pt x="173893" y="563537"/>
                  </a:cubicBezTo>
                  <a:cubicBezTo>
                    <a:pt x="173893" y="563537"/>
                    <a:pt x="143580" y="593177"/>
                    <a:pt x="89689" y="650436"/>
                  </a:cubicBezTo>
                  <a:cubicBezTo>
                    <a:pt x="76217" y="664582"/>
                    <a:pt x="66112" y="682096"/>
                    <a:pt x="58702" y="700285"/>
                  </a:cubicBezTo>
                  <a:cubicBezTo>
                    <a:pt x="58702" y="700285"/>
                    <a:pt x="58702" y="699611"/>
                    <a:pt x="58702" y="699611"/>
                  </a:cubicBezTo>
                  <a:cubicBezTo>
                    <a:pt x="33777" y="616754"/>
                    <a:pt x="11548" y="471923"/>
                    <a:pt x="2117" y="369531"/>
                  </a:cubicBezTo>
                  <a:cubicBezTo>
                    <a:pt x="-4956" y="292736"/>
                    <a:pt x="8053" y="220868"/>
                    <a:pt x="7043" y="151084"/>
                  </a:cubicBezTo>
                  <a:lnTo>
                    <a:pt x="690" y="87804"/>
                  </a:lnTo>
                  <a:close/>
                </a:path>
              </a:pathLst>
            </a:custGeom>
            <a:solidFill>
              <a:schemeClr val="accent5">
                <a:alpha val="20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41" name="Freeform: Shape 40">
              <a:extLst>
                <a:ext uri="{FF2B5EF4-FFF2-40B4-BE49-F238E27FC236}">
                  <a16:creationId xmlns:a16="http://schemas.microsoft.com/office/drawing/2014/main" id="{2A39F323-183C-35A3-F393-C888E45E5792}"/>
                </a:ext>
              </a:extLst>
            </p:cNvPr>
            <p:cNvSpPr/>
            <p:nvPr/>
          </p:nvSpPr>
          <p:spPr>
            <a:xfrm rot="19394395">
              <a:off x="694905" y="-54825"/>
              <a:ext cx="354168" cy="638032"/>
            </a:xfrm>
            <a:custGeom>
              <a:avLst/>
              <a:gdLst>
                <a:gd name="connsiteX0" fmla="*/ 191474 w 354168"/>
                <a:gd name="connsiteY0" fmla="*/ 0 h 638032"/>
                <a:gd name="connsiteX1" fmla="*/ 354168 w 354168"/>
                <a:gd name="connsiteY1" fmla="*/ 121534 h 638032"/>
                <a:gd name="connsiteX2" fmla="*/ 353651 w 354168"/>
                <a:gd name="connsiteY2" fmla="*/ 124462 h 638032"/>
                <a:gd name="connsiteX3" fmla="*/ 335326 w 354168"/>
                <a:gd name="connsiteY3" fmla="*/ 187320 h 638032"/>
                <a:gd name="connsiteX4" fmla="*/ 234955 w 354168"/>
                <a:gd name="connsiteY4" fmla="*/ 397494 h 638032"/>
                <a:gd name="connsiteX5" fmla="*/ 216766 w 354168"/>
                <a:gd name="connsiteY5" fmla="*/ 560513 h 638032"/>
                <a:gd name="connsiteX6" fmla="*/ 162876 w 354168"/>
                <a:gd name="connsiteY6" fmla="*/ 637980 h 638032"/>
                <a:gd name="connsiteX7" fmla="*/ 9961 w 354168"/>
                <a:gd name="connsiteY7" fmla="*/ 583416 h 638032"/>
                <a:gd name="connsiteX8" fmla="*/ 20065 w 354168"/>
                <a:gd name="connsiteY8" fmla="*/ 503254 h 638032"/>
                <a:gd name="connsiteX9" fmla="*/ 72609 w 354168"/>
                <a:gd name="connsiteY9" fmla="*/ 373242 h 638032"/>
                <a:gd name="connsiteX10" fmla="*/ 144688 w 354168"/>
                <a:gd name="connsiteY10" fmla="*/ 219655 h 638032"/>
                <a:gd name="connsiteX11" fmla="*/ 144688 w 354168"/>
                <a:gd name="connsiteY11" fmla="*/ 212244 h 638032"/>
                <a:gd name="connsiteX12" fmla="*/ 194537 w 354168"/>
                <a:gd name="connsiteY12" fmla="*/ 303185 h 638032"/>
                <a:gd name="connsiteX13" fmla="*/ 225524 w 354168"/>
                <a:gd name="connsiteY13" fmla="*/ 370548 h 638032"/>
                <a:gd name="connsiteX14" fmla="*/ 226871 w 354168"/>
                <a:gd name="connsiteY14" fmla="*/ 371896 h 638032"/>
                <a:gd name="connsiteX15" fmla="*/ 221482 w 354168"/>
                <a:gd name="connsiteY15" fmla="*/ 300491 h 638032"/>
                <a:gd name="connsiteX16" fmla="*/ 176348 w 354168"/>
                <a:gd name="connsiteY16" fmla="*/ 164416 h 638032"/>
                <a:gd name="connsiteX17" fmla="*/ 180390 w 354168"/>
                <a:gd name="connsiteY17" fmla="*/ 33732 h 63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68" h="638032">
                  <a:moveTo>
                    <a:pt x="191474" y="0"/>
                  </a:moveTo>
                  <a:lnTo>
                    <a:pt x="354168" y="121534"/>
                  </a:lnTo>
                  <a:lnTo>
                    <a:pt x="353651" y="124462"/>
                  </a:lnTo>
                  <a:cubicBezTo>
                    <a:pt x="349472" y="142145"/>
                    <a:pt x="343578" y="162733"/>
                    <a:pt x="335326" y="187320"/>
                  </a:cubicBezTo>
                  <a:cubicBezTo>
                    <a:pt x="317811" y="238516"/>
                    <a:pt x="286824" y="337540"/>
                    <a:pt x="234955" y="397494"/>
                  </a:cubicBezTo>
                  <a:cubicBezTo>
                    <a:pt x="234281" y="415008"/>
                    <a:pt x="232934" y="500559"/>
                    <a:pt x="216766" y="560513"/>
                  </a:cubicBezTo>
                  <a:cubicBezTo>
                    <a:pt x="199252" y="625182"/>
                    <a:pt x="188474" y="637307"/>
                    <a:pt x="162876" y="637980"/>
                  </a:cubicBezTo>
                  <a:cubicBezTo>
                    <a:pt x="129868" y="639328"/>
                    <a:pt x="30844" y="614404"/>
                    <a:pt x="9961" y="583416"/>
                  </a:cubicBezTo>
                  <a:cubicBezTo>
                    <a:pt x="-10922" y="552429"/>
                    <a:pt x="5246" y="536262"/>
                    <a:pt x="20065" y="503254"/>
                  </a:cubicBezTo>
                  <a:cubicBezTo>
                    <a:pt x="34885" y="470919"/>
                    <a:pt x="65872" y="392778"/>
                    <a:pt x="72609" y="373242"/>
                  </a:cubicBezTo>
                  <a:cubicBezTo>
                    <a:pt x="98881" y="301838"/>
                    <a:pt x="144688" y="219655"/>
                    <a:pt x="144688" y="219655"/>
                  </a:cubicBezTo>
                  <a:cubicBezTo>
                    <a:pt x="144688" y="216960"/>
                    <a:pt x="144688" y="214939"/>
                    <a:pt x="144688" y="212244"/>
                  </a:cubicBezTo>
                  <a:cubicBezTo>
                    <a:pt x="161528" y="249968"/>
                    <a:pt x="179717" y="279608"/>
                    <a:pt x="194537" y="303185"/>
                  </a:cubicBezTo>
                  <a:cubicBezTo>
                    <a:pt x="219461" y="342256"/>
                    <a:pt x="218788" y="359770"/>
                    <a:pt x="225524" y="370548"/>
                  </a:cubicBezTo>
                  <a:cubicBezTo>
                    <a:pt x="226197" y="371222"/>
                    <a:pt x="226197" y="371896"/>
                    <a:pt x="226871" y="371896"/>
                  </a:cubicBezTo>
                  <a:cubicBezTo>
                    <a:pt x="231586" y="374590"/>
                    <a:pt x="228218" y="336193"/>
                    <a:pt x="221482" y="300491"/>
                  </a:cubicBezTo>
                  <a:cubicBezTo>
                    <a:pt x="213399" y="261420"/>
                    <a:pt x="187126" y="229086"/>
                    <a:pt x="176348" y="164416"/>
                  </a:cubicBezTo>
                  <a:cubicBezTo>
                    <a:pt x="168939" y="119283"/>
                    <a:pt x="172307" y="73476"/>
                    <a:pt x="180390" y="33732"/>
                  </a:cubicBezTo>
                  <a:close/>
                </a:path>
              </a:pathLst>
            </a:custGeom>
            <a:solidFill>
              <a:schemeClr val="accent5">
                <a:alpha val="20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grpSp>
      <p:sp>
        <p:nvSpPr>
          <p:cNvPr id="2" name="Title 1">
            <a:extLst>
              <a:ext uri="{FF2B5EF4-FFF2-40B4-BE49-F238E27FC236}">
                <a16:creationId xmlns:a16="http://schemas.microsoft.com/office/drawing/2014/main" id="{085F9FA4-5D17-F3D1-8F72-8ED9620539A2}"/>
              </a:ext>
            </a:extLst>
          </p:cNvPr>
          <p:cNvSpPr>
            <a:spLocks noGrp="1"/>
          </p:cNvSpPr>
          <p:nvPr>
            <p:ph type="title" hasCustomPrompt="1"/>
          </p:nvPr>
        </p:nvSpPr>
        <p:spPr>
          <a:xfrm>
            <a:off x="2794083" y="2967560"/>
            <a:ext cx="6603835" cy="922881"/>
          </a:xfrm>
          <a:prstGeom prst="rect">
            <a:avLst/>
          </a:prstGeom>
          <a:noFill/>
        </p:spPr>
        <p:txBody>
          <a:bodyPr wrap="square" lIns="0" tIns="0" rIns="0" bIns="0" rtlCol="0" anchor="ctr">
            <a:noAutofit/>
          </a:bodyPr>
          <a:lstStyle>
            <a:lvl1pPr algn="ctr">
              <a:lnSpc>
                <a:spcPct val="100000"/>
              </a:lnSpc>
              <a:defRPr lang="en-IN" sz="5997" b="1" i="0">
                <a:solidFill>
                  <a:srgbClr val="FEF0DC"/>
                </a:solidFill>
                <a:latin typeface="Gazpacho Light" pitchFamily="2" charset="77"/>
                <a:ea typeface="+mn-ea"/>
                <a:cs typeface="+mn-cs"/>
              </a:defRPr>
            </a:lvl1pPr>
          </a:lstStyle>
          <a:p>
            <a:pPr marL="0" lvl="0" defTabSz="913943"/>
            <a:r>
              <a:rPr lang="en-US"/>
              <a:t>Section Title</a:t>
            </a:r>
            <a:endParaRPr lang="en-IN"/>
          </a:p>
        </p:txBody>
      </p:sp>
      <p:sp>
        <p:nvSpPr>
          <p:cNvPr id="3" name="Text Placeholder 9">
            <a:extLst>
              <a:ext uri="{FF2B5EF4-FFF2-40B4-BE49-F238E27FC236}">
                <a16:creationId xmlns:a16="http://schemas.microsoft.com/office/drawing/2014/main" id="{314CF62A-83C1-626D-21DB-32673A2E4955}"/>
              </a:ext>
            </a:extLst>
          </p:cNvPr>
          <p:cNvSpPr>
            <a:spLocks noGrp="1"/>
          </p:cNvSpPr>
          <p:nvPr>
            <p:ph type="body" sz="quarter" idx="10" hasCustomPrompt="1"/>
          </p:nvPr>
        </p:nvSpPr>
        <p:spPr>
          <a:xfrm>
            <a:off x="2810125" y="3913749"/>
            <a:ext cx="6603834" cy="430887"/>
          </a:xfrm>
          <a:noFill/>
        </p:spPr>
        <p:txBody>
          <a:bodyPr wrap="square" lIns="0" tIns="0" rIns="0" bIns="0" rtlCol="0" anchor="ctr">
            <a:noAutofit/>
          </a:bodyPr>
          <a:lstStyle>
            <a:lvl1pPr marL="0" indent="0" algn="ctr">
              <a:lnSpc>
                <a:spcPct val="100000"/>
              </a:lnSpc>
              <a:buNone/>
              <a:defRPr lang="en-US" sz="2800" b="0" i="0" smtClean="0">
                <a:solidFill>
                  <a:srgbClr val="FEF0DC"/>
                </a:solidFill>
                <a:latin typeface="TT Norms Pro" panose="02000503030000020003" pitchFamily="2" charset="0"/>
                <a:cs typeface="TT Norms Pro" panose="02000503030000020003" pitchFamily="2" charset="0"/>
              </a:defRPr>
            </a:lvl1pPr>
            <a:lvl2pPr marL="380863" indent="0">
              <a:buNone/>
              <a:defRPr lang="en-US" sz="2399" smtClean="0">
                <a:latin typeface="+mn-lt"/>
              </a:defRPr>
            </a:lvl2pPr>
            <a:lvl3pPr marL="990097" indent="0">
              <a:buNone/>
              <a:defRPr lang="en-US" sz="2399" smtClean="0">
                <a:latin typeface="+mn-lt"/>
              </a:defRPr>
            </a:lvl3pPr>
            <a:lvl4pPr marL="1599330" indent="0">
              <a:buNone/>
              <a:defRPr lang="en-US" sz="2399" smtClean="0">
                <a:latin typeface="+mn-lt"/>
              </a:defRPr>
            </a:lvl4pPr>
            <a:lvl5pPr marL="2208565" indent="0">
              <a:buNone/>
              <a:defRPr lang="en-IN" sz="2399">
                <a:latin typeface="+mn-lt"/>
              </a:defRPr>
            </a:lvl5pPr>
          </a:lstStyle>
          <a:p>
            <a:pPr marL="0" lvl="0" defTabSz="913943"/>
            <a:r>
              <a:rPr lang="en-US"/>
              <a:t>Date Goes Here</a:t>
            </a:r>
            <a:endParaRPr lang="en-IN"/>
          </a:p>
        </p:txBody>
      </p:sp>
      <p:grpSp>
        <p:nvGrpSpPr>
          <p:cNvPr id="4" name="Group 3">
            <a:extLst>
              <a:ext uri="{FF2B5EF4-FFF2-40B4-BE49-F238E27FC236}">
                <a16:creationId xmlns:a16="http://schemas.microsoft.com/office/drawing/2014/main" id="{59231D90-8363-B39B-A5EB-9BE3504179F7}"/>
              </a:ext>
            </a:extLst>
          </p:cNvPr>
          <p:cNvGrpSpPr/>
          <p:nvPr userDrawn="1"/>
        </p:nvGrpSpPr>
        <p:grpSpPr>
          <a:xfrm>
            <a:off x="-268379" y="-235812"/>
            <a:ext cx="12709513" cy="2768410"/>
            <a:chOff x="-268379" y="-235812"/>
            <a:chExt cx="12709513" cy="2768410"/>
          </a:xfrm>
        </p:grpSpPr>
        <p:sp>
          <p:nvSpPr>
            <p:cNvPr id="5" name="Freeform: Shape 4">
              <a:extLst>
                <a:ext uri="{FF2B5EF4-FFF2-40B4-BE49-F238E27FC236}">
                  <a16:creationId xmlns:a16="http://schemas.microsoft.com/office/drawing/2014/main" id="{FA70DE96-8FEF-65CD-0F57-6180DF09D0C3}"/>
                </a:ext>
              </a:extLst>
            </p:cNvPr>
            <p:cNvSpPr/>
            <p:nvPr userDrawn="1"/>
          </p:nvSpPr>
          <p:spPr>
            <a:xfrm rot="20481175">
              <a:off x="7455640" y="58626"/>
              <a:ext cx="1448104" cy="1389865"/>
            </a:xfrm>
            <a:custGeom>
              <a:avLst/>
              <a:gdLst>
                <a:gd name="connsiteX0" fmla="*/ 1021496 w 1448104"/>
                <a:gd name="connsiteY0" fmla="*/ 0 h 1389865"/>
                <a:gd name="connsiteX1" fmla="*/ 1301750 w 1448104"/>
                <a:gd name="connsiteY1" fmla="*/ 94572 h 1389865"/>
                <a:gd name="connsiteX2" fmla="*/ 1300912 w 1448104"/>
                <a:gd name="connsiteY2" fmla="*/ 127519 h 1389865"/>
                <a:gd name="connsiteX3" fmla="*/ 1334529 w 1448104"/>
                <a:gd name="connsiteY3" fmla="*/ 396741 h 1389865"/>
                <a:gd name="connsiteX4" fmla="*/ 1436926 w 1448104"/>
                <a:gd name="connsiteY4" fmla="*/ 833636 h 1389865"/>
                <a:gd name="connsiteX5" fmla="*/ 980174 w 1448104"/>
                <a:gd name="connsiteY5" fmla="*/ 1353687 h 1389865"/>
                <a:gd name="connsiteX6" fmla="*/ 131865 w 1448104"/>
                <a:gd name="connsiteY6" fmla="*/ 858914 h 1389865"/>
                <a:gd name="connsiteX7" fmla="*/ 367037 w 1448104"/>
                <a:gd name="connsiteY7" fmla="*/ 209611 h 1389865"/>
                <a:gd name="connsiteX8" fmla="*/ 801214 w 1448104"/>
                <a:gd name="connsiteY8" fmla="*/ 85675 h 1389865"/>
                <a:gd name="connsiteX9" fmla="*/ 980777 w 1448104"/>
                <a:gd name="connsiteY9" fmla="*/ 19983 h 138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04" h="1389865">
                  <a:moveTo>
                    <a:pt x="1021496" y="0"/>
                  </a:moveTo>
                  <a:lnTo>
                    <a:pt x="1301750" y="94572"/>
                  </a:lnTo>
                  <a:lnTo>
                    <a:pt x="1300912" y="127519"/>
                  </a:lnTo>
                  <a:cubicBezTo>
                    <a:pt x="1301839" y="205476"/>
                    <a:pt x="1311698" y="293691"/>
                    <a:pt x="1334529" y="396741"/>
                  </a:cubicBezTo>
                  <a:cubicBezTo>
                    <a:pt x="1366264" y="540643"/>
                    <a:pt x="1411834" y="686317"/>
                    <a:pt x="1436926" y="833636"/>
                  </a:cubicBezTo>
                  <a:cubicBezTo>
                    <a:pt x="1511708" y="1273220"/>
                    <a:pt x="1194682" y="1478785"/>
                    <a:pt x="980174" y="1353687"/>
                  </a:cubicBezTo>
                  <a:lnTo>
                    <a:pt x="131865" y="858914"/>
                  </a:lnTo>
                  <a:cubicBezTo>
                    <a:pt x="-82825" y="733692"/>
                    <a:pt x="-56135" y="358765"/>
                    <a:pt x="367037" y="209611"/>
                  </a:cubicBezTo>
                  <a:cubicBezTo>
                    <a:pt x="508790" y="159611"/>
                    <a:pt x="659153" y="128230"/>
                    <a:pt x="801214" y="85675"/>
                  </a:cubicBezTo>
                  <a:cubicBezTo>
                    <a:pt x="869093" y="65451"/>
                    <a:pt x="928355" y="43426"/>
                    <a:pt x="980777" y="19983"/>
                  </a:cubicBezTo>
                  <a:close/>
                </a:path>
              </a:pathLst>
            </a:custGeom>
            <a:solidFill>
              <a:schemeClr val="accent5">
                <a:alpha val="20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6" name="Freeform: Shape 5">
              <a:extLst>
                <a:ext uri="{FF2B5EF4-FFF2-40B4-BE49-F238E27FC236}">
                  <a16:creationId xmlns:a16="http://schemas.microsoft.com/office/drawing/2014/main" id="{77E1F76A-C409-8B08-AE32-752883CA6031}"/>
                </a:ext>
              </a:extLst>
            </p:cNvPr>
            <p:cNvSpPr/>
            <p:nvPr userDrawn="1"/>
          </p:nvSpPr>
          <p:spPr>
            <a:xfrm rot="3903520">
              <a:off x="11517816" y="417078"/>
              <a:ext cx="218602" cy="1274125"/>
            </a:xfrm>
            <a:custGeom>
              <a:avLst/>
              <a:gdLst>
                <a:gd name="connsiteX0" fmla="*/ 79026 w 218602"/>
                <a:gd name="connsiteY0" fmla="*/ 0 h 1274125"/>
                <a:gd name="connsiteX1" fmla="*/ 216280 w 218602"/>
                <a:gd name="connsiteY1" fmla="*/ 63832 h 1274125"/>
                <a:gd name="connsiteX2" fmla="*/ 217873 w 218602"/>
                <a:gd name="connsiteY2" fmla="*/ 80524 h 1274125"/>
                <a:gd name="connsiteX3" fmla="*/ 218602 w 218602"/>
                <a:gd name="connsiteY3" fmla="*/ 114523 h 1274125"/>
                <a:gd name="connsiteX4" fmla="*/ 216683 w 218602"/>
                <a:gd name="connsiteY4" fmla="*/ 152888 h 1274125"/>
                <a:gd name="connsiteX5" fmla="*/ 212216 w 218602"/>
                <a:gd name="connsiteY5" fmla="*/ 190901 h 1274125"/>
                <a:gd name="connsiteX6" fmla="*/ 205893 w 218602"/>
                <a:gd name="connsiteY6" fmla="*/ 223900 h 1274125"/>
                <a:gd name="connsiteX7" fmla="*/ 198113 w 218602"/>
                <a:gd name="connsiteY7" fmla="*/ 252538 h 1274125"/>
                <a:gd name="connsiteX8" fmla="*/ 189272 w 218602"/>
                <a:gd name="connsiteY8" fmla="*/ 277475 h 1274125"/>
                <a:gd name="connsiteX9" fmla="*/ 184999 w 218602"/>
                <a:gd name="connsiteY9" fmla="*/ 291369 h 1274125"/>
                <a:gd name="connsiteX10" fmla="*/ 182864 w 218602"/>
                <a:gd name="connsiteY10" fmla="*/ 305941 h 1274125"/>
                <a:gd name="connsiteX11" fmla="*/ 182890 w 218602"/>
                <a:gd name="connsiteY11" fmla="*/ 320770 h 1274125"/>
                <a:gd name="connsiteX12" fmla="*/ 185109 w 218602"/>
                <a:gd name="connsiteY12" fmla="*/ 335438 h 1274125"/>
                <a:gd name="connsiteX13" fmla="*/ 190258 w 218602"/>
                <a:gd name="connsiteY13" fmla="*/ 362044 h 1274125"/>
                <a:gd name="connsiteX14" fmla="*/ 193832 w 218602"/>
                <a:gd name="connsiteY14" fmla="*/ 392031 h 1274125"/>
                <a:gd name="connsiteX15" fmla="*/ 195350 w 218602"/>
                <a:gd name="connsiteY15" fmla="*/ 425939 h 1274125"/>
                <a:gd name="connsiteX16" fmla="*/ 194329 w 218602"/>
                <a:gd name="connsiteY16" fmla="*/ 464308 h 1274125"/>
                <a:gd name="connsiteX17" fmla="*/ 190762 w 218602"/>
                <a:gd name="connsiteY17" fmla="*/ 502424 h 1274125"/>
                <a:gd name="connsiteX18" fmla="*/ 185217 w 218602"/>
                <a:gd name="connsiteY18" fmla="*/ 535609 h 1274125"/>
                <a:gd name="connsiteX19" fmla="*/ 178106 w 218602"/>
                <a:gd name="connsiteY19" fmla="*/ 564498 h 1274125"/>
                <a:gd name="connsiteX20" fmla="*/ 169845 w 218602"/>
                <a:gd name="connsiteY20" fmla="*/ 589731 h 1274125"/>
                <a:gd name="connsiteX21" fmla="*/ 165897 w 218602"/>
                <a:gd name="connsiteY21" fmla="*/ 603763 h 1274125"/>
                <a:gd name="connsiteX22" fmla="*/ 164104 w 218602"/>
                <a:gd name="connsiteY22" fmla="*/ 618388 h 1274125"/>
                <a:gd name="connsiteX23" fmla="*/ 164477 w 218602"/>
                <a:gd name="connsiteY23" fmla="*/ 633186 h 1274125"/>
                <a:gd name="connsiteX24" fmla="*/ 167031 w 218602"/>
                <a:gd name="connsiteY24" fmla="*/ 647744 h 1274125"/>
                <a:gd name="connsiteX25" fmla="*/ 172801 w 218602"/>
                <a:gd name="connsiteY25" fmla="*/ 674109 h 1274125"/>
                <a:gd name="connsiteX26" fmla="*/ 177077 w 218602"/>
                <a:gd name="connsiteY26" fmla="*/ 703906 h 1274125"/>
                <a:gd name="connsiteX27" fmla="*/ 179387 w 218602"/>
                <a:gd name="connsiteY27" fmla="*/ 737696 h 1274125"/>
                <a:gd name="connsiteX28" fmla="*/ 179255 w 218602"/>
                <a:gd name="connsiteY28" fmla="*/ 776046 h 1274125"/>
                <a:gd name="connsiteX29" fmla="*/ 176579 w 218602"/>
                <a:gd name="connsiteY29" fmla="*/ 814234 h 1274125"/>
                <a:gd name="connsiteX30" fmla="*/ 171806 w 218602"/>
                <a:gd name="connsiteY30" fmla="*/ 847579 h 1274125"/>
                <a:gd name="connsiteX31" fmla="*/ 165368 w 218602"/>
                <a:gd name="connsiteY31" fmla="*/ 876697 h 1274125"/>
                <a:gd name="connsiteX32" fmla="*/ 157698 w 218602"/>
                <a:gd name="connsiteY32" fmla="*/ 902208 h 1274125"/>
                <a:gd name="connsiteX33" fmla="*/ 154085 w 218602"/>
                <a:gd name="connsiteY33" fmla="*/ 916369 h 1274125"/>
                <a:gd name="connsiteX34" fmla="*/ 152632 w 218602"/>
                <a:gd name="connsiteY34" fmla="*/ 931041 h 1274125"/>
                <a:gd name="connsiteX35" fmla="*/ 153346 w 218602"/>
                <a:gd name="connsiteY35" fmla="*/ 945807 h 1274125"/>
                <a:gd name="connsiteX36" fmla="*/ 156234 w 218602"/>
                <a:gd name="connsiteY36" fmla="*/ 960245 h 1274125"/>
                <a:gd name="connsiteX37" fmla="*/ 162612 w 218602"/>
                <a:gd name="connsiteY37" fmla="*/ 986341 h 1274125"/>
                <a:gd name="connsiteX38" fmla="*/ 167580 w 218602"/>
                <a:gd name="connsiteY38" fmla="*/ 1015928 h 1274125"/>
                <a:gd name="connsiteX39" fmla="*/ 170677 w 218602"/>
                <a:gd name="connsiteY39" fmla="*/ 1049584 h 1274125"/>
                <a:gd name="connsiteX40" fmla="*/ 171442 w 218602"/>
                <a:gd name="connsiteY40" fmla="*/ 1087884 h 1274125"/>
                <a:gd name="connsiteX41" fmla="*/ 169639 w 218602"/>
                <a:gd name="connsiteY41" fmla="*/ 1126120 h 1274125"/>
                <a:gd name="connsiteX42" fmla="*/ 165642 w 218602"/>
                <a:gd name="connsiteY42" fmla="*/ 1159600 h 1274125"/>
                <a:gd name="connsiteX43" fmla="*/ 159885 w 218602"/>
                <a:gd name="connsiteY43" fmla="*/ 1188929 h 1274125"/>
                <a:gd name="connsiteX44" fmla="*/ 152813 w 218602"/>
                <a:gd name="connsiteY44" fmla="*/ 1214709 h 1274125"/>
                <a:gd name="connsiteX45" fmla="*/ 149523 w 218602"/>
                <a:gd name="connsiteY45" fmla="*/ 1228992 h 1274125"/>
                <a:gd name="connsiteX46" fmla="*/ 148408 w 218602"/>
                <a:gd name="connsiteY46" fmla="*/ 1243697 h 1274125"/>
                <a:gd name="connsiteX47" fmla="*/ 149467 w 218602"/>
                <a:gd name="connsiteY47" fmla="*/ 1258412 h 1274125"/>
                <a:gd name="connsiteX48" fmla="*/ 153117 w 218602"/>
                <a:gd name="connsiteY48" fmla="*/ 1274125 h 1274125"/>
                <a:gd name="connsiteX49" fmla="*/ 19711 w 218602"/>
                <a:gd name="connsiteY49" fmla="*/ 1274125 h 1274125"/>
                <a:gd name="connsiteX50" fmla="*/ 21859 w 218602"/>
                <a:gd name="connsiteY50" fmla="*/ 1259315 h 1274125"/>
                <a:gd name="connsiteX51" fmla="*/ 20795 w 218602"/>
                <a:gd name="connsiteY51" fmla="*/ 1243912 h 1274125"/>
                <a:gd name="connsiteX52" fmla="*/ 16537 w 218602"/>
                <a:gd name="connsiteY52" fmla="*/ 1229694 h 1274125"/>
                <a:gd name="connsiteX53" fmla="*/ 9687 w 218602"/>
                <a:gd name="connsiteY53" fmla="*/ 1203366 h 1274125"/>
                <a:gd name="connsiteX54" fmla="*/ 4305 w 218602"/>
                <a:gd name="connsiteY54" fmla="*/ 1173343 h 1274125"/>
                <a:gd name="connsiteX55" fmla="*/ 904 w 218602"/>
                <a:gd name="connsiteY55" fmla="*/ 1139065 h 1274125"/>
                <a:gd name="connsiteX56" fmla="*/ 0 w 218602"/>
                <a:gd name="connsiteY56" fmla="*/ 1099964 h 1274125"/>
                <a:gd name="connsiteX57" fmla="*/ 1867 w 218602"/>
                <a:gd name="connsiteY57" fmla="*/ 1060918 h 1274125"/>
                <a:gd name="connsiteX58" fmla="*/ 6108 w 218602"/>
                <a:gd name="connsiteY58" fmla="*/ 1026790 h 1274125"/>
                <a:gd name="connsiteX59" fmla="*/ 12229 w 218602"/>
                <a:gd name="connsiteY59" fmla="*/ 996988 h 1274125"/>
                <a:gd name="connsiteX60" fmla="*/ 19731 w 218602"/>
                <a:gd name="connsiteY60" fmla="*/ 970923 h 1274125"/>
                <a:gd name="connsiteX61" fmla="*/ 23287 w 218602"/>
                <a:gd name="connsiteY61" fmla="*/ 956504 h 1274125"/>
                <a:gd name="connsiteX62" fmla="*/ 24711 w 218602"/>
                <a:gd name="connsiteY62" fmla="*/ 941598 h 1274125"/>
                <a:gd name="connsiteX63" fmla="*/ 23996 w 218602"/>
                <a:gd name="connsiteY63" fmla="*/ 926597 h 1274125"/>
                <a:gd name="connsiteX64" fmla="*/ 21138 w 218602"/>
                <a:gd name="connsiteY64" fmla="*/ 911902 h 1274125"/>
                <a:gd name="connsiteX65" fmla="*/ 14899 w 218602"/>
                <a:gd name="connsiteY65" fmla="*/ 885289 h 1274125"/>
                <a:gd name="connsiteX66" fmla="*/ 10217 w 218602"/>
                <a:gd name="connsiteY66" fmla="*/ 855051 h 1274125"/>
                <a:gd name="connsiteX67" fmla="*/ 7617 w 218602"/>
                <a:gd name="connsiteY67" fmla="*/ 820634 h 1274125"/>
                <a:gd name="connsiteX68" fmla="*/ 7622 w 218602"/>
                <a:gd name="connsiteY68" fmla="*/ 781483 h 1274125"/>
                <a:gd name="connsiteX69" fmla="*/ 10397 w 218602"/>
                <a:gd name="connsiteY69" fmla="*/ 742488 h 1274125"/>
                <a:gd name="connsiteX70" fmla="*/ 15430 w 218602"/>
                <a:gd name="connsiteY70" fmla="*/ 708507 h 1274125"/>
                <a:gd name="connsiteX71" fmla="*/ 22239 w 218602"/>
                <a:gd name="connsiteY71" fmla="*/ 678923 h 1274125"/>
                <a:gd name="connsiteX72" fmla="*/ 30338 w 218602"/>
                <a:gd name="connsiteY72" fmla="*/ 653131 h 1274125"/>
                <a:gd name="connsiteX73" fmla="*/ 34223 w 218602"/>
                <a:gd name="connsiteY73" fmla="*/ 638838 h 1274125"/>
                <a:gd name="connsiteX74" fmla="*/ 35996 w 218602"/>
                <a:gd name="connsiteY74" fmla="*/ 623975 h 1274125"/>
                <a:gd name="connsiteX75" fmla="*/ 35634 w 218602"/>
                <a:gd name="connsiteY75" fmla="*/ 608940 h 1274125"/>
                <a:gd name="connsiteX76" fmla="*/ 33113 w 218602"/>
                <a:gd name="connsiteY76" fmla="*/ 594135 h 1274125"/>
                <a:gd name="connsiteX77" fmla="*/ 27506 w 218602"/>
                <a:gd name="connsiteY77" fmla="*/ 567263 h 1274125"/>
                <a:gd name="connsiteX78" fmla="*/ 23536 w 218602"/>
                <a:gd name="connsiteY78" fmla="*/ 536817 h 1274125"/>
                <a:gd name="connsiteX79" fmla="*/ 21733 w 218602"/>
                <a:gd name="connsiteY79" fmla="*/ 502266 h 1274125"/>
                <a:gd name="connsiteX80" fmla="*/ 22639 w 218602"/>
                <a:gd name="connsiteY80" fmla="*/ 463077 h 1274125"/>
                <a:gd name="connsiteX81" fmla="*/ 26328 w 218602"/>
                <a:gd name="connsiteY81" fmla="*/ 424169 h 1274125"/>
                <a:gd name="connsiteX82" fmla="*/ 32154 w 218602"/>
                <a:gd name="connsiteY82" fmla="*/ 390359 h 1274125"/>
                <a:gd name="connsiteX83" fmla="*/ 39645 w 218602"/>
                <a:gd name="connsiteY83" fmla="*/ 361021 h 1274125"/>
                <a:gd name="connsiteX84" fmla="*/ 48339 w 218602"/>
                <a:gd name="connsiteY84" fmla="*/ 335537 h 1274125"/>
                <a:gd name="connsiteX85" fmla="*/ 52558 w 218602"/>
                <a:gd name="connsiteY85" fmla="*/ 321382 h 1274125"/>
                <a:gd name="connsiteX86" fmla="*/ 54676 w 218602"/>
                <a:gd name="connsiteY86" fmla="*/ 306570 h 1274125"/>
                <a:gd name="connsiteX87" fmla="*/ 54666 w 218602"/>
                <a:gd name="connsiteY87" fmla="*/ 291504 h 1274125"/>
                <a:gd name="connsiteX88" fmla="*/ 52502 w 218602"/>
                <a:gd name="connsiteY88" fmla="*/ 276590 h 1274125"/>
                <a:gd name="connsiteX89" fmla="*/ 47518 w 218602"/>
                <a:gd name="connsiteY89" fmla="*/ 249467 h 1274125"/>
                <a:gd name="connsiteX90" fmla="*/ 44255 w 218602"/>
                <a:gd name="connsiteY90" fmla="*/ 218837 h 1274125"/>
                <a:gd name="connsiteX91" fmla="*/ 43261 w 218602"/>
                <a:gd name="connsiteY91" fmla="*/ 184191 h 1274125"/>
                <a:gd name="connsiteX92" fmla="*/ 45089 w 218602"/>
                <a:gd name="connsiteY92" fmla="*/ 145015 h 1274125"/>
                <a:gd name="connsiteX93" fmla="*/ 49686 w 218602"/>
                <a:gd name="connsiteY93" fmla="*/ 106199 h 1274125"/>
                <a:gd name="connsiteX94" fmla="*/ 56300 w 218602"/>
                <a:gd name="connsiteY94" fmla="*/ 72579 h 1274125"/>
                <a:gd name="connsiteX95" fmla="*/ 64475 w 218602"/>
                <a:gd name="connsiteY95" fmla="*/ 43507 h 1274125"/>
                <a:gd name="connsiteX96" fmla="*/ 73755 w 218602"/>
                <a:gd name="connsiteY96" fmla="*/ 18337 h 1274125"/>
                <a:gd name="connsiteX97" fmla="*/ 78302 w 218602"/>
                <a:gd name="connsiteY97" fmla="*/ 4329 h 127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8602" h="1274125">
                  <a:moveTo>
                    <a:pt x="79026" y="0"/>
                  </a:moveTo>
                  <a:lnTo>
                    <a:pt x="216280" y="63832"/>
                  </a:lnTo>
                  <a:lnTo>
                    <a:pt x="217873" y="80524"/>
                  </a:lnTo>
                  <a:lnTo>
                    <a:pt x="218602" y="114523"/>
                  </a:lnTo>
                  <a:lnTo>
                    <a:pt x="216683" y="152888"/>
                  </a:lnTo>
                  <a:lnTo>
                    <a:pt x="212216" y="190901"/>
                  </a:lnTo>
                  <a:lnTo>
                    <a:pt x="205893" y="223900"/>
                  </a:lnTo>
                  <a:lnTo>
                    <a:pt x="198113" y="252538"/>
                  </a:lnTo>
                  <a:lnTo>
                    <a:pt x="189272" y="277475"/>
                  </a:lnTo>
                  <a:lnTo>
                    <a:pt x="184999" y="291369"/>
                  </a:lnTo>
                  <a:lnTo>
                    <a:pt x="182864" y="305941"/>
                  </a:lnTo>
                  <a:lnTo>
                    <a:pt x="182890" y="320770"/>
                  </a:lnTo>
                  <a:lnTo>
                    <a:pt x="185109" y="335438"/>
                  </a:lnTo>
                  <a:lnTo>
                    <a:pt x="190258" y="362044"/>
                  </a:lnTo>
                  <a:lnTo>
                    <a:pt x="193832" y="392031"/>
                  </a:lnTo>
                  <a:lnTo>
                    <a:pt x="195350" y="425939"/>
                  </a:lnTo>
                  <a:lnTo>
                    <a:pt x="194329" y="464308"/>
                  </a:lnTo>
                  <a:lnTo>
                    <a:pt x="190762" y="502424"/>
                  </a:lnTo>
                  <a:lnTo>
                    <a:pt x="185217" y="535609"/>
                  </a:lnTo>
                  <a:lnTo>
                    <a:pt x="178106" y="564498"/>
                  </a:lnTo>
                  <a:lnTo>
                    <a:pt x="169845" y="589731"/>
                  </a:lnTo>
                  <a:lnTo>
                    <a:pt x="165897" y="603763"/>
                  </a:lnTo>
                  <a:lnTo>
                    <a:pt x="164104" y="618388"/>
                  </a:lnTo>
                  <a:lnTo>
                    <a:pt x="164477" y="633186"/>
                  </a:lnTo>
                  <a:lnTo>
                    <a:pt x="167031" y="647744"/>
                  </a:lnTo>
                  <a:lnTo>
                    <a:pt x="172801" y="674109"/>
                  </a:lnTo>
                  <a:lnTo>
                    <a:pt x="177077" y="703906"/>
                  </a:lnTo>
                  <a:lnTo>
                    <a:pt x="179387" y="737696"/>
                  </a:lnTo>
                  <a:lnTo>
                    <a:pt x="179255" y="776046"/>
                  </a:lnTo>
                  <a:lnTo>
                    <a:pt x="176579" y="814234"/>
                  </a:lnTo>
                  <a:lnTo>
                    <a:pt x="171806" y="847579"/>
                  </a:lnTo>
                  <a:lnTo>
                    <a:pt x="165368" y="876697"/>
                  </a:lnTo>
                  <a:lnTo>
                    <a:pt x="157698" y="902208"/>
                  </a:lnTo>
                  <a:lnTo>
                    <a:pt x="154085" y="916369"/>
                  </a:lnTo>
                  <a:lnTo>
                    <a:pt x="152632" y="931041"/>
                  </a:lnTo>
                  <a:lnTo>
                    <a:pt x="153346" y="945807"/>
                  </a:lnTo>
                  <a:lnTo>
                    <a:pt x="156234" y="960245"/>
                  </a:lnTo>
                  <a:lnTo>
                    <a:pt x="162612" y="986341"/>
                  </a:lnTo>
                  <a:lnTo>
                    <a:pt x="167580" y="1015928"/>
                  </a:lnTo>
                  <a:lnTo>
                    <a:pt x="170677" y="1049584"/>
                  </a:lnTo>
                  <a:lnTo>
                    <a:pt x="171442" y="1087884"/>
                  </a:lnTo>
                  <a:lnTo>
                    <a:pt x="169639" y="1126120"/>
                  </a:lnTo>
                  <a:lnTo>
                    <a:pt x="165642" y="1159600"/>
                  </a:lnTo>
                  <a:lnTo>
                    <a:pt x="159885" y="1188929"/>
                  </a:lnTo>
                  <a:lnTo>
                    <a:pt x="152813" y="1214709"/>
                  </a:lnTo>
                  <a:lnTo>
                    <a:pt x="149523" y="1228992"/>
                  </a:lnTo>
                  <a:lnTo>
                    <a:pt x="148408" y="1243697"/>
                  </a:lnTo>
                  <a:lnTo>
                    <a:pt x="149467" y="1258412"/>
                  </a:lnTo>
                  <a:lnTo>
                    <a:pt x="153117" y="1274125"/>
                  </a:lnTo>
                  <a:lnTo>
                    <a:pt x="19711" y="1274125"/>
                  </a:lnTo>
                  <a:lnTo>
                    <a:pt x="21859" y="1259315"/>
                  </a:lnTo>
                  <a:lnTo>
                    <a:pt x="20795" y="1243912"/>
                  </a:lnTo>
                  <a:lnTo>
                    <a:pt x="16537" y="1229694"/>
                  </a:lnTo>
                  <a:lnTo>
                    <a:pt x="9687" y="1203366"/>
                  </a:lnTo>
                  <a:lnTo>
                    <a:pt x="4305" y="1173343"/>
                  </a:lnTo>
                  <a:lnTo>
                    <a:pt x="904" y="1139065"/>
                  </a:lnTo>
                  <a:lnTo>
                    <a:pt x="0" y="1099964"/>
                  </a:lnTo>
                  <a:lnTo>
                    <a:pt x="1867" y="1060918"/>
                  </a:lnTo>
                  <a:lnTo>
                    <a:pt x="6108" y="1026790"/>
                  </a:lnTo>
                  <a:lnTo>
                    <a:pt x="12229" y="996988"/>
                  </a:lnTo>
                  <a:lnTo>
                    <a:pt x="19731" y="970923"/>
                  </a:lnTo>
                  <a:lnTo>
                    <a:pt x="23287" y="956504"/>
                  </a:lnTo>
                  <a:lnTo>
                    <a:pt x="24711" y="941598"/>
                  </a:lnTo>
                  <a:lnTo>
                    <a:pt x="23996" y="926597"/>
                  </a:lnTo>
                  <a:lnTo>
                    <a:pt x="21138" y="911902"/>
                  </a:lnTo>
                  <a:lnTo>
                    <a:pt x="14899" y="885289"/>
                  </a:lnTo>
                  <a:lnTo>
                    <a:pt x="10217" y="855051"/>
                  </a:lnTo>
                  <a:lnTo>
                    <a:pt x="7617" y="820634"/>
                  </a:lnTo>
                  <a:lnTo>
                    <a:pt x="7622" y="781483"/>
                  </a:lnTo>
                  <a:lnTo>
                    <a:pt x="10397" y="742488"/>
                  </a:lnTo>
                  <a:lnTo>
                    <a:pt x="15430" y="708507"/>
                  </a:lnTo>
                  <a:lnTo>
                    <a:pt x="22239" y="678923"/>
                  </a:lnTo>
                  <a:lnTo>
                    <a:pt x="30338" y="653131"/>
                  </a:lnTo>
                  <a:lnTo>
                    <a:pt x="34223" y="638838"/>
                  </a:lnTo>
                  <a:lnTo>
                    <a:pt x="35996" y="623975"/>
                  </a:lnTo>
                  <a:lnTo>
                    <a:pt x="35634" y="608940"/>
                  </a:lnTo>
                  <a:lnTo>
                    <a:pt x="33113" y="594135"/>
                  </a:lnTo>
                  <a:lnTo>
                    <a:pt x="27506" y="567263"/>
                  </a:lnTo>
                  <a:lnTo>
                    <a:pt x="23536" y="536817"/>
                  </a:lnTo>
                  <a:lnTo>
                    <a:pt x="21733" y="502266"/>
                  </a:lnTo>
                  <a:lnTo>
                    <a:pt x="22639" y="463077"/>
                  </a:lnTo>
                  <a:lnTo>
                    <a:pt x="26328" y="424169"/>
                  </a:lnTo>
                  <a:lnTo>
                    <a:pt x="32154" y="390359"/>
                  </a:lnTo>
                  <a:lnTo>
                    <a:pt x="39645" y="361021"/>
                  </a:lnTo>
                  <a:lnTo>
                    <a:pt x="48339" y="335537"/>
                  </a:lnTo>
                  <a:lnTo>
                    <a:pt x="52558" y="321382"/>
                  </a:lnTo>
                  <a:lnTo>
                    <a:pt x="54676" y="306570"/>
                  </a:lnTo>
                  <a:lnTo>
                    <a:pt x="54666" y="291504"/>
                  </a:lnTo>
                  <a:lnTo>
                    <a:pt x="52502" y="276590"/>
                  </a:lnTo>
                  <a:lnTo>
                    <a:pt x="47518" y="249467"/>
                  </a:lnTo>
                  <a:lnTo>
                    <a:pt x="44255" y="218837"/>
                  </a:lnTo>
                  <a:lnTo>
                    <a:pt x="43261" y="184191"/>
                  </a:lnTo>
                  <a:lnTo>
                    <a:pt x="45089" y="145015"/>
                  </a:lnTo>
                  <a:lnTo>
                    <a:pt x="49686" y="106199"/>
                  </a:lnTo>
                  <a:lnTo>
                    <a:pt x="56300" y="72579"/>
                  </a:lnTo>
                  <a:lnTo>
                    <a:pt x="64475" y="43507"/>
                  </a:lnTo>
                  <a:lnTo>
                    <a:pt x="73755" y="18337"/>
                  </a:lnTo>
                  <a:lnTo>
                    <a:pt x="78302" y="4329"/>
                  </a:lnTo>
                  <a:close/>
                </a:path>
              </a:pathLst>
            </a:custGeom>
            <a:solidFill>
              <a:schemeClr val="accent5">
                <a:alpha val="20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7" name="Freeform: Shape 6">
              <a:extLst>
                <a:ext uri="{FF2B5EF4-FFF2-40B4-BE49-F238E27FC236}">
                  <a16:creationId xmlns:a16="http://schemas.microsoft.com/office/drawing/2014/main" id="{32F1B618-D79F-A1F8-8D6B-E535DD323F58}"/>
                </a:ext>
              </a:extLst>
            </p:cNvPr>
            <p:cNvSpPr/>
            <p:nvPr userDrawn="1"/>
          </p:nvSpPr>
          <p:spPr>
            <a:xfrm rot="13654353">
              <a:off x="11464201" y="736041"/>
              <a:ext cx="387391" cy="1362193"/>
            </a:xfrm>
            <a:custGeom>
              <a:avLst/>
              <a:gdLst>
                <a:gd name="connsiteX0" fmla="*/ 147207 w 387391"/>
                <a:gd name="connsiteY0" fmla="*/ 1362193 h 1362193"/>
                <a:gd name="connsiteX1" fmla="*/ 0 w 387391"/>
                <a:gd name="connsiteY1" fmla="*/ 1227645 h 1362193"/>
                <a:gd name="connsiteX2" fmla="*/ 1801 w 387391"/>
                <a:gd name="connsiteY2" fmla="*/ 1216824 h 1362193"/>
                <a:gd name="connsiteX3" fmla="*/ 9982 w 387391"/>
                <a:gd name="connsiteY3" fmla="*/ 1183657 h 1362193"/>
                <a:gd name="connsiteX4" fmla="*/ 19511 w 387391"/>
                <a:gd name="connsiteY4" fmla="*/ 1155162 h 1362193"/>
                <a:gd name="connsiteX5" fmla="*/ 29965 w 387391"/>
                <a:gd name="connsiteY5" fmla="*/ 1130658 h 1362193"/>
                <a:gd name="connsiteX6" fmla="*/ 35174 w 387391"/>
                <a:gd name="connsiteY6" fmla="*/ 1116977 h 1362193"/>
                <a:gd name="connsiteX7" fmla="*/ 38332 w 387391"/>
                <a:gd name="connsiteY7" fmla="*/ 1102401 h 1362193"/>
                <a:gd name="connsiteX8" fmla="*/ 39384 w 387391"/>
                <a:gd name="connsiteY8" fmla="*/ 1087320 h 1362193"/>
                <a:gd name="connsiteX9" fmla="*/ 38273 w 387391"/>
                <a:gd name="connsiteY9" fmla="*/ 1072129 h 1362193"/>
                <a:gd name="connsiteX10" fmla="*/ 35227 w 387391"/>
                <a:gd name="connsiteY10" fmla="*/ 1044400 h 1362193"/>
                <a:gd name="connsiteX11" fmla="*/ 34146 w 387391"/>
                <a:gd name="connsiteY11" fmla="*/ 1013355 h 1362193"/>
                <a:gd name="connsiteX12" fmla="*/ 35613 w 387391"/>
                <a:gd name="connsiteY12" fmla="*/ 978542 h 1362193"/>
                <a:gd name="connsiteX13" fmla="*/ 40211 w 387391"/>
                <a:gd name="connsiteY13" fmla="*/ 939522 h 1362193"/>
                <a:gd name="connsiteX14" fmla="*/ 47532 w 387391"/>
                <a:gd name="connsiteY14" fmla="*/ 901192 h 1362193"/>
                <a:gd name="connsiteX15" fmla="*/ 56501 w 387391"/>
                <a:gd name="connsiteY15" fmla="*/ 868288 h 1362193"/>
                <a:gd name="connsiteX16" fmla="*/ 66705 w 387391"/>
                <a:gd name="connsiteY16" fmla="*/ 840114 h 1362193"/>
                <a:gd name="connsiteX17" fmla="*/ 77736 w 387391"/>
                <a:gd name="connsiteY17" fmla="*/ 815968 h 1362193"/>
                <a:gd name="connsiteX18" fmla="*/ 83263 w 387391"/>
                <a:gd name="connsiteY18" fmla="*/ 802466 h 1362193"/>
                <a:gd name="connsiteX19" fmla="*/ 86767 w 387391"/>
                <a:gd name="connsiteY19" fmla="*/ 787986 h 1362193"/>
                <a:gd name="connsiteX20" fmla="*/ 88180 w 387391"/>
                <a:gd name="connsiteY20" fmla="*/ 772917 h 1362193"/>
                <a:gd name="connsiteX21" fmla="*/ 87430 w 387391"/>
                <a:gd name="connsiteY21" fmla="*/ 757660 h 1362193"/>
                <a:gd name="connsiteX22" fmla="*/ 85045 w 387391"/>
                <a:gd name="connsiteY22" fmla="*/ 729759 h 1362193"/>
                <a:gd name="connsiteX23" fmla="*/ 84702 w 387391"/>
                <a:gd name="connsiteY23" fmla="*/ 698614 h 1362193"/>
                <a:gd name="connsiteX24" fmla="*/ 86996 w 387391"/>
                <a:gd name="connsiteY24" fmla="*/ 663797 h 1362193"/>
                <a:gd name="connsiteX25" fmla="*/ 92525 w 387391"/>
                <a:gd name="connsiteY25" fmla="*/ 624880 h 1362193"/>
                <a:gd name="connsiteX26" fmla="*/ 100755 w 387391"/>
                <a:gd name="connsiteY26" fmla="*/ 586757 h 1362193"/>
                <a:gd name="connsiteX27" fmla="*/ 110503 w 387391"/>
                <a:gd name="connsiteY27" fmla="*/ 554139 h 1362193"/>
                <a:gd name="connsiteX28" fmla="*/ 121375 w 387391"/>
                <a:gd name="connsiteY28" fmla="*/ 526301 h 1362193"/>
                <a:gd name="connsiteX29" fmla="*/ 132975 w 387391"/>
                <a:gd name="connsiteY29" fmla="*/ 502531 h 1362193"/>
                <a:gd name="connsiteX30" fmla="*/ 138829 w 387391"/>
                <a:gd name="connsiteY30" fmla="*/ 489213 h 1362193"/>
                <a:gd name="connsiteX31" fmla="*/ 142681 w 387391"/>
                <a:gd name="connsiteY31" fmla="*/ 474842 h 1362193"/>
                <a:gd name="connsiteX32" fmla="*/ 144456 w 387391"/>
                <a:gd name="connsiteY32" fmla="*/ 459803 h 1362193"/>
                <a:gd name="connsiteX33" fmla="*/ 144076 w 387391"/>
                <a:gd name="connsiteY33" fmla="*/ 444493 h 1362193"/>
                <a:gd name="connsiteX34" fmla="*/ 142357 w 387391"/>
                <a:gd name="connsiteY34" fmla="*/ 416450 h 1362193"/>
                <a:gd name="connsiteX35" fmla="*/ 142758 w 387391"/>
                <a:gd name="connsiteY35" fmla="*/ 385226 h 1362193"/>
                <a:gd name="connsiteX36" fmla="*/ 152346 w 387391"/>
                <a:gd name="connsiteY36" fmla="*/ 311639 h 1362193"/>
                <a:gd name="connsiteX37" fmla="*/ 172019 w 387391"/>
                <a:gd name="connsiteY37" fmla="*/ 241430 h 1362193"/>
                <a:gd name="connsiteX38" fmla="*/ 183555 w 387391"/>
                <a:gd name="connsiteY38" fmla="*/ 213957 h 1362193"/>
                <a:gd name="connsiteX39" fmla="*/ 195724 w 387391"/>
                <a:gd name="connsiteY39" fmla="*/ 190594 h 1362193"/>
                <a:gd name="connsiteX40" fmla="*/ 201893 w 387391"/>
                <a:gd name="connsiteY40" fmla="*/ 177476 h 1362193"/>
                <a:gd name="connsiteX41" fmla="*/ 206090 w 387391"/>
                <a:gd name="connsiteY41" fmla="*/ 163216 h 1362193"/>
                <a:gd name="connsiteX42" fmla="*/ 208224 w 387391"/>
                <a:gd name="connsiteY42" fmla="*/ 148202 h 1362193"/>
                <a:gd name="connsiteX43" fmla="*/ 208213 w 387391"/>
                <a:gd name="connsiteY43" fmla="*/ 132829 h 1362193"/>
                <a:gd name="connsiteX44" fmla="*/ 207176 w 387391"/>
                <a:gd name="connsiteY44" fmla="*/ 104665 h 1362193"/>
                <a:gd name="connsiteX45" fmla="*/ 208326 w 387391"/>
                <a:gd name="connsiteY45" fmla="*/ 73397 h 1362193"/>
                <a:gd name="connsiteX46" fmla="*/ 212288 w 387391"/>
                <a:gd name="connsiteY46" fmla="*/ 38637 h 1362193"/>
                <a:gd name="connsiteX47" fmla="*/ 219676 w 387391"/>
                <a:gd name="connsiteY47" fmla="*/ 0 h 1362193"/>
                <a:gd name="connsiteX48" fmla="*/ 287633 w 387391"/>
                <a:gd name="connsiteY48" fmla="*/ 26053 h 1362193"/>
                <a:gd name="connsiteX49" fmla="*/ 319472 w 387391"/>
                <a:gd name="connsiteY49" fmla="*/ 21526 h 1362193"/>
                <a:gd name="connsiteX50" fmla="*/ 387391 w 387391"/>
                <a:gd name="connsiteY50" fmla="*/ 47704 h 1362193"/>
                <a:gd name="connsiteX51" fmla="*/ 377580 w 387391"/>
                <a:gd name="connsiteY51" fmla="*/ 84557 h 1362193"/>
                <a:gd name="connsiteX52" fmla="*/ 366651 w 387391"/>
                <a:gd name="connsiteY52" fmla="*/ 115974 h 1362193"/>
                <a:gd name="connsiteX53" fmla="*/ 354905 w 387391"/>
                <a:gd name="connsiteY53" fmla="*/ 142708 h 1362193"/>
                <a:gd name="connsiteX54" fmla="*/ 342644 w 387391"/>
                <a:gd name="connsiteY54" fmla="*/ 165500 h 1362193"/>
                <a:gd name="connsiteX55" fmla="*/ 336471 w 387391"/>
                <a:gd name="connsiteY55" fmla="*/ 178343 h 1362193"/>
                <a:gd name="connsiteX56" fmla="*/ 332298 w 387391"/>
                <a:gd name="connsiteY56" fmla="*/ 192357 h 1362193"/>
                <a:gd name="connsiteX57" fmla="*/ 330215 w 387391"/>
                <a:gd name="connsiteY57" fmla="*/ 207132 h 1362193"/>
                <a:gd name="connsiteX58" fmla="*/ 330307 w 387391"/>
                <a:gd name="connsiteY58" fmla="*/ 222258 h 1362193"/>
                <a:gd name="connsiteX59" fmla="*/ 331589 w 387391"/>
                <a:gd name="connsiteY59" fmla="*/ 249962 h 1362193"/>
                <a:gd name="connsiteX60" fmla="*/ 327519 w 387391"/>
                <a:gd name="connsiteY60" fmla="*/ 314780 h 1362193"/>
                <a:gd name="connsiteX61" fmla="*/ 302000 w 387391"/>
                <a:gd name="connsiteY61" fmla="*/ 421596 h 1362193"/>
                <a:gd name="connsiteX62" fmla="*/ 290914 w 387391"/>
                <a:gd name="connsiteY62" fmla="*/ 448689 h 1362193"/>
                <a:gd name="connsiteX63" fmla="*/ 279212 w 387391"/>
                <a:gd name="connsiteY63" fmla="*/ 471876 h 1362193"/>
                <a:gd name="connsiteX64" fmla="*/ 273344 w 387391"/>
                <a:gd name="connsiteY64" fmla="*/ 484919 h 1362193"/>
                <a:gd name="connsiteX65" fmla="*/ 269507 w 387391"/>
                <a:gd name="connsiteY65" fmla="*/ 499050 h 1362193"/>
                <a:gd name="connsiteX66" fmla="*/ 267781 w 387391"/>
                <a:gd name="connsiteY66" fmla="*/ 513865 h 1362193"/>
                <a:gd name="connsiteX67" fmla="*/ 268244 w 387391"/>
                <a:gd name="connsiteY67" fmla="*/ 528953 h 1362193"/>
                <a:gd name="connsiteX68" fmla="*/ 270189 w 387391"/>
                <a:gd name="connsiteY68" fmla="*/ 556508 h 1362193"/>
                <a:gd name="connsiteX69" fmla="*/ 267683 w 387391"/>
                <a:gd name="connsiteY69" fmla="*/ 621274 h 1362193"/>
                <a:gd name="connsiteX70" fmla="*/ 244719 w 387391"/>
                <a:gd name="connsiteY70" fmla="*/ 728742 h 1362193"/>
                <a:gd name="connsiteX71" fmla="*/ 234282 w 387391"/>
                <a:gd name="connsiteY71" fmla="*/ 756186 h 1362193"/>
                <a:gd name="connsiteX72" fmla="*/ 223136 w 387391"/>
                <a:gd name="connsiteY72" fmla="*/ 779752 h 1362193"/>
                <a:gd name="connsiteX73" fmla="*/ 217590 w 387391"/>
                <a:gd name="connsiteY73" fmla="*/ 792993 h 1362193"/>
                <a:gd name="connsiteX74" fmla="*/ 214094 w 387391"/>
                <a:gd name="connsiteY74" fmla="*/ 807234 h 1362193"/>
                <a:gd name="connsiteX75" fmla="*/ 212719 w 387391"/>
                <a:gd name="connsiteY75" fmla="*/ 822065 h 1362193"/>
                <a:gd name="connsiteX76" fmla="*/ 213536 w 387391"/>
                <a:gd name="connsiteY76" fmla="*/ 837076 h 1362193"/>
                <a:gd name="connsiteX77" fmla="*/ 216138 w 387391"/>
                <a:gd name="connsiteY77" fmla="*/ 864486 h 1362193"/>
                <a:gd name="connsiteX78" fmla="*/ 216861 w 387391"/>
                <a:gd name="connsiteY78" fmla="*/ 895028 h 1362193"/>
                <a:gd name="connsiteX79" fmla="*/ 215178 w 387391"/>
                <a:gd name="connsiteY79" fmla="*/ 929167 h 1362193"/>
                <a:gd name="connsiteX80" fmla="*/ 210551 w 387391"/>
                <a:gd name="connsiteY80" fmla="*/ 967371 h 1362193"/>
                <a:gd name="connsiteX81" fmla="*/ 203422 w 387391"/>
                <a:gd name="connsiteY81" fmla="*/ 1004914 h 1362193"/>
                <a:gd name="connsiteX82" fmla="*/ 194788 w 387391"/>
                <a:gd name="connsiteY82" fmla="*/ 1037221 h 1362193"/>
                <a:gd name="connsiteX83" fmla="*/ 185007 w 387391"/>
                <a:gd name="connsiteY83" fmla="*/ 1064994 h 1362193"/>
                <a:gd name="connsiteX84" fmla="*/ 174434 w 387391"/>
                <a:gd name="connsiteY84" fmla="*/ 1088933 h 1362193"/>
                <a:gd name="connsiteX85" fmla="*/ 169197 w 387391"/>
                <a:gd name="connsiteY85" fmla="*/ 1102354 h 1362193"/>
                <a:gd name="connsiteX86" fmla="*/ 166041 w 387391"/>
                <a:gd name="connsiteY86" fmla="*/ 1116692 h 1362193"/>
                <a:gd name="connsiteX87" fmla="*/ 165025 w 387391"/>
                <a:gd name="connsiteY87" fmla="*/ 1131536 h 1362193"/>
                <a:gd name="connsiteX88" fmla="*/ 166203 w 387391"/>
                <a:gd name="connsiteY88" fmla="*/ 1146478 h 1362193"/>
                <a:gd name="connsiteX89" fmla="*/ 169452 w 387391"/>
                <a:gd name="connsiteY89" fmla="*/ 1173714 h 1362193"/>
                <a:gd name="connsiteX90" fmla="*/ 170899 w 387391"/>
                <a:gd name="connsiteY90" fmla="*/ 1204152 h 1362193"/>
                <a:gd name="connsiteX91" fmla="*/ 170020 w 387391"/>
                <a:gd name="connsiteY91" fmla="*/ 1238273 h 1362193"/>
                <a:gd name="connsiteX92" fmla="*/ 166299 w 387391"/>
                <a:gd name="connsiteY92" fmla="*/ 1276551 h 1362193"/>
                <a:gd name="connsiteX93" fmla="*/ 160059 w 387391"/>
                <a:gd name="connsiteY93" fmla="*/ 1314281 h 1362193"/>
                <a:gd name="connsiteX94" fmla="*/ 152194 w 387391"/>
                <a:gd name="connsiteY94" fmla="*/ 1346841 h 136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7391" h="1362193">
                  <a:moveTo>
                    <a:pt x="147207" y="1362193"/>
                  </a:moveTo>
                  <a:lnTo>
                    <a:pt x="0" y="1227645"/>
                  </a:lnTo>
                  <a:lnTo>
                    <a:pt x="1801" y="1216824"/>
                  </a:lnTo>
                  <a:lnTo>
                    <a:pt x="9982" y="1183657"/>
                  </a:lnTo>
                  <a:lnTo>
                    <a:pt x="19511" y="1155162"/>
                  </a:lnTo>
                  <a:lnTo>
                    <a:pt x="29965" y="1130658"/>
                  </a:lnTo>
                  <a:lnTo>
                    <a:pt x="35174" y="1116977"/>
                  </a:lnTo>
                  <a:lnTo>
                    <a:pt x="38332" y="1102401"/>
                  </a:lnTo>
                  <a:lnTo>
                    <a:pt x="39384" y="1087320"/>
                  </a:lnTo>
                  <a:lnTo>
                    <a:pt x="38273" y="1072129"/>
                  </a:lnTo>
                  <a:lnTo>
                    <a:pt x="35227" y="1044400"/>
                  </a:lnTo>
                  <a:lnTo>
                    <a:pt x="34146" y="1013355"/>
                  </a:lnTo>
                  <a:lnTo>
                    <a:pt x="35613" y="978542"/>
                  </a:lnTo>
                  <a:lnTo>
                    <a:pt x="40211" y="939522"/>
                  </a:lnTo>
                  <a:lnTo>
                    <a:pt x="47532" y="901192"/>
                  </a:lnTo>
                  <a:lnTo>
                    <a:pt x="56501" y="868288"/>
                  </a:lnTo>
                  <a:lnTo>
                    <a:pt x="66705" y="840114"/>
                  </a:lnTo>
                  <a:lnTo>
                    <a:pt x="77736" y="815968"/>
                  </a:lnTo>
                  <a:lnTo>
                    <a:pt x="83263" y="802466"/>
                  </a:lnTo>
                  <a:lnTo>
                    <a:pt x="86767" y="787986"/>
                  </a:lnTo>
                  <a:lnTo>
                    <a:pt x="88180" y="772917"/>
                  </a:lnTo>
                  <a:lnTo>
                    <a:pt x="87430" y="757660"/>
                  </a:lnTo>
                  <a:lnTo>
                    <a:pt x="85045" y="729759"/>
                  </a:lnTo>
                  <a:lnTo>
                    <a:pt x="84702" y="698614"/>
                  </a:lnTo>
                  <a:lnTo>
                    <a:pt x="86996" y="663797"/>
                  </a:lnTo>
                  <a:lnTo>
                    <a:pt x="92525" y="624880"/>
                  </a:lnTo>
                  <a:lnTo>
                    <a:pt x="100755" y="586757"/>
                  </a:lnTo>
                  <a:lnTo>
                    <a:pt x="110503" y="554139"/>
                  </a:lnTo>
                  <a:lnTo>
                    <a:pt x="121375" y="526301"/>
                  </a:lnTo>
                  <a:lnTo>
                    <a:pt x="132975" y="502531"/>
                  </a:lnTo>
                  <a:lnTo>
                    <a:pt x="138829" y="489213"/>
                  </a:lnTo>
                  <a:lnTo>
                    <a:pt x="142681" y="474842"/>
                  </a:lnTo>
                  <a:lnTo>
                    <a:pt x="144456" y="459803"/>
                  </a:lnTo>
                  <a:lnTo>
                    <a:pt x="144076" y="444493"/>
                  </a:lnTo>
                  <a:lnTo>
                    <a:pt x="142357" y="416450"/>
                  </a:lnTo>
                  <a:lnTo>
                    <a:pt x="142758" y="385226"/>
                  </a:lnTo>
                  <a:lnTo>
                    <a:pt x="152346" y="311639"/>
                  </a:lnTo>
                  <a:lnTo>
                    <a:pt x="172019" y="241430"/>
                  </a:lnTo>
                  <a:lnTo>
                    <a:pt x="183555" y="213957"/>
                  </a:lnTo>
                  <a:lnTo>
                    <a:pt x="195724" y="190594"/>
                  </a:lnTo>
                  <a:lnTo>
                    <a:pt x="201893" y="177476"/>
                  </a:lnTo>
                  <a:lnTo>
                    <a:pt x="206090" y="163216"/>
                  </a:lnTo>
                  <a:lnTo>
                    <a:pt x="208224" y="148202"/>
                  </a:lnTo>
                  <a:lnTo>
                    <a:pt x="208213" y="132829"/>
                  </a:lnTo>
                  <a:lnTo>
                    <a:pt x="207176" y="104665"/>
                  </a:lnTo>
                  <a:lnTo>
                    <a:pt x="208326" y="73397"/>
                  </a:lnTo>
                  <a:lnTo>
                    <a:pt x="212288" y="38637"/>
                  </a:lnTo>
                  <a:lnTo>
                    <a:pt x="219676" y="0"/>
                  </a:lnTo>
                  <a:lnTo>
                    <a:pt x="287633" y="26053"/>
                  </a:lnTo>
                  <a:lnTo>
                    <a:pt x="319472" y="21526"/>
                  </a:lnTo>
                  <a:lnTo>
                    <a:pt x="387391" y="47704"/>
                  </a:lnTo>
                  <a:lnTo>
                    <a:pt x="377580" y="84557"/>
                  </a:lnTo>
                  <a:lnTo>
                    <a:pt x="366651" y="115974"/>
                  </a:lnTo>
                  <a:lnTo>
                    <a:pt x="354905" y="142708"/>
                  </a:lnTo>
                  <a:lnTo>
                    <a:pt x="342644" y="165500"/>
                  </a:lnTo>
                  <a:lnTo>
                    <a:pt x="336471" y="178343"/>
                  </a:lnTo>
                  <a:lnTo>
                    <a:pt x="332298" y="192357"/>
                  </a:lnTo>
                  <a:lnTo>
                    <a:pt x="330215" y="207132"/>
                  </a:lnTo>
                  <a:lnTo>
                    <a:pt x="330307" y="222258"/>
                  </a:lnTo>
                  <a:lnTo>
                    <a:pt x="331589" y="249962"/>
                  </a:lnTo>
                  <a:lnTo>
                    <a:pt x="327519" y="314780"/>
                  </a:lnTo>
                  <a:lnTo>
                    <a:pt x="302000" y="421596"/>
                  </a:lnTo>
                  <a:lnTo>
                    <a:pt x="290914" y="448689"/>
                  </a:lnTo>
                  <a:lnTo>
                    <a:pt x="279212" y="471876"/>
                  </a:lnTo>
                  <a:lnTo>
                    <a:pt x="273344" y="484919"/>
                  </a:lnTo>
                  <a:lnTo>
                    <a:pt x="269507" y="499050"/>
                  </a:lnTo>
                  <a:lnTo>
                    <a:pt x="267781" y="513865"/>
                  </a:lnTo>
                  <a:lnTo>
                    <a:pt x="268244" y="528953"/>
                  </a:lnTo>
                  <a:lnTo>
                    <a:pt x="270189" y="556508"/>
                  </a:lnTo>
                  <a:lnTo>
                    <a:pt x="267683" y="621274"/>
                  </a:lnTo>
                  <a:lnTo>
                    <a:pt x="244719" y="728742"/>
                  </a:lnTo>
                  <a:lnTo>
                    <a:pt x="234282" y="756186"/>
                  </a:lnTo>
                  <a:lnTo>
                    <a:pt x="223136" y="779752"/>
                  </a:lnTo>
                  <a:lnTo>
                    <a:pt x="217590" y="792993"/>
                  </a:lnTo>
                  <a:lnTo>
                    <a:pt x="214094" y="807234"/>
                  </a:lnTo>
                  <a:lnTo>
                    <a:pt x="212719" y="822065"/>
                  </a:lnTo>
                  <a:lnTo>
                    <a:pt x="213536" y="837076"/>
                  </a:lnTo>
                  <a:lnTo>
                    <a:pt x="216138" y="864486"/>
                  </a:lnTo>
                  <a:lnTo>
                    <a:pt x="216861" y="895028"/>
                  </a:lnTo>
                  <a:lnTo>
                    <a:pt x="215178" y="929167"/>
                  </a:lnTo>
                  <a:lnTo>
                    <a:pt x="210551" y="967371"/>
                  </a:lnTo>
                  <a:lnTo>
                    <a:pt x="203422" y="1004914"/>
                  </a:lnTo>
                  <a:lnTo>
                    <a:pt x="194788" y="1037221"/>
                  </a:lnTo>
                  <a:lnTo>
                    <a:pt x="185007" y="1064994"/>
                  </a:lnTo>
                  <a:lnTo>
                    <a:pt x="174434" y="1088933"/>
                  </a:lnTo>
                  <a:lnTo>
                    <a:pt x="169197" y="1102354"/>
                  </a:lnTo>
                  <a:lnTo>
                    <a:pt x="166041" y="1116692"/>
                  </a:lnTo>
                  <a:lnTo>
                    <a:pt x="165025" y="1131536"/>
                  </a:lnTo>
                  <a:lnTo>
                    <a:pt x="166203" y="1146478"/>
                  </a:lnTo>
                  <a:lnTo>
                    <a:pt x="169452" y="1173714"/>
                  </a:lnTo>
                  <a:lnTo>
                    <a:pt x="170899" y="1204152"/>
                  </a:lnTo>
                  <a:lnTo>
                    <a:pt x="170020" y="1238273"/>
                  </a:lnTo>
                  <a:lnTo>
                    <a:pt x="166299" y="1276551"/>
                  </a:lnTo>
                  <a:lnTo>
                    <a:pt x="160059" y="1314281"/>
                  </a:lnTo>
                  <a:lnTo>
                    <a:pt x="152194" y="1346841"/>
                  </a:lnTo>
                  <a:close/>
                </a:path>
              </a:pathLst>
            </a:custGeom>
            <a:solidFill>
              <a:schemeClr val="accent5">
                <a:alpha val="20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8" name="Freeform: Shape 7">
              <a:extLst>
                <a:ext uri="{FF2B5EF4-FFF2-40B4-BE49-F238E27FC236}">
                  <a16:creationId xmlns:a16="http://schemas.microsoft.com/office/drawing/2014/main" id="{F643AC97-297A-1762-02D8-A54C09A30502}"/>
                </a:ext>
              </a:extLst>
            </p:cNvPr>
            <p:cNvSpPr/>
            <p:nvPr userDrawn="1"/>
          </p:nvSpPr>
          <p:spPr>
            <a:xfrm rot="14016479" flipH="1">
              <a:off x="11562598" y="1072719"/>
              <a:ext cx="396316" cy="1360756"/>
            </a:xfrm>
            <a:custGeom>
              <a:avLst/>
              <a:gdLst>
                <a:gd name="connsiteX0" fmla="*/ 1895 w 396316"/>
                <a:gd name="connsiteY0" fmla="*/ 1360756 h 1360756"/>
                <a:gd name="connsiteX1" fmla="*/ 179155 w 396316"/>
                <a:gd name="connsiteY1" fmla="*/ 1230107 h 1360756"/>
                <a:gd name="connsiteX2" fmla="*/ 179823 w 396316"/>
                <a:gd name="connsiteY2" fmla="*/ 1204153 h 1360756"/>
                <a:gd name="connsiteX3" fmla="*/ 178378 w 396316"/>
                <a:gd name="connsiteY3" fmla="*/ 1173715 h 1360756"/>
                <a:gd name="connsiteX4" fmla="*/ 175128 w 396316"/>
                <a:gd name="connsiteY4" fmla="*/ 1146478 h 1360756"/>
                <a:gd name="connsiteX5" fmla="*/ 173950 w 396316"/>
                <a:gd name="connsiteY5" fmla="*/ 1131536 h 1360756"/>
                <a:gd name="connsiteX6" fmla="*/ 174966 w 396316"/>
                <a:gd name="connsiteY6" fmla="*/ 1116691 h 1360756"/>
                <a:gd name="connsiteX7" fmla="*/ 178122 w 396316"/>
                <a:gd name="connsiteY7" fmla="*/ 1102354 h 1360756"/>
                <a:gd name="connsiteX8" fmla="*/ 183359 w 396316"/>
                <a:gd name="connsiteY8" fmla="*/ 1088934 h 1360756"/>
                <a:gd name="connsiteX9" fmla="*/ 193932 w 396316"/>
                <a:gd name="connsiteY9" fmla="*/ 1064996 h 1360756"/>
                <a:gd name="connsiteX10" fmla="*/ 203713 w 396316"/>
                <a:gd name="connsiteY10" fmla="*/ 1037221 h 1360756"/>
                <a:gd name="connsiteX11" fmla="*/ 212347 w 396316"/>
                <a:gd name="connsiteY11" fmla="*/ 1004914 h 1360756"/>
                <a:gd name="connsiteX12" fmla="*/ 219475 w 396316"/>
                <a:gd name="connsiteY12" fmla="*/ 967371 h 1360756"/>
                <a:gd name="connsiteX13" fmla="*/ 224102 w 396316"/>
                <a:gd name="connsiteY13" fmla="*/ 929167 h 1360756"/>
                <a:gd name="connsiteX14" fmla="*/ 225786 w 396316"/>
                <a:gd name="connsiteY14" fmla="*/ 895028 h 1360756"/>
                <a:gd name="connsiteX15" fmla="*/ 225064 w 396316"/>
                <a:gd name="connsiteY15" fmla="*/ 864486 h 1360756"/>
                <a:gd name="connsiteX16" fmla="*/ 222460 w 396316"/>
                <a:gd name="connsiteY16" fmla="*/ 837076 h 1360756"/>
                <a:gd name="connsiteX17" fmla="*/ 221643 w 396316"/>
                <a:gd name="connsiteY17" fmla="*/ 822065 h 1360756"/>
                <a:gd name="connsiteX18" fmla="*/ 223019 w 396316"/>
                <a:gd name="connsiteY18" fmla="*/ 807234 h 1360756"/>
                <a:gd name="connsiteX19" fmla="*/ 226515 w 396316"/>
                <a:gd name="connsiteY19" fmla="*/ 792993 h 1360756"/>
                <a:gd name="connsiteX20" fmla="*/ 232061 w 396316"/>
                <a:gd name="connsiteY20" fmla="*/ 779753 h 1360756"/>
                <a:gd name="connsiteX21" fmla="*/ 243207 w 396316"/>
                <a:gd name="connsiteY21" fmla="*/ 756187 h 1360756"/>
                <a:gd name="connsiteX22" fmla="*/ 253644 w 396316"/>
                <a:gd name="connsiteY22" fmla="*/ 728742 h 1360756"/>
                <a:gd name="connsiteX23" fmla="*/ 276608 w 396316"/>
                <a:gd name="connsiteY23" fmla="*/ 621274 h 1360756"/>
                <a:gd name="connsiteX24" fmla="*/ 279113 w 396316"/>
                <a:gd name="connsiteY24" fmla="*/ 556509 h 1360756"/>
                <a:gd name="connsiteX25" fmla="*/ 277169 w 396316"/>
                <a:gd name="connsiteY25" fmla="*/ 528954 h 1360756"/>
                <a:gd name="connsiteX26" fmla="*/ 276706 w 396316"/>
                <a:gd name="connsiteY26" fmla="*/ 513865 h 1360756"/>
                <a:gd name="connsiteX27" fmla="*/ 278432 w 396316"/>
                <a:gd name="connsiteY27" fmla="*/ 499051 h 1360756"/>
                <a:gd name="connsiteX28" fmla="*/ 282268 w 396316"/>
                <a:gd name="connsiteY28" fmla="*/ 484919 h 1360756"/>
                <a:gd name="connsiteX29" fmla="*/ 288136 w 396316"/>
                <a:gd name="connsiteY29" fmla="*/ 471875 h 1360756"/>
                <a:gd name="connsiteX30" fmla="*/ 299838 w 396316"/>
                <a:gd name="connsiteY30" fmla="*/ 448689 h 1360756"/>
                <a:gd name="connsiteX31" fmla="*/ 310926 w 396316"/>
                <a:gd name="connsiteY31" fmla="*/ 421596 h 1360756"/>
                <a:gd name="connsiteX32" fmla="*/ 336445 w 396316"/>
                <a:gd name="connsiteY32" fmla="*/ 314779 h 1360756"/>
                <a:gd name="connsiteX33" fmla="*/ 340514 w 396316"/>
                <a:gd name="connsiteY33" fmla="*/ 249962 h 1360756"/>
                <a:gd name="connsiteX34" fmla="*/ 339232 w 396316"/>
                <a:gd name="connsiteY34" fmla="*/ 222259 h 1360756"/>
                <a:gd name="connsiteX35" fmla="*/ 339139 w 396316"/>
                <a:gd name="connsiteY35" fmla="*/ 207132 h 1360756"/>
                <a:gd name="connsiteX36" fmla="*/ 341223 w 396316"/>
                <a:gd name="connsiteY36" fmla="*/ 192357 h 1360756"/>
                <a:gd name="connsiteX37" fmla="*/ 345396 w 396316"/>
                <a:gd name="connsiteY37" fmla="*/ 178344 h 1360756"/>
                <a:gd name="connsiteX38" fmla="*/ 351569 w 396316"/>
                <a:gd name="connsiteY38" fmla="*/ 165499 h 1360756"/>
                <a:gd name="connsiteX39" fmla="*/ 363830 w 396316"/>
                <a:gd name="connsiteY39" fmla="*/ 142708 h 1360756"/>
                <a:gd name="connsiteX40" fmla="*/ 375575 w 396316"/>
                <a:gd name="connsiteY40" fmla="*/ 115974 h 1360756"/>
                <a:gd name="connsiteX41" fmla="*/ 386505 w 396316"/>
                <a:gd name="connsiteY41" fmla="*/ 84557 h 1360756"/>
                <a:gd name="connsiteX42" fmla="*/ 396316 w 396316"/>
                <a:gd name="connsiteY42" fmla="*/ 47704 h 1360756"/>
                <a:gd name="connsiteX43" fmla="*/ 328398 w 396316"/>
                <a:gd name="connsiteY43" fmla="*/ 21526 h 1360756"/>
                <a:gd name="connsiteX44" fmla="*/ 296558 w 396316"/>
                <a:gd name="connsiteY44" fmla="*/ 26054 h 1360756"/>
                <a:gd name="connsiteX45" fmla="*/ 228600 w 396316"/>
                <a:gd name="connsiteY45" fmla="*/ 0 h 1360756"/>
                <a:gd name="connsiteX46" fmla="*/ 221212 w 396316"/>
                <a:gd name="connsiteY46" fmla="*/ 38637 h 1360756"/>
                <a:gd name="connsiteX47" fmla="*/ 217251 w 396316"/>
                <a:gd name="connsiteY47" fmla="*/ 73398 h 1360756"/>
                <a:gd name="connsiteX48" fmla="*/ 216101 w 396316"/>
                <a:gd name="connsiteY48" fmla="*/ 104666 h 1360756"/>
                <a:gd name="connsiteX49" fmla="*/ 217137 w 396316"/>
                <a:gd name="connsiteY49" fmla="*/ 132829 h 1360756"/>
                <a:gd name="connsiteX50" fmla="*/ 217148 w 396316"/>
                <a:gd name="connsiteY50" fmla="*/ 148202 h 1360756"/>
                <a:gd name="connsiteX51" fmla="*/ 215014 w 396316"/>
                <a:gd name="connsiteY51" fmla="*/ 163216 h 1360756"/>
                <a:gd name="connsiteX52" fmla="*/ 210819 w 396316"/>
                <a:gd name="connsiteY52" fmla="*/ 177476 h 1360756"/>
                <a:gd name="connsiteX53" fmla="*/ 204649 w 396316"/>
                <a:gd name="connsiteY53" fmla="*/ 190595 h 1360756"/>
                <a:gd name="connsiteX54" fmla="*/ 192480 w 396316"/>
                <a:gd name="connsiteY54" fmla="*/ 213957 h 1360756"/>
                <a:gd name="connsiteX55" fmla="*/ 180943 w 396316"/>
                <a:gd name="connsiteY55" fmla="*/ 241431 h 1360756"/>
                <a:gd name="connsiteX56" fmla="*/ 161271 w 396316"/>
                <a:gd name="connsiteY56" fmla="*/ 311640 h 1360756"/>
                <a:gd name="connsiteX57" fmla="*/ 151682 w 396316"/>
                <a:gd name="connsiteY57" fmla="*/ 385226 h 1360756"/>
                <a:gd name="connsiteX58" fmla="*/ 151281 w 396316"/>
                <a:gd name="connsiteY58" fmla="*/ 416450 h 1360756"/>
                <a:gd name="connsiteX59" fmla="*/ 153002 w 396316"/>
                <a:gd name="connsiteY59" fmla="*/ 444494 h 1360756"/>
                <a:gd name="connsiteX60" fmla="*/ 153382 w 396316"/>
                <a:gd name="connsiteY60" fmla="*/ 459803 h 1360756"/>
                <a:gd name="connsiteX61" fmla="*/ 151607 w 396316"/>
                <a:gd name="connsiteY61" fmla="*/ 474842 h 1360756"/>
                <a:gd name="connsiteX62" fmla="*/ 147754 w 396316"/>
                <a:gd name="connsiteY62" fmla="*/ 489214 h 1360756"/>
                <a:gd name="connsiteX63" fmla="*/ 141899 w 396316"/>
                <a:gd name="connsiteY63" fmla="*/ 502531 h 1360756"/>
                <a:gd name="connsiteX64" fmla="*/ 130300 w 396316"/>
                <a:gd name="connsiteY64" fmla="*/ 526301 h 1360756"/>
                <a:gd name="connsiteX65" fmla="*/ 119429 w 396316"/>
                <a:gd name="connsiteY65" fmla="*/ 554139 h 1360756"/>
                <a:gd name="connsiteX66" fmla="*/ 109680 w 396316"/>
                <a:gd name="connsiteY66" fmla="*/ 586758 h 1360756"/>
                <a:gd name="connsiteX67" fmla="*/ 101449 w 396316"/>
                <a:gd name="connsiteY67" fmla="*/ 624880 h 1360756"/>
                <a:gd name="connsiteX68" fmla="*/ 95922 w 396316"/>
                <a:gd name="connsiteY68" fmla="*/ 663796 h 1360756"/>
                <a:gd name="connsiteX69" fmla="*/ 93627 w 396316"/>
                <a:gd name="connsiteY69" fmla="*/ 698615 h 1360756"/>
                <a:gd name="connsiteX70" fmla="*/ 93970 w 396316"/>
                <a:gd name="connsiteY70" fmla="*/ 729759 h 1360756"/>
                <a:gd name="connsiteX71" fmla="*/ 96355 w 396316"/>
                <a:gd name="connsiteY71" fmla="*/ 757660 h 1360756"/>
                <a:gd name="connsiteX72" fmla="*/ 97105 w 396316"/>
                <a:gd name="connsiteY72" fmla="*/ 772918 h 1360756"/>
                <a:gd name="connsiteX73" fmla="*/ 95692 w 396316"/>
                <a:gd name="connsiteY73" fmla="*/ 787986 h 1360756"/>
                <a:gd name="connsiteX74" fmla="*/ 92188 w 396316"/>
                <a:gd name="connsiteY74" fmla="*/ 802466 h 1360756"/>
                <a:gd name="connsiteX75" fmla="*/ 86660 w 396316"/>
                <a:gd name="connsiteY75" fmla="*/ 815968 h 1360756"/>
                <a:gd name="connsiteX76" fmla="*/ 75630 w 396316"/>
                <a:gd name="connsiteY76" fmla="*/ 840114 h 1360756"/>
                <a:gd name="connsiteX77" fmla="*/ 65425 w 396316"/>
                <a:gd name="connsiteY77" fmla="*/ 868288 h 1360756"/>
                <a:gd name="connsiteX78" fmla="*/ 56457 w 396316"/>
                <a:gd name="connsiteY78" fmla="*/ 901192 h 1360756"/>
                <a:gd name="connsiteX79" fmla="*/ 49136 w 396316"/>
                <a:gd name="connsiteY79" fmla="*/ 939522 h 1360756"/>
                <a:gd name="connsiteX80" fmla="*/ 44538 w 396316"/>
                <a:gd name="connsiteY80" fmla="*/ 978543 h 1360756"/>
                <a:gd name="connsiteX81" fmla="*/ 43071 w 396316"/>
                <a:gd name="connsiteY81" fmla="*/ 1013355 h 1360756"/>
                <a:gd name="connsiteX82" fmla="*/ 44152 w 396316"/>
                <a:gd name="connsiteY82" fmla="*/ 1044400 h 1360756"/>
                <a:gd name="connsiteX83" fmla="*/ 47198 w 396316"/>
                <a:gd name="connsiteY83" fmla="*/ 1072130 h 1360756"/>
                <a:gd name="connsiteX84" fmla="*/ 48308 w 396316"/>
                <a:gd name="connsiteY84" fmla="*/ 1087319 h 1360756"/>
                <a:gd name="connsiteX85" fmla="*/ 47258 w 396316"/>
                <a:gd name="connsiteY85" fmla="*/ 1102401 h 1360756"/>
                <a:gd name="connsiteX86" fmla="*/ 44099 w 396316"/>
                <a:gd name="connsiteY86" fmla="*/ 1116978 h 1360756"/>
                <a:gd name="connsiteX87" fmla="*/ 38890 w 396316"/>
                <a:gd name="connsiteY87" fmla="*/ 1130659 h 1360756"/>
                <a:gd name="connsiteX88" fmla="*/ 28435 w 396316"/>
                <a:gd name="connsiteY88" fmla="*/ 1155163 h 1360756"/>
                <a:gd name="connsiteX89" fmla="*/ 18907 w 396316"/>
                <a:gd name="connsiteY89" fmla="*/ 1183657 h 1360756"/>
                <a:gd name="connsiteX90" fmla="*/ 10725 w 396316"/>
                <a:gd name="connsiteY90" fmla="*/ 1216824 h 1360756"/>
                <a:gd name="connsiteX91" fmla="*/ 4314 w 396316"/>
                <a:gd name="connsiteY91" fmla="*/ 1255345 h 1360756"/>
                <a:gd name="connsiteX92" fmla="*/ 643 w 396316"/>
                <a:gd name="connsiteY92" fmla="*/ 1294449 h 1360756"/>
                <a:gd name="connsiteX93" fmla="*/ 0 w 396316"/>
                <a:gd name="connsiteY93" fmla="*/ 1329231 h 1360756"/>
                <a:gd name="connsiteX94" fmla="*/ 1814 w 396316"/>
                <a:gd name="connsiteY94" fmla="*/ 1360158 h 136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96316" h="1360756">
                  <a:moveTo>
                    <a:pt x="1895" y="1360756"/>
                  </a:moveTo>
                  <a:lnTo>
                    <a:pt x="179155" y="1230107"/>
                  </a:lnTo>
                  <a:lnTo>
                    <a:pt x="179823" y="1204153"/>
                  </a:lnTo>
                  <a:lnTo>
                    <a:pt x="178378" y="1173715"/>
                  </a:lnTo>
                  <a:lnTo>
                    <a:pt x="175128" y="1146478"/>
                  </a:lnTo>
                  <a:lnTo>
                    <a:pt x="173950" y="1131536"/>
                  </a:lnTo>
                  <a:lnTo>
                    <a:pt x="174966" y="1116691"/>
                  </a:lnTo>
                  <a:lnTo>
                    <a:pt x="178122" y="1102354"/>
                  </a:lnTo>
                  <a:lnTo>
                    <a:pt x="183359" y="1088934"/>
                  </a:lnTo>
                  <a:lnTo>
                    <a:pt x="193932" y="1064996"/>
                  </a:lnTo>
                  <a:lnTo>
                    <a:pt x="203713" y="1037221"/>
                  </a:lnTo>
                  <a:lnTo>
                    <a:pt x="212347" y="1004914"/>
                  </a:lnTo>
                  <a:lnTo>
                    <a:pt x="219475" y="967371"/>
                  </a:lnTo>
                  <a:lnTo>
                    <a:pt x="224102" y="929167"/>
                  </a:lnTo>
                  <a:lnTo>
                    <a:pt x="225786" y="895028"/>
                  </a:lnTo>
                  <a:lnTo>
                    <a:pt x="225064" y="864486"/>
                  </a:lnTo>
                  <a:lnTo>
                    <a:pt x="222460" y="837076"/>
                  </a:lnTo>
                  <a:lnTo>
                    <a:pt x="221643" y="822065"/>
                  </a:lnTo>
                  <a:lnTo>
                    <a:pt x="223019" y="807234"/>
                  </a:lnTo>
                  <a:lnTo>
                    <a:pt x="226515" y="792993"/>
                  </a:lnTo>
                  <a:lnTo>
                    <a:pt x="232061" y="779753"/>
                  </a:lnTo>
                  <a:lnTo>
                    <a:pt x="243207" y="756187"/>
                  </a:lnTo>
                  <a:lnTo>
                    <a:pt x="253644" y="728742"/>
                  </a:lnTo>
                  <a:lnTo>
                    <a:pt x="276608" y="621274"/>
                  </a:lnTo>
                  <a:lnTo>
                    <a:pt x="279113" y="556509"/>
                  </a:lnTo>
                  <a:lnTo>
                    <a:pt x="277169" y="528954"/>
                  </a:lnTo>
                  <a:lnTo>
                    <a:pt x="276706" y="513865"/>
                  </a:lnTo>
                  <a:lnTo>
                    <a:pt x="278432" y="499051"/>
                  </a:lnTo>
                  <a:lnTo>
                    <a:pt x="282268" y="484919"/>
                  </a:lnTo>
                  <a:lnTo>
                    <a:pt x="288136" y="471875"/>
                  </a:lnTo>
                  <a:lnTo>
                    <a:pt x="299838" y="448689"/>
                  </a:lnTo>
                  <a:lnTo>
                    <a:pt x="310926" y="421596"/>
                  </a:lnTo>
                  <a:lnTo>
                    <a:pt x="336445" y="314779"/>
                  </a:lnTo>
                  <a:lnTo>
                    <a:pt x="340514" y="249962"/>
                  </a:lnTo>
                  <a:lnTo>
                    <a:pt x="339232" y="222259"/>
                  </a:lnTo>
                  <a:lnTo>
                    <a:pt x="339139" y="207132"/>
                  </a:lnTo>
                  <a:lnTo>
                    <a:pt x="341223" y="192357"/>
                  </a:lnTo>
                  <a:lnTo>
                    <a:pt x="345396" y="178344"/>
                  </a:lnTo>
                  <a:lnTo>
                    <a:pt x="351569" y="165499"/>
                  </a:lnTo>
                  <a:lnTo>
                    <a:pt x="363830" y="142708"/>
                  </a:lnTo>
                  <a:lnTo>
                    <a:pt x="375575" y="115974"/>
                  </a:lnTo>
                  <a:lnTo>
                    <a:pt x="386505" y="84557"/>
                  </a:lnTo>
                  <a:lnTo>
                    <a:pt x="396316" y="47704"/>
                  </a:lnTo>
                  <a:lnTo>
                    <a:pt x="328398" y="21526"/>
                  </a:lnTo>
                  <a:lnTo>
                    <a:pt x="296558" y="26054"/>
                  </a:lnTo>
                  <a:lnTo>
                    <a:pt x="228600" y="0"/>
                  </a:lnTo>
                  <a:lnTo>
                    <a:pt x="221212" y="38637"/>
                  </a:lnTo>
                  <a:lnTo>
                    <a:pt x="217251" y="73398"/>
                  </a:lnTo>
                  <a:lnTo>
                    <a:pt x="216101" y="104666"/>
                  </a:lnTo>
                  <a:lnTo>
                    <a:pt x="217137" y="132829"/>
                  </a:lnTo>
                  <a:lnTo>
                    <a:pt x="217148" y="148202"/>
                  </a:lnTo>
                  <a:lnTo>
                    <a:pt x="215014" y="163216"/>
                  </a:lnTo>
                  <a:lnTo>
                    <a:pt x="210819" y="177476"/>
                  </a:lnTo>
                  <a:lnTo>
                    <a:pt x="204649" y="190595"/>
                  </a:lnTo>
                  <a:lnTo>
                    <a:pt x="192480" y="213957"/>
                  </a:lnTo>
                  <a:lnTo>
                    <a:pt x="180943" y="241431"/>
                  </a:lnTo>
                  <a:lnTo>
                    <a:pt x="161271" y="311640"/>
                  </a:lnTo>
                  <a:lnTo>
                    <a:pt x="151682" y="385226"/>
                  </a:lnTo>
                  <a:lnTo>
                    <a:pt x="151281" y="416450"/>
                  </a:lnTo>
                  <a:lnTo>
                    <a:pt x="153002" y="444494"/>
                  </a:lnTo>
                  <a:lnTo>
                    <a:pt x="153382" y="459803"/>
                  </a:lnTo>
                  <a:lnTo>
                    <a:pt x="151607" y="474842"/>
                  </a:lnTo>
                  <a:lnTo>
                    <a:pt x="147754" y="489214"/>
                  </a:lnTo>
                  <a:lnTo>
                    <a:pt x="141899" y="502531"/>
                  </a:lnTo>
                  <a:lnTo>
                    <a:pt x="130300" y="526301"/>
                  </a:lnTo>
                  <a:lnTo>
                    <a:pt x="119429" y="554139"/>
                  </a:lnTo>
                  <a:lnTo>
                    <a:pt x="109680" y="586758"/>
                  </a:lnTo>
                  <a:lnTo>
                    <a:pt x="101449" y="624880"/>
                  </a:lnTo>
                  <a:lnTo>
                    <a:pt x="95922" y="663796"/>
                  </a:lnTo>
                  <a:lnTo>
                    <a:pt x="93627" y="698615"/>
                  </a:lnTo>
                  <a:lnTo>
                    <a:pt x="93970" y="729759"/>
                  </a:lnTo>
                  <a:lnTo>
                    <a:pt x="96355" y="757660"/>
                  </a:lnTo>
                  <a:lnTo>
                    <a:pt x="97105" y="772918"/>
                  </a:lnTo>
                  <a:lnTo>
                    <a:pt x="95692" y="787986"/>
                  </a:lnTo>
                  <a:lnTo>
                    <a:pt x="92188" y="802466"/>
                  </a:lnTo>
                  <a:lnTo>
                    <a:pt x="86660" y="815968"/>
                  </a:lnTo>
                  <a:lnTo>
                    <a:pt x="75630" y="840114"/>
                  </a:lnTo>
                  <a:lnTo>
                    <a:pt x="65425" y="868288"/>
                  </a:lnTo>
                  <a:lnTo>
                    <a:pt x="56457" y="901192"/>
                  </a:lnTo>
                  <a:lnTo>
                    <a:pt x="49136" y="939522"/>
                  </a:lnTo>
                  <a:lnTo>
                    <a:pt x="44538" y="978543"/>
                  </a:lnTo>
                  <a:lnTo>
                    <a:pt x="43071" y="1013355"/>
                  </a:lnTo>
                  <a:lnTo>
                    <a:pt x="44152" y="1044400"/>
                  </a:lnTo>
                  <a:lnTo>
                    <a:pt x="47198" y="1072130"/>
                  </a:lnTo>
                  <a:lnTo>
                    <a:pt x="48308" y="1087319"/>
                  </a:lnTo>
                  <a:lnTo>
                    <a:pt x="47258" y="1102401"/>
                  </a:lnTo>
                  <a:lnTo>
                    <a:pt x="44099" y="1116978"/>
                  </a:lnTo>
                  <a:lnTo>
                    <a:pt x="38890" y="1130659"/>
                  </a:lnTo>
                  <a:lnTo>
                    <a:pt x="28435" y="1155163"/>
                  </a:lnTo>
                  <a:lnTo>
                    <a:pt x="18907" y="1183657"/>
                  </a:lnTo>
                  <a:lnTo>
                    <a:pt x="10725" y="1216824"/>
                  </a:lnTo>
                  <a:lnTo>
                    <a:pt x="4314" y="1255345"/>
                  </a:lnTo>
                  <a:lnTo>
                    <a:pt x="643" y="1294449"/>
                  </a:lnTo>
                  <a:lnTo>
                    <a:pt x="0" y="1329231"/>
                  </a:lnTo>
                  <a:lnTo>
                    <a:pt x="1814" y="1360158"/>
                  </a:lnTo>
                  <a:close/>
                </a:path>
              </a:pathLst>
            </a:custGeom>
            <a:solidFill>
              <a:schemeClr val="accent5">
                <a:alpha val="20000"/>
              </a:schemeClr>
            </a:solid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Shape 9">
              <a:extLst>
                <a:ext uri="{FF2B5EF4-FFF2-40B4-BE49-F238E27FC236}">
                  <a16:creationId xmlns:a16="http://schemas.microsoft.com/office/drawing/2014/main" id="{56546989-B4B3-B271-8834-E50B5AD61BEC}"/>
                </a:ext>
              </a:extLst>
            </p:cNvPr>
            <p:cNvSpPr/>
            <p:nvPr/>
          </p:nvSpPr>
          <p:spPr>
            <a:xfrm rot="2178052">
              <a:off x="3337106" y="-195329"/>
              <a:ext cx="824420" cy="956250"/>
            </a:xfrm>
            <a:custGeom>
              <a:avLst/>
              <a:gdLst>
                <a:gd name="connsiteX0" fmla="*/ 7604 w 824420"/>
                <a:gd name="connsiteY0" fmla="*/ 424448 h 956250"/>
                <a:gd name="connsiteX1" fmla="*/ 585403 w 824420"/>
                <a:gd name="connsiteY1" fmla="*/ 0 h 956250"/>
                <a:gd name="connsiteX2" fmla="*/ 586429 w 824420"/>
                <a:gd name="connsiteY2" fmla="*/ 500 h 956250"/>
                <a:gd name="connsiteX3" fmla="*/ 608584 w 824420"/>
                <a:gd name="connsiteY3" fmla="*/ 15155 h 956250"/>
                <a:gd name="connsiteX4" fmla="*/ 665559 w 824420"/>
                <a:gd name="connsiteY4" fmla="*/ 46054 h 956250"/>
                <a:gd name="connsiteX5" fmla="*/ 696328 w 824420"/>
                <a:gd name="connsiteY5" fmla="*/ 82429 h 956250"/>
                <a:gd name="connsiteX6" fmla="*/ 763602 w 824420"/>
                <a:gd name="connsiteY6" fmla="*/ 138099 h 956250"/>
                <a:gd name="connsiteX7" fmla="*/ 824357 w 824420"/>
                <a:gd name="connsiteY7" fmla="*/ 267302 h 956250"/>
                <a:gd name="connsiteX8" fmla="*/ 779769 w 824420"/>
                <a:gd name="connsiteY8" fmla="*/ 384118 h 956250"/>
                <a:gd name="connsiteX9" fmla="*/ 654868 w 824420"/>
                <a:gd name="connsiteY9" fmla="*/ 444613 h 956250"/>
                <a:gd name="connsiteX10" fmla="*/ 515887 w 824420"/>
                <a:gd name="connsiteY10" fmla="*/ 439007 h 956250"/>
                <a:gd name="connsiteX11" fmla="*/ 445614 w 824420"/>
                <a:gd name="connsiteY11" fmla="*/ 369386 h 956250"/>
                <a:gd name="connsiteX12" fmla="*/ 419669 w 824420"/>
                <a:gd name="connsiteY12" fmla="*/ 372254 h 956250"/>
                <a:gd name="connsiteX13" fmla="*/ 385510 w 824420"/>
                <a:gd name="connsiteY13" fmla="*/ 384640 h 956250"/>
                <a:gd name="connsiteX14" fmla="*/ 386684 w 824420"/>
                <a:gd name="connsiteY14" fmla="*/ 412280 h 956250"/>
                <a:gd name="connsiteX15" fmla="*/ 364520 w 824420"/>
                <a:gd name="connsiteY15" fmla="*/ 460128 h 956250"/>
                <a:gd name="connsiteX16" fmla="*/ 412759 w 824420"/>
                <a:gd name="connsiteY16" fmla="*/ 484769 h 956250"/>
                <a:gd name="connsiteX17" fmla="*/ 429838 w 824420"/>
                <a:gd name="connsiteY17" fmla="*/ 512017 h 956250"/>
                <a:gd name="connsiteX18" fmla="*/ 564256 w 824420"/>
                <a:gd name="connsiteY18" fmla="*/ 492070 h 956250"/>
                <a:gd name="connsiteX19" fmla="*/ 722143 w 824420"/>
                <a:gd name="connsiteY19" fmla="*/ 609930 h 956250"/>
                <a:gd name="connsiteX20" fmla="*/ 716666 w 824420"/>
                <a:gd name="connsiteY20" fmla="*/ 832612 h 956250"/>
                <a:gd name="connsiteX21" fmla="*/ 606889 w 824420"/>
                <a:gd name="connsiteY21" fmla="*/ 916574 h 956250"/>
                <a:gd name="connsiteX22" fmla="*/ 531662 w 824420"/>
                <a:gd name="connsiteY22" fmla="*/ 956078 h 956250"/>
                <a:gd name="connsiteX23" fmla="*/ 402720 w 824420"/>
                <a:gd name="connsiteY23" fmla="*/ 906535 h 956250"/>
                <a:gd name="connsiteX24" fmla="*/ 314586 w 824420"/>
                <a:gd name="connsiteY24" fmla="*/ 887761 h 956250"/>
                <a:gd name="connsiteX25" fmla="*/ 267781 w 824420"/>
                <a:gd name="connsiteY25" fmla="*/ 855819 h 956250"/>
                <a:gd name="connsiteX26" fmla="*/ 174822 w 824420"/>
                <a:gd name="connsiteY26" fmla="*/ 807189 h 956250"/>
                <a:gd name="connsiteX27" fmla="*/ 107027 w 824420"/>
                <a:gd name="connsiteY27" fmla="*/ 730919 h 956250"/>
                <a:gd name="connsiteX28" fmla="*/ 37014 w 824420"/>
                <a:gd name="connsiteY28" fmla="*/ 609148 h 956250"/>
                <a:gd name="connsiteX29" fmla="*/ 2204 w 824420"/>
                <a:gd name="connsiteY29" fmla="*/ 524012 h 956250"/>
                <a:gd name="connsiteX30" fmla="*/ 14590 w 824420"/>
                <a:gd name="connsiteY30" fmla="*/ 457520 h 956250"/>
                <a:gd name="connsiteX31" fmla="*/ 9880 w 824420"/>
                <a:gd name="connsiteY31" fmla="*/ 431771 h 9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420" h="956250">
                  <a:moveTo>
                    <a:pt x="7604" y="424448"/>
                  </a:moveTo>
                  <a:lnTo>
                    <a:pt x="585403" y="0"/>
                  </a:lnTo>
                  <a:lnTo>
                    <a:pt x="586429" y="500"/>
                  </a:lnTo>
                  <a:cubicBezTo>
                    <a:pt x="595172" y="5792"/>
                    <a:pt x="602457" y="11015"/>
                    <a:pt x="608584" y="15155"/>
                  </a:cubicBezTo>
                  <a:cubicBezTo>
                    <a:pt x="633095" y="31712"/>
                    <a:pt x="642091" y="30278"/>
                    <a:pt x="665559" y="46054"/>
                  </a:cubicBezTo>
                  <a:cubicBezTo>
                    <a:pt x="674033" y="51790"/>
                    <a:pt x="688375" y="63002"/>
                    <a:pt x="696328" y="82429"/>
                  </a:cubicBezTo>
                  <a:cubicBezTo>
                    <a:pt x="704281" y="101855"/>
                    <a:pt x="723446" y="108634"/>
                    <a:pt x="763602" y="138099"/>
                  </a:cubicBezTo>
                  <a:cubicBezTo>
                    <a:pt x="803627" y="167564"/>
                    <a:pt x="824357" y="267302"/>
                    <a:pt x="824357" y="267302"/>
                  </a:cubicBezTo>
                  <a:cubicBezTo>
                    <a:pt x="824357" y="267302"/>
                    <a:pt x="828008" y="308631"/>
                    <a:pt x="779769" y="384118"/>
                  </a:cubicBezTo>
                  <a:cubicBezTo>
                    <a:pt x="731660" y="459607"/>
                    <a:pt x="683681" y="448785"/>
                    <a:pt x="654868" y="444613"/>
                  </a:cubicBezTo>
                  <a:cubicBezTo>
                    <a:pt x="626055" y="440441"/>
                    <a:pt x="591505" y="465604"/>
                    <a:pt x="515887" y="439007"/>
                  </a:cubicBezTo>
                  <a:cubicBezTo>
                    <a:pt x="440269" y="412410"/>
                    <a:pt x="445614" y="369386"/>
                    <a:pt x="445614" y="369386"/>
                  </a:cubicBezTo>
                  <a:cubicBezTo>
                    <a:pt x="445614" y="369386"/>
                    <a:pt x="445614" y="369386"/>
                    <a:pt x="419669" y="372254"/>
                  </a:cubicBezTo>
                  <a:cubicBezTo>
                    <a:pt x="405589" y="373819"/>
                    <a:pt x="393724" y="379686"/>
                    <a:pt x="385510" y="384640"/>
                  </a:cubicBezTo>
                  <a:cubicBezTo>
                    <a:pt x="387205" y="394418"/>
                    <a:pt x="387988" y="403936"/>
                    <a:pt x="386684" y="412280"/>
                  </a:cubicBezTo>
                  <a:cubicBezTo>
                    <a:pt x="381730" y="444091"/>
                    <a:pt x="364520" y="460128"/>
                    <a:pt x="364520" y="460128"/>
                  </a:cubicBezTo>
                  <a:cubicBezTo>
                    <a:pt x="364520" y="460128"/>
                    <a:pt x="400634" y="468863"/>
                    <a:pt x="412759" y="484769"/>
                  </a:cubicBezTo>
                  <a:cubicBezTo>
                    <a:pt x="425015" y="500675"/>
                    <a:pt x="429838" y="512017"/>
                    <a:pt x="429838" y="512017"/>
                  </a:cubicBezTo>
                  <a:cubicBezTo>
                    <a:pt x="429838" y="512017"/>
                    <a:pt x="483423" y="465212"/>
                    <a:pt x="564256" y="492070"/>
                  </a:cubicBezTo>
                  <a:cubicBezTo>
                    <a:pt x="645090" y="518928"/>
                    <a:pt x="694894" y="545784"/>
                    <a:pt x="722143" y="609930"/>
                  </a:cubicBezTo>
                  <a:cubicBezTo>
                    <a:pt x="749391" y="674205"/>
                    <a:pt x="770512" y="753865"/>
                    <a:pt x="716666" y="832612"/>
                  </a:cubicBezTo>
                  <a:cubicBezTo>
                    <a:pt x="662561" y="911489"/>
                    <a:pt x="634790" y="907969"/>
                    <a:pt x="606889" y="916574"/>
                  </a:cubicBezTo>
                  <a:cubicBezTo>
                    <a:pt x="578990" y="925179"/>
                    <a:pt x="573383" y="958946"/>
                    <a:pt x="531662" y="956078"/>
                  </a:cubicBezTo>
                  <a:cubicBezTo>
                    <a:pt x="489942" y="953209"/>
                    <a:pt x="421625" y="918530"/>
                    <a:pt x="402720" y="906535"/>
                  </a:cubicBezTo>
                  <a:cubicBezTo>
                    <a:pt x="383815" y="894541"/>
                    <a:pt x="341313" y="900277"/>
                    <a:pt x="314586" y="887761"/>
                  </a:cubicBezTo>
                  <a:cubicBezTo>
                    <a:pt x="287859" y="875375"/>
                    <a:pt x="267781" y="855819"/>
                    <a:pt x="267781" y="855819"/>
                  </a:cubicBezTo>
                  <a:cubicBezTo>
                    <a:pt x="267781" y="855819"/>
                    <a:pt x="211980" y="853993"/>
                    <a:pt x="174822" y="807189"/>
                  </a:cubicBezTo>
                  <a:cubicBezTo>
                    <a:pt x="137665" y="760514"/>
                    <a:pt x="136491" y="752952"/>
                    <a:pt x="107027" y="730919"/>
                  </a:cubicBezTo>
                  <a:cubicBezTo>
                    <a:pt x="77561" y="708755"/>
                    <a:pt x="47836" y="648260"/>
                    <a:pt x="37014" y="609148"/>
                  </a:cubicBezTo>
                  <a:cubicBezTo>
                    <a:pt x="26193" y="570035"/>
                    <a:pt x="9896" y="567688"/>
                    <a:pt x="2204" y="524012"/>
                  </a:cubicBezTo>
                  <a:cubicBezTo>
                    <a:pt x="-5619" y="480336"/>
                    <a:pt x="9505" y="474469"/>
                    <a:pt x="14590" y="457520"/>
                  </a:cubicBezTo>
                  <a:cubicBezTo>
                    <a:pt x="17132" y="449046"/>
                    <a:pt x="13253" y="440213"/>
                    <a:pt x="9880" y="431771"/>
                  </a:cubicBezTo>
                  <a:close/>
                </a:path>
              </a:pathLst>
            </a:custGeom>
            <a:solidFill>
              <a:schemeClr val="accent5">
                <a:alpha val="20000"/>
              </a:schemeClr>
            </a:solid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1" name="Freeform: Shape 38">
              <a:extLst>
                <a:ext uri="{FF2B5EF4-FFF2-40B4-BE49-F238E27FC236}">
                  <a16:creationId xmlns:a16="http://schemas.microsoft.com/office/drawing/2014/main" id="{77ADD5AB-7C75-B4ED-15C7-C63200872C14}"/>
                </a:ext>
              </a:extLst>
            </p:cNvPr>
            <p:cNvSpPr/>
            <p:nvPr/>
          </p:nvSpPr>
          <p:spPr>
            <a:xfrm rot="2178052">
              <a:off x="4018658" y="599530"/>
              <a:ext cx="811337" cy="846750"/>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solidFill>
              <a:schemeClr val="accent5">
                <a:alpha val="20000"/>
              </a:schemeClr>
            </a:solid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2" name="Freeform: Shape 11">
              <a:extLst>
                <a:ext uri="{FF2B5EF4-FFF2-40B4-BE49-F238E27FC236}">
                  <a16:creationId xmlns:a16="http://schemas.microsoft.com/office/drawing/2014/main" id="{560299CA-9418-6EFA-8660-3B14F9289C01}"/>
                </a:ext>
              </a:extLst>
            </p:cNvPr>
            <p:cNvSpPr/>
            <p:nvPr/>
          </p:nvSpPr>
          <p:spPr>
            <a:xfrm rot="2178052">
              <a:off x="4437060" y="-235812"/>
              <a:ext cx="896460" cy="864605"/>
            </a:xfrm>
            <a:custGeom>
              <a:avLst/>
              <a:gdLst>
                <a:gd name="connsiteX0" fmla="*/ 0 w 896460"/>
                <a:gd name="connsiteY0" fmla="*/ 517761 h 864605"/>
                <a:gd name="connsiteX1" fmla="*/ 341535 w 896460"/>
                <a:gd name="connsiteY1" fmla="*/ 266871 h 864605"/>
                <a:gd name="connsiteX2" fmla="*/ 348784 w 896460"/>
                <a:gd name="connsiteY2" fmla="*/ 284936 h 864605"/>
                <a:gd name="connsiteX3" fmla="*/ 355026 w 896460"/>
                <a:gd name="connsiteY3" fmla="*/ 317547 h 864605"/>
                <a:gd name="connsiteX4" fmla="*/ 346682 w 896460"/>
                <a:gd name="connsiteY4" fmla="*/ 367220 h 864605"/>
                <a:gd name="connsiteX5" fmla="*/ 347464 w 896460"/>
                <a:gd name="connsiteY5" fmla="*/ 368654 h 864605"/>
                <a:gd name="connsiteX6" fmla="*/ 364283 w 896460"/>
                <a:gd name="connsiteY6" fmla="*/ 417285 h 864605"/>
                <a:gd name="connsiteX7" fmla="*/ 406394 w 896460"/>
                <a:gd name="connsiteY7" fmla="*/ 437623 h 864605"/>
                <a:gd name="connsiteX8" fmla="*/ 428819 w 896460"/>
                <a:gd name="connsiteY8" fmla="*/ 460048 h 864605"/>
                <a:gd name="connsiteX9" fmla="*/ 449418 w 896460"/>
                <a:gd name="connsiteY9" fmla="*/ 454442 h 864605"/>
                <a:gd name="connsiteX10" fmla="*/ 463368 w 896460"/>
                <a:gd name="connsiteY10" fmla="*/ 442578 h 864605"/>
                <a:gd name="connsiteX11" fmla="*/ 503785 w 896460"/>
                <a:gd name="connsiteY11" fmla="*/ 420674 h 864605"/>
                <a:gd name="connsiteX12" fmla="*/ 481360 w 896460"/>
                <a:gd name="connsiteY12" fmla="*/ 378041 h 864605"/>
                <a:gd name="connsiteX13" fmla="*/ 471451 w 896460"/>
                <a:gd name="connsiteY13" fmla="*/ 303727 h 864605"/>
                <a:gd name="connsiteX14" fmla="*/ 403917 w 896460"/>
                <a:gd name="connsiteY14" fmla="*/ 228892 h 864605"/>
                <a:gd name="connsiteX15" fmla="*/ 401186 w 896460"/>
                <a:gd name="connsiteY15" fmla="*/ 223052 h 864605"/>
                <a:gd name="connsiteX16" fmla="*/ 704824 w 896460"/>
                <a:gd name="connsiteY16" fmla="*/ 0 h 864605"/>
                <a:gd name="connsiteX17" fmla="*/ 720340 w 896460"/>
                <a:gd name="connsiteY17" fmla="*/ 17422 h 864605"/>
                <a:gd name="connsiteX18" fmla="*/ 738593 w 896460"/>
                <a:gd name="connsiteY18" fmla="*/ 29155 h 864605"/>
                <a:gd name="connsiteX19" fmla="*/ 828553 w 896460"/>
                <a:gd name="connsiteY19" fmla="*/ 103861 h 864605"/>
                <a:gd name="connsiteX20" fmla="*/ 862320 w 896460"/>
                <a:gd name="connsiteY20" fmla="*/ 222112 h 864605"/>
                <a:gd name="connsiteX21" fmla="*/ 864015 w 896460"/>
                <a:gd name="connsiteY21" fmla="*/ 246493 h 864605"/>
                <a:gd name="connsiteX22" fmla="*/ 867927 w 896460"/>
                <a:gd name="connsiteY22" fmla="*/ 265136 h 864605"/>
                <a:gd name="connsiteX23" fmla="*/ 878617 w 896460"/>
                <a:gd name="connsiteY23" fmla="*/ 314418 h 864605"/>
                <a:gd name="connsiteX24" fmla="*/ 895957 w 896460"/>
                <a:gd name="connsiteY24" fmla="*/ 402943 h 864605"/>
                <a:gd name="connsiteX25" fmla="*/ 871838 w 896460"/>
                <a:gd name="connsiteY25" fmla="*/ 465394 h 864605"/>
                <a:gd name="connsiteX26" fmla="*/ 843285 w 896460"/>
                <a:gd name="connsiteY26" fmla="*/ 575692 h 864605"/>
                <a:gd name="connsiteX27" fmla="*/ 836114 w 896460"/>
                <a:gd name="connsiteY27" fmla="*/ 586122 h 864605"/>
                <a:gd name="connsiteX28" fmla="*/ 818513 w 896460"/>
                <a:gd name="connsiteY28" fmla="*/ 616499 h 864605"/>
                <a:gd name="connsiteX29" fmla="*/ 808214 w 896460"/>
                <a:gd name="connsiteY29" fmla="*/ 639836 h 864605"/>
                <a:gd name="connsiteX30" fmla="*/ 728163 w 896460"/>
                <a:gd name="connsiteY30" fmla="*/ 712717 h 864605"/>
                <a:gd name="connsiteX31" fmla="*/ 671449 w 896460"/>
                <a:gd name="connsiteY31" fmla="*/ 762520 h 864605"/>
                <a:gd name="connsiteX32" fmla="*/ 590615 w 896460"/>
                <a:gd name="connsiteY32" fmla="*/ 787422 h 864605"/>
                <a:gd name="connsiteX33" fmla="*/ 541594 w 896460"/>
                <a:gd name="connsiteY33" fmla="*/ 814932 h 864605"/>
                <a:gd name="connsiteX34" fmla="*/ 509522 w 896460"/>
                <a:gd name="connsiteY34" fmla="*/ 818322 h 864605"/>
                <a:gd name="connsiteX35" fmla="*/ 426472 w 896460"/>
                <a:gd name="connsiteY35" fmla="*/ 862518 h 864605"/>
                <a:gd name="connsiteX36" fmla="*/ 407307 w 896460"/>
                <a:gd name="connsiteY36" fmla="*/ 864605 h 864605"/>
                <a:gd name="connsiteX37" fmla="*/ 341075 w 896460"/>
                <a:gd name="connsiteY37" fmla="*/ 843354 h 864605"/>
                <a:gd name="connsiteX38" fmla="*/ 326212 w 896460"/>
                <a:gd name="connsiteY38" fmla="*/ 836052 h 864605"/>
                <a:gd name="connsiteX39" fmla="*/ 288534 w 896460"/>
                <a:gd name="connsiteY39" fmla="*/ 832011 h 864605"/>
                <a:gd name="connsiteX40" fmla="*/ 207440 w 896460"/>
                <a:gd name="connsiteY40" fmla="*/ 819233 h 864605"/>
                <a:gd name="connsiteX41" fmla="*/ 78497 w 896460"/>
                <a:gd name="connsiteY41" fmla="*/ 701374 h 864605"/>
                <a:gd name="connsiteX42" fmla="*/ 46164 w 896460"/>
                <a:gd name="connsiteY42" fmla="*/ 607373 h 864605"/>
                <a:gd name="connsiteX43" fmla="*/ 43034 w 896460"/>
                <a:gd name="connsiteY43" fmla="*/ 582471 h 864605"/>
                <a:gd name="connsiteX44" fmla="*/ 40688 w 896460"/>
                <a:gd name="connsiteY44" fmla="*/ 579473 h 864605"/>
                <a:gd name="connsiteX45" fmla="*/ 8697 w 896460"/>
                <a:gd name="connsiteY45" fmla="*/ 534656 h 86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96460" h="864605">
                  <a:moveTo>
                    <a:pt x="0" y="517761"/>
                  </a:moveTo>
                  <a:lnTo>
                    <a:pt x="341535" y="266871"/>
                  </a:lnTo>
                  <a:lnTo>
                    <a:pt x="348784" y="284936"/>
                  </a:lnTo>
                  <a:cubicBezTo>
                    <a:pt x="351277" y="293297"/>
                    <a:pt x="353592" y="304053"/>
                    <a:pt x="355026" y="317547"/>
                  </a:cubicBezTo>
                  <a:cubicBezTo>
                    <a:pt x="357633" y="343231"/>
                    <a:pt x="352157" y="358615"/>
                    <a:pt x="346682" y="367220"/>
                  </a:cubicBezTo>
                  <a:lnTo>
                    <a:pt x="347464" y="368654"/>
                  </a:lnTo>
                  <a:cubicBezTo>
                    <a:pt x="352418" y="377650"/>
                    <a:pt x="359589" y="400858"/>
                    <a:pt x="364283" y="417285"/>
                  </a:cubicBezTo>
                  <a:cubicBezTo>
                    <a:pt x="378233" y="420805"/>
                    <a:pt x="394790" y="426933"/>
                    <a:pt x="406394" y="437623"/>
                  </a:cubicBezTo>
                  <a:cubicBezTo>
                    <a:pt x="416694" y="447010"/>
                    <a:pt x="423995" y="454702"/>
                    <a:pt x="428819" y="460048"/>
                  </a:cubicBezTo>
                  <a:cubicBezTo>
                    <a:pt x="434816" y="457571"/>
                    <a:pt x="442508" y="454963"/>
                    <a:pt x="449418" y="454442"/>
                  </a:cubicBezTo>
                  <a:cubicBezTo>
                    <a:pt x="454503" y="449879"/>
                    <a:pt x="459066" y="445967"/>
                    <a:pt x="463368" y="442578"/>
                  </a:cubicBezTo>
                  <a:cubicBezTo>
                    <a:pt x="473407" y="434625"/>
                    <a:pt x="486966" y="427193"/>
                    <a:pt x="503785" y="420674"/>
                  </a:cubicBezTo>
                  <a:cubicBezTo>
                    <a:pt x="495571" y="407116"/>
                    <a:pt x="486966" y="391471"/>
                    <a:pt x="481360" y="378041"/>
                  </a:cubicBezTo>
                  <a:cubicBezTo>
                    <a:pt x="471191" y="353922"/>
                    <a:pt x="471060" y="318720"/>
                    <a:pt x="471451" y="303727"/>
                  </a:cubicBezTo>
                  <a:cubicBezTo>
                    <a:pt x="458805" y="293558"/>
                    <a:pt x="427775" y="266831"/>
                    <a:pt x="403917" y="228892"/>
                  </a:cubicBezTo>
                  <a:lnTo>
                    <a:pt x="401186" y="223052"/>
                  </a:lnTo>
                  <a:lnTo>
                    <a:pt x="704824" y="0"/>
                  </a:lnTo>
                  <a:lnTo>
                    <a:pt x="720340" y="17422"/>
                  </a:lnTo>
                  <a:cubicBezTo>
                    <a:pt x="722036" y="19638"/>
                    <a:pt x="731162" y="24853"/>
                    <a:pt x="738593" y="29155"/>
                  </a:cubicBezTo>
                  <a:cubicBezTo>
                    <a:pt x="762061" y="42584"/>
                    <a:pt x="797523" y="63053"/>
                    <a:pt x="828553" y="103861"/>
                  </a:cubicBezTo>
                  <a:cubicBezTo>
                    <a:pt x="854106" y="137367"/>
                    <a:pt x="856844" y="165659"/>
                    <a:pt x="862320" y="222112"/>
                  </a:cubicBezTo>
                  <a:cubicBezTo>
                    <a:pt x="863363" y="232803"/>
                    <a:pt x="863754" y="240495"/>
                    <a:pt x="864015" y="246493"/>
                  </a:cubicBezTo>
                  <a:cubicBezTo>
                    <a:pt x="864537" y="258356"/>
                    <a:pt x="864797" y="260051"/>
                    <a:pt x="867927" y="265136"/>
                  </a:cubicBezTo>
                  <a:cubicBezTo>
                    <a:pt x="878095" y="281303"/>
                    <a:pt x="878748" y="305422"/>
                    <a:pt x="878617" y="314418"/>
                  </a:cubicBezTo>
                  <a:cubicBezTo>
                    <a:pt x="883572" y="325630"/>
                    <a:pt x="899477" y="365656"/>
                    <a:pt x="895957" y="402943"/>
                  </a:cubicBezTo>
                  <a:cubicBezTo>
                    <a:pt x="892698" y="436319"/>
                    <a:pt x="878878" y="456919"/>
                    <a:pt x="871838" y="465394"/>
                  </a:cubicBezTo>
                  <a:cubicBezTo>
                    <a:pt x="871447" y="482864"/>
                    <a:pt x="868057" y="539577"/>
                    <a:pt x="843285" y="575692"/>
                  </a:cubicBezTo>
                  <a:lnTo>
                    <a:pt x="836114" y="586122"/>
                  </a:lnTo>
                  <a:cubicBezTo>
                    <a:pt x="823859" y="603984"/>
                    <a:pt x="823859" y="603984"/>
                    <a:pt x="818513" y="616499"/>
                  </a:cubicBezTo>
                  <a:cubicBezTo>
                    <a:pt x="816297" y="621715"/>
                    <a:pt x="813168" y="628885"/>
                    <a:pt x="808214" y="639836"/>
                  </a:cubicBezTo>
                  <a:cubicBezTo>
                    <a:pt x="789049" y="682208"/>
                    <a:pt x="741201" y="706720"/>
                    <a:pt x="728163" y="712717"/>
                  </a:cubicBezTo>
                  <a:cubicBezTo>
                    <a:pt x="722035" y="720279"/>
                    <a:pt x="703913" y="740748"/>
                    <a:pt x="671449" y="762520"/>
                  </a:cubicBezTo>
                  <a:cubicBezTo>
                    <a:pt x="638203" y="785075"/>
                    <a:pt x="603262" y="787422"/>
                    <a:pt x="590615" y="787422"/>
                  </a:cubicBezTo>
                  <a:cubicBezTo>
                    <a:pt x="581750" y="793550"/>
                    <a:pt x="558152" y="809065"/>
                    <a:pt x="541594" y="814932"/>
                  </a:cubicBezTo>
                  <a:cubicBezTo>
                    <a:pt x="529469" y="819103"/>
                    <a:pt x="518257" y="818843"/>
                    <a:pt x="509522" y="818322"/>
                  </a:cubicBezTo>
                  <a:cubicBezTo>
                    <a:pt x="482143" y="842180"/>
                    <a:pt x="447723" y="857825"/>
                    <a:pt x="426472" y="862518"/>
                  </a:cubicBezTo>
                  <a:cubicBezTo>
                    <a:pt x="419953" y="863953"/>
                    <a:pt x="413434" y="864605"/>
                    <a:pt x="407307" y="864605"/>
                  </a:cubicBezTo>
                  <a:cubicBezTo>
                    <a:pt x="379928" y="864605"/>
                    <a:pt x="357112" y="852219"/>
                    <a:pt x="341075" y="843354"/>
                  </a:cubicBezTo>
                  <a:cubicBezTo>
                    <a:pt x="335208" y="840094"/>
                    <a:pt x="329603" y="837095"/>
                    <a:pt x="326212" y="836052"/>
                  </a:cubicBezTo>
                  <a:cubicBezTo>
                    <a:pt x="318520" y="833706"/>
                    <a:pt x="303918" y="832924"/>
                    <a:pt x="288534" y="832011"/>
                  </a:cubicBezTo>
                  <a:cubicBezTo>
                    <a:pt x="263371" y="830577"/>
                    <a:pt x="232080" y="828882"/>
                    <a:pt x="207440" y="819233"/>
                  </a:cubicBezTo>
                  <a:cubicBezTo>
                    <a:pt x="159591" y="800590"/>
                    <a:pt x="121130" y="765389"/>
                    <a:pt x="78497" y="701374"/>
                  </a:cubicBezTo>
                  <a:cubicBezTo>
                    <a:pt x="51248" y="660306"/>
                    <a:pt x="48641" y="633448"/>
                    <a:pt x="46164" y="607373"/>
                  </a:cubicBezTo>
                  <a:cubicBezTo>
                    <a:pt x="45382" y="598898"/>
                    <a:pt x="44599" y="590945"/>
                    <a:pt x="43034" y="582471"/>
                  </a:cubicBezTo>
                  <a:lnTo>
                    <a:pt x="40688" y="579473"/>
                  </a:lnTo>
                  <a:cubicBezTo>
                    <a:pt x="32344" y="569042"/>
                    <a:pt x="20382" y="554147"/>
                    <a:pt x="8697" y="534656"/>
                  </a:cubicBezTo>
                  <a:close/>
                </a:path>
              </a:pathLst>
            </a:custGeom>
            <a:solidFill>
              <a:schemeClr val="accent5">
                <a:alpha val="20000"/>
              </a:schemeClr>
            </a:solid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4" name="Freeform 804">
              <a:extLst>
                <a:ext uri="{FF2B5EF4-FFF2-40B4-BE49-F238E27FC236}">
                  <a16:creationId xmlns:a16="http://schemas.microsoft.com/office/drawing/2014/main" id="{CC277BF0-7E91-3DE1-DEEC-AA51D2493B26}"/>
                </a:ext>
              </a:extLst>
            </p:cNvPr>
            <p:cNvSpPr/>
            <p:nvPr userDrawn="1"/>
          </p:nvSpPr>
          <p:spPr>
            <a:xfrm rot="2446866">
              <a:off x="1632046" y="308867"/>
              <a:ext cx="1252773" cy="581372"/>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solidFill>
              <a:schemeClr val="accent5">
                <a:alpha val="20000"/>
              </a:scheme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5" name="Freeform: Shape 14">
              <a:extLst>
                <a:ext uri="{FF2B5EF4-FFF2-40B4-BE49-F238E27FC236}">
                  <a16:creationId xmlns:a16="http://schemas.microsoft.com/office/drawing/2014/main" id="{3652528C-2C92-14A0-64C0-4BD22DDA77E2}"/>
                </a:ext>
              </a:extLst>
            </p:cNvPr>
            <p:cNvSpPr/>
            <p:nvPr userDrawn="1"/>
          </p:nvSpPr>
          <p:spPr>
            <a:xfrm rot="7810828">
              <a:off x="6121498" y="55300"/>
              <a:ext cx="830632" cy="452973"/>
            </a:xfrm>
            <a:custGeom>
              <a:avLst/>
              <a:gdLst>
                <a:gd name="connsiteX0" fmla="*/ 237757 w 830632"/>
                <a:gd name="connsiteY0" fmla="*/ 452973 h 452973"/>
                <a:gd name="connsiteX1" fmla="*/ 0 w 830632"/>
                <a:gd name="connsiteY1" fmla="*/ 171431 h 452973"/>
                <a:gd name="connsiteX2" fmla="*/ 400522 w 830632"/>
                <a:gd name="connsiteY2" fmla="*/ 91373 h 452973"/>
                <a:gd name="connsiteX3" fmla="*/ 447867 w 830632"/>
                <a:gd name="connsiteY3" fmla="*/ 116410 h 452973"/>
                <a:gd name="connsiteX4" fmla="*/ 483002 w 830632"/>
                <a:gd name="connsiteY4" fmla="*/ 208749 h 452973"/>
                <a:gd name="connsiteX5" fmla="*/ 599632 w 830632"/>
                <a:gd name="connsiteY5" fmla="*/ 95808 h 452973"/>
                <a:gd name="connsiteX6" fmla="*/ 751650 w 830632"/>
                <a:gd name="connsiteY6" fmla="*/ 0 h 452973"/>
                <a:gd name="connsiteX7" fmla="*/ 830632 w 830632"/>
                <a:gd name="connsiteY7" fmla="*/ 355627 h 452973"/>
                <a:gd name="connsiteX8" fmla="*/ 650793 w 830632"/>
                <a:gd name="connsiteY8" fmla="*/ 326186 h 452973"/>
                <a:gd name="connsiteX9" fmla="*/ 496038 w 830632"/>
                <a:gd name="connsiteY9" fmla="*/ 267513 h 452973"/>
                <a:gd name="connsiteX10" fmla="*/ 503162 w 830632"/>
                <a:gd name="connsiteY10" fmla="*/ 365431 h 452973"/>
                <a:gd name="connsiteX11" fmla="*/ 470474 w 830632"/>
                <a:gd name="connsiteY11" fmla="*/ 406457 h 45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632" h="452973">
                  <a:moveTo>
                    <a:pt x="237757" y="452973"/>
                  </a:moveTo>
                  <a:lnTo>
                    <a:pt x="0" y="171431"/>
                  </a:lnTo>
                  <a:lnTo>
                    <a:pt x="400522" y="91373"/>
                  </a:lnTo>
                  <a:cubicBezTo>
                    <a:pt x="420682" y="87361"/>
                    <a:pt x="440872" y="98040"/>
                    <a:pt x="447867" y="116410"/>
                  </a:cubicBezTo>
                  <a:lnTo>
                    <a:pt x="483002" y="208749"/>
                  </a:lnTo>
                  <a:cubicBezTo>
                    <a:pt x="538742" y="197376"/>
                    <a:pt x="553463" y="147632"/>
                    <a:pt x="599632" y="95808"/>
                  </a:cubicBezTo>
                  <a:cubicBezTo>
                    <a:pt x="631524" y="60030"/>
                    <a:pt x="682556" y="13815"/>
                    <a:pt x="751650" y="0"/>
                  </a:cubicBezTo>
                  <a:cubicBezTo>
                    <a:pt x="836197" y="82746"/>
                    <a:pt x="747517" y="282505"/>
                    <a:pt x="830632" y="355627"/>
                  </a:cubicBezTo>
                  <a:cubicBezTo>
                    <a:pt x="761539" y="369444"/>
                    <a:pt x="695180" y="346699"/>
                    <a:pt x="650793" y="326186"/>
                  </a:cubicBezTo>
                  <a:cubicBezTo>
                    <a:pt x="586500" y="296471"/>
                    <a:pt x="551874" y="256592"/>
                    <a:pt x="496038" y="267513"/>
                  </a:cubicBezTo>
                  <a:lnTo>
                    <a:pt x="503162" y="365431"/>
                  </a:lnTo>
                  <a:cubicBezTo>
                    <a:pt x="504592" y="384918"/>
                    <a:pt x="490634" y="402415"/>
                    <a:pt x="470474" y="406457"/>
                  </a:cubicBezTo>
                  <a:close/>
                </a:path>
              </a:pathLst>
            </a:custGeom>
            <a:solidFill>
              <a:schemeClr val="accent5">
                <a:alpha val="20000"/>
              </a:scheme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6" name="Freeform: Shape 15">
              <a:extLst>
                <a:ext uri="{FF2B5EF4-FFF2-40B4-BE49-F238E27FC236}">
                  <a16:creationId xmlns:a16="http://schemas.microsoft.com/office/drawing/2014/main" id="{B3A49C76-278E-8A18-F480-4DE9BC6AA33B}"/>
                </a:ext>
              </a:extLst>
            </p:cNvPr>
            <p:cNvSpPr>
              <a:spLocks noChangeAspect="1"/>
            </p:cNvSpPr>
            <p:nvPr userDrawn="1"/>
          </p:nvSpPr>
          <p:spPr>
            <a:xfrm rot="4135771">
              <a:off x="-471911" y="1291003"/>
              <a:ext cx="1445127" cy="1038064"/>
            </a:xfrm>
            <a:custGeom>
              <a:avLst/>
              <a:gdLst>
                <a:gd name="connsiteX0" fmla="*/ 27721 w 1445127"/>
                <a:gd name="connsiteY0" fmla="*/ 428157 h 1038064"/>
                <a:gd name="connsiteX1" fmla="*/ 81240 w 1445127"/>
                <a:gd name="connsiteY1" fmla="*/ 403987 h 1038064"/>
                <a:gd name="connsiteX2" fmla="*/ 72608 w 1445127"/>
                <a:gd name="connsiteY2" fmla="*/ 347014 h 1038064"/>
                <a:gd name="connsiteX3" fmla="*/ 127854 w 1445127"/>
                <a:gd name="connsiteY3" fmla="*/ 329750 h 1038064"/>
                <a:gd name="connsiteX4" fmla="*/ 127854 w 1445127"/>
                <a:gd name="connsiteY4" fmla="*/ 271051 h 1038064"/>
                <a:gd name="connsiteX5" fmla="*/ 184827 w 1445127"/>
                <a:gd name="connsiteY5" fmla="*/ 260692 h 1038064"/>
                <a:gd name="connsiteX6" fmla="*/ 191732 w 1445127"/>
                <a:gd name="connsiteY6" fmla="*/ 201994 h 1038064"/>
                <a:gd name="connsiteX7" fmla="*/ 250432 w 1445127"/>
                <a:gd name="connsiteY7" fmla="*/ 198540 h 1038064"/>
                <a:gd name="connsiteX8" fmla="*/ 264243 w 1445127"/>
                <a:gd name="connsiteY8" fmla="*/ 141568 h 1038064"/>
                <a:gd name="connsiteX9" fmla="*/ 322942 w 1445127"/>
                <a:gd name="connsiteY9" fmla="*/ 146747 h 1038064"/>
                <a:gd name="connsiteX10" fmla="*/ 343659 w 1445127"/>
                <a:gd name="connsiteY10" fmla="*/ 91502 h 1038064"/>
                <a:gd name="connsiteX11" fmla="*/ 400631 w 1445127"/>
                <a:gd name="connsiteY11" fmla="*/ 103586 h 1038064"/>
                <a:gd name="connsiteX12" fmla="*/ 428255 w 1445127"/>
                <a:gd name="connsiteY12" fmla="*/ 51793 h 1038064"/>
                <a:gd name="connsiteX13" fmla="*/ 481774 w 1445127"/>
                <a:gd name="connsiteY13" fmla="*/ 70784 h 1038064"/>
                <a:gd name="connsiteX14" fmla="*/ 516303 w 1445127"/>
                <a:gd name="connsiteY14" fmla="*/ 22444 h 1038064"/>
                <a:gd name="connsiteX15" fmla="*/ 568096 w 1445127"/>
                <a:gd name="connsiteY15" fmla="*/ 48340 h 1038064"/>
                <a:gd name="connsiteX16" fmla="*/ 607804 w 1445127"/>
                <a:gd name="connsiteY16" fmla="*/ 5179 h 1038064"/>
                <a:gd name="connsiteX17" fmla="*/ 656145 w 1445127"/>
                <a:gd name="connsiteY17" fmla="*/ 37982 h 1038064"/>
                <a:gd name="connsiteX18" fmla="*/ 701032 w 1445127"/>
                <a:gd name="connsiteY18" fmla="*/ 0 h 1038064"/>
                <a:gd name="connsiteX19" fmla="*/ 745919 w 1445127"/>
                <a:gd name="connsiteY19" fmla="*/ 37982 h 1038064"/>
                <a:gd name="connsiteX20" fmla="*/ 794259 w 1445127"/>
                <a:gd name="connsiteY20" fmla="*/ 5179 h 1038064"/>
                <a:gd name="connsiteX21" fmla="*/ 833968 w 1445127"/>
                <a:gd name="connsiteY21" fmla="*/ 48340 h 1038064"/>
                <a:gd name="connsiteX22" fmla="*/ 885761 w 1445127"/>
                <a:gd name="connsiteY22" fmla="*/ 22444 h 1038064"/>
                <a:gd name="connsiteX23" fmla="*/ 920290 w 1445127"/>
                <a:gd name="connsiteY23" fmla="*/ 70784 h 1038064"/>
                <a:gd name="connsiteX24" fmla="*/ 975536 w 1445127"/>
                <a:gd name="connsiteY24" fmla="*/ 51793 h 1038064"/>
                <a:gd name="connsiteX25" fmla="*/ 1003158 w 1445127"/>
                <a:gd name="connsiteY25" fmla="*/ 103586 h 1038064"/>
                <a:gd name="connsiteX26" fmla="*/ 1060131 w 1445127"/>
                <a:gd name="connsiteY26" fmla="*/ 91502 h 1038064"/>
                <a:gd name="connsiteX27" fmla="*/ 1080848 w 1445127"/>
                <a:gd name="connsiteY27" fmla="*/ 146747 h 1038064"/>
                <a:gd name="connsiteX28" fmla="*/ 1139547 w 1445127"/>
                <a:gd name="connsiteY28" fmla="*/ 141568 h 1038064"/>
                <a:gd name="connsiteX29" fmla="*/ 1153358 w 1445127"/>
                <a:gd name="connsiteY29" fmla="*/ 198540 h 1038064"/>
                <a:gd name="connsiteX30" fmla="*/ 1212058 w 1445127"/>
                <a:gd name="connsiteY30" fmla="*/ 201994 h 1038064"/>
                <a:gd name="connsiteX31" fmla="*/ 1218963 w 1445127"/>
                <a:gd name="connsiteY31" fmla="*/ 260692 h 1038064"/>
                <a:gd name="connsiteX32" fmla="*/ 1275936 w 1445127"/>
                <a:gd name="connsiteY32" fmla="*/ 271051 h 1038064"/>
                <a:gd name="connsiteX33" fmla="*/ 1275936 w 1445127"/>
                <a:gd name="connsiteY33" fmla="*/ 329750 h 1038064"/>
                <a:gd name="connsiteX34" fmla="*/ 1331182 w 1445127"/>
                <a:gd name="connsiteY34" fmla="*/ 347014 h 1038064"/>
                <a:gd name="connsiteX35" fmla="*/ 1322550 w 1445127"/>
                <a:gd name="connsiteY35" fmla="*/ 403987 h 1038064"/>
                <a:gd name="connsiteX36" fmla="*/ 1376070 w 1445127"/>
                <a:gd name="connsiteY36" fmla="*/ 428157 h 1038064"/>
                <a:gd name="connsiteX37" fmla="*/ 1360531 w 1445127"/>
                <a:gd name="connsiteY37" fmla="*/ 485129 h 1038064"/>
                <a:gd name="connsiteX38" fmla="*/ 1410598 w 1445127"/>
                <a:gd name="connsiteY38" fmla="*/ 516205 h 1038064"/>
                <a:gd name="connsiteX39" fmla="*/ 1388155 w 1445127"/>
                <a:gd name="connsiteY39" fmla="*/ 569725 h 1038064"/>
                <a:gd name="connsiteX40" fmla="*/ 1433042 w 1445127"/>
                <a:gd name="connsiteY40" fmla="*/ 605980 h 1038064"/>
                <a:gd name="connsiteX41" fmla="*/ 1403692 w 1445127"/>
                <a:gd name="connsiteY41" fmla="*/ 656047 h 1038064"/>
                <a:gd name="connsiteX42" fmla="*/ 1443401 w 1445127"/>
                <a:gd name="connsiteY42" fmla="*/ 697481 h 1038064"/>
                <a:gd name="connsiteX43" fmla="*/ 1408872 w 1445127"/>
                <a:gd name="connsiteY43" fmla="*/ 744095 h 1038064"/>
                <a:gd name="connsiteX44" fmla="*/ 1445127 w 1445127"/>
                <a:gd name="connsiteY44" fmla="*/ 792436 h 1038064"/>
                <a:gd name="connsiteX45" fmla="*/ 1405418 w 1445127"/>
                <a:gd name="connsiteY45" fmla="*/ 833870 h 1038064"/>
                <a:gd name="connsiteX46" fmla="*/ 1434768 w 1445127"/>
                <a:gd name="connsiteY46" fmla="*/ 883937 h 1038064"/>
                <a:gd name="connsiteX47" fmla="*/ 1389881 w 1445127"/>
                <a:gd name="connsiteY47" fmla="*/ 920191 h 1038064"/>
                <a:gd name="connsiteX48" fmla="*/ 1412324 w 1445127"/>
                <a:gd name="connsiteY48" fmla="*/ 973711 h 1038064"/>
                <a:gd name="connsiteX49" fmla="*/ 1362257 w 1445127"/>
                <a:gd name="connsiteY49" fmla="*/ 1004787 h 1038064"/>
                <a:gd name="connsiteX50" fmla="*/ 1370674 w 1445127"/>
                <a:gd name="connsiteY50" fmla="*/ 1033921 h 1038064"/>
                <a:gd name="connsiteX51" fmla="*/ 1372538 w 1445127"/>
                <a:gd name="connsiteY51" fmla="*/ 1038064 h 1038064"/>
                <a:gd name="connsiteX52" fmla="*/ 0 w 1445127"/>
                <a:gd name="connsiteY52" fmla="*/ 509258 h 1038064"/>
                <a:gd name="connsiteX53" fmla="*/ 2472 w 1445127"/>
                <a:gd name="connsiteY53" fmla="*/ 506737 h 1038064"/>
                <a:gd name="connsiteX54" fmla="*/ 43259 w 1445127"/>
                <a:gd name="connsiteY54" fmla="*/ 485130 h 1038064"/>
                <a:gd name="connsiteX55" fmla="*/ 27721 w 1445127"/>
                <a:gd name="connsiteY55" fmla="*/ 428157 h 10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5127" h="1038064">
                  <a:moveTo>
                    <a:pt x="27721" y="428157"/>
                  </a:moveTo>
                  <a:cubicBezTo>
                    <a:pt x="34627" y="414345"/>
                    <a:pt x="74335" y="417798"/>
                    <a:pt x="81240" y="403987"/>
                  </a:cubicBezTo>
                  <a:cubicBezTo>
                    <a:pt x="88146" y="391902"/>
                    <a:pt x="63976" y="359099"/>
                    <a:pt x="72608" y="347014"/>
                  </a:cubicBezTo>
                  <a:cubicBezTo>
                    <a:pt x="79514" y="334929"/>
                    <a:pt x="119222" y="341834"/>
                    <a:pt x="127854" y="329750"/>
                  </a:cubicBezTo>
                  <a:cubicBezTo>
                    <a:pt x="138213" y="317665"/>
                    <a:pt x="117495" y="283136"/>
                    <a:pt x="127854" y="271051"/>
                  </a:cubicBezTo>
                  <a:cubicBezTo>
                    <a:pt x="136486" y="258966"/>
                    <a:pt x="174469" y="271051"/>
                    <a:pt x="184827" y="260692"/>
                  </a:cubicBezTo>
                  <a:cubicBezTo>
                    <a:pt x="195186" y="248607"/>
                    <a:pt x="181374" y="212352"/>
                    <a:pt x="191732" y="201994"/>
                  </a:cubicBezTo>
                  <a:cubicBezTo>
                    <a:pt x="203818" y="191634"/>
                    <a:pt x="238346" y="208899"/>
                    <a:pt x="250432" y="198540"/>
                  </a:cubicBezTo>
                  <a:cubicBezTo>
                    <a:pt x="262517" y="188182"/>
                    <a:pt x="252158" y="150200"/>
                    <a:pt x="264243" y="141568"/>
                  </a:cubicBezTo>
                  <a:cubicBezTo>
                    <a:pt x="276328" y="132936"/>
                    <a:pt x="310857" y="155379"/>
                    <a:pt x="322942" y="146747"/>
                  </a:cubicBezTo>
                  <a:cubicBezTo>
                    <a:pt x="335027" y="138115"/>
                    <a:pt x="329848" y="98407"/>
                    <a:pt x="343659" y="91502"/>
                  </a:cubicBezTo>
                  <a:cubicBezTo>
                    <a:pt x="357470" y="84596"/>
                    <a:pt x="386820" y="110492"/>
                    <a:pt x="400631" y="103586"/>
                  </a:cubicBezTo>
                  <a:cubicBezTo>
                    <a:pt x="414443" y="96681"/>
                    <a:pt x="414443" y="56972"/>
                    <a:pt x="428255" y="51793"/>
                  </a:cubicBezTo>
                  <a:cubicBezTo>
                    <a:pt x="442066" y="46614"/>
                    <a:pt x="467962" y="75963"/>
                    <a:pt x="481774" y="70784"/>
                  </a:cubicBezTo>
                  <a:cubicBezTo>
                    <a:pt x="497312" y="65605"/>
                    <a:pt x="500765" y="25896"/>
                    <a:pt x="516303" y="22444"/>
                  </a:cubicBezTo>
                  <a:cubicBezTo>
                    <a:pt x="530114" y="18991"/>
                    <a:pt x="552558" y="51793"/>
                    <a:pt x="568096" y="48340"/>
                  </a:cubicBezTo>
                  <a:cubicBezTo>
                    <a:pt x="583634" y="44887"/>
                    <a:pt x="592266" y="6906"/>
                    <a:pt x="607804" y="5179"/>
                  </a:cubicBezTo>
                  <a:cubicBezTo>
                    <a:pt x="621616" y="3453"/>
                    <a:pt x="640606" y="39708"/>
                    <a:pt x="656145" y="37982"/>
                  </a:cubicBezTo>
                  <a:cubicBezTo>
                    <a:pt x="671682" y="36255"/>
                    <a:pt x="685494" y="0"/>
                    <a:pt x="701032" y="0"/>
                  </a:cubicBezTo>
                  <a:cubicBezTo>
                    <a:pt x="716570" y="0"/>
                    <a:pt x="730381" y="36255"/>
                    <a:pt x="745919" y="37982"/>
                  </a:cubicBezTo>
                  <a:cubicBezTo>
                    <a:pt x="761458" y="37982"/>
                    <a:pt x="778722" y="3453"/>
                    <a:pt x="794259" y="5179"/>
                  </a:cubicBezTo>
                  <a:cubicBezTo>
                    <a:pt x="809798" y="6906"/>
                    <a:pt x="818429" y="44887"/>
                    <a:pt x="833968" y="48340"/>
                  </a:cubicBezTo>
                  <a:cubicBezTo>
                    <a:pt x="847779" y="50067"/>
                    <a:pt x="871950" y="18991"/>
                    <a:pt x="885761" y="22444"/>
                  </a:cubicBezTo>
                  <a:cubicBezTo>
                    <a:pt x="901299" y="27623"/>
                    <a:pt x="906478" y="65605"/>
                    <a:pt x="920290" y="70784"/>
                  </a:cubicBezTo>
                  <a:cubicBezTo>
                    <a:pt x="934101" y="75963"/>
                    <a:pt x="961724" y="46614"/>
                    <a:pt x="975536" y="51793"/>
                  </a:cubicBezTo>
                  <a:cubicBezTo>
                    <a:pt x="989347" y="56972"/>
                    <a:pt x="989347" y="96681"/>
                    <a:pt x="1003158" y="103586"/>
                  </a:cubicBezTo>
                  <a:cubicBezTo>
                    <a:pt x="1016970" y="110492"/>
                    <a:pt x="1046319" y="84596"/>
                    <a:pt x="1060131" y="91502"/>
                  </a:cubicBezTo>
                  <a:cubicBezTo>
                    <a:pt x="1073943" y="100133"/>
                    <a:pt x="1068763" y="138115"/>
                    <a:pt x="1080848" y="146747"/>
                  </a:cubicBezTo>
                  <a:cubicBezTo>
                    <a:pt x="1092934" y="155379"/>
                    <a:pt x="1127462" y="132936"/>
                    <a:pt x="1139547" y="141568"/>
                  </a:cubicBezTo>
                  <a:cubicBezTo>
                    <a:pt x="1151632" y="150200"/>
                    <a:pt x="1141273" y="188182"/>
                    <a:pt x="1153358" y="198540"/>
                  </a:cubicBezTo>
                  <a:cubicBezTo>
                    <a:pt x="1165443" y="208899"/>
                    <a:pt x="1201699" y="191634"/>
                    <a:pt x="1212058" y="201994"/>
                  </a:cubicBezTo>
                  <a:cubicBezTo>
                    <a:pt x="1224143" y="212352"/>
                    <a:pt x="1208605" y="250334"/>
                    <a:pt x="1218963" y="260692"/>
                  </a:cubicBezTo>
                  <a:cubicBezTo>
                    <a:pt x="1229322" y="272777"/>
                    <a:pt x="1265578" y="258966"/>
                    <a:pt x="1275936" y="271051"/>
                  </a:cubicBezTo>
                  <a:cubicBezTo>
                    <a:pt x="1286294" y="283136"/>
                    <a:pt x="1267304" y="317665"/>
                    <a:pt x="1275936" y="329750"/>
                  </a:cubicBezTo>
                  <a:cubicBezTo>
                    <a:pt x="1284568" y="341834"/>
                    <a:pt x="1322550" y="334929"/>
                    <a:pt x="1331182" y="347014"/>
                  </a:cubicBezTo>
                  <a:cubicBezTo>
                    <a:pt x="1338087" y="359099"/>
                    <a:pt x="1315644" y="390175"/>
                    <a:pt x="1322550" y="403987"/>
                  </a:cubicBezTo>
                  <a:cubicBezTo>
                    <a:pt x="1329455" y="417798"/>
                    <a:pt x="1369163" y="414345"/>
                    <a:pt x="1376070" y="428157"/>
                  </a:cubicBezTo>
                  <a:cubicBezTo>
                    <a:pt x="1382975" y="441969"/>
                    <a:pt x="1355352" y="471318"/>
                    <a:pt x="1360531" y="485129"/>
                  </a:cubicBezTo>
                  <a:cubicBezTo>
                    <a:pt x="1365711" y="498941"/>
                    <a:pt x="1405418" y="502394"/>
                    <a:pt x="1410598" y="516205"/>
                  </a:cubicBezTo>
                  <a:cubicBezTo>
                    <a:pt x="1415777" y="530017"/>
                    <a:pt x="1384702" y="554187"/>
                    <a:pt x="1388155" y="569725"/>
                  </a:cubicBezTo>
                  <a:cubicBezTo>
                    <a:pt x="1391607" y="583537"/>
                    <a:pt x="1429589" y="590442"/>
                    <a:pt x="1433042" y="605980"/>
                  </a:cubicBezTo>
                  <a:cubicBezTo>
                    <a:pt x="1434768" y="619792"/>
                    <a:pt x="1401966" y="640509"/>
                    <a:pt x="1403692" y="656047"/>
                  </a:cubicBezTo>
                  <a:cubicBezTo>
                    <a:pt x="1405418" y="669859"/>
                    <a:pt x="1441674" y="681943"/>
                    <a:pt x="1443401" y="697481"/>
                  </a:cubicBezTo>
                  <a:cubicBezTo>
                    <a:pt x="1445127" y="713019"/>
                    <a:pt x="1408872" y="728557"/>
                    <a:pt x="1408872" y="744095"/>
                  </a:cubicBezTo>
                  <a:cubicBezTo>
                    <a:pt x="1408872" y="759633"/>
                    <a:pt x="1445127" y="775171"/>
                    <a:pt x="1445127" y="792436"/>
                  </a:cubicBezTo>
                  <a:cubicBezTo>
                    <a:pt x="1445127" y="806247"/>
                    <a:pt x="1407145" y="818332"/>
                    <a:pt x="1405418" y="833870"/>
                  </a:cubicBezTo>
                  <a:cubicBezTo>
                    <a:pt x="1403692" y="847682"/>
                    <a:pt x="1438221" y="868399"/>
                    <a:pt x="1434768" y="883937"/>
                  </a:cubicBezTo>
                  <a:cubicBezTo>
                    <a:pt x="1433042" y="897748"/>
                    <a:pt x="1393334" y="906380"/>
                    <a:pt x="1389881" y="920191"/>
                  </a:cubicBezTo>
                  <a:cubicBezTo>
                    <a:pt x="1386428" y="934004"/>
                    <a:pt x="1417504" y="959900"/>
                    <a:pt x="1412324" y="973711"/>
                  </a:cubicBezTo>
                  <a:cubicBezTo>
                    <a:pt x="1407145" y="989250"/>
                    <a:pt x="1367437" y="990976"/>
                    <a:pt x="1362257" y="1004787"/>
                  </a:cubicBezTo>
                  <a:cubicBezTo>
                    <a:pt x="1359668" y="1012556"/>
                    <a:pt x="1365279" y="1023347"/>
                    <a:pt x="1370674" y="1033921"/>
                  </a:cubicBezTo>
                  <a:lnTo>
                    <a:pt x="1372538" y="1038064"/>
                  </a:lnTo>
                  <a:lnTo>
                    <a:pt x="0" y="509258"/>
                  </a:lnTo>
                  <a:lnTo>
                    <a:pt x="2472" y="506737"/>
                  </a:lnTo>
                  <a:cubicBezTo>
                    <a:pt x="16067" y="499049"/>
                    <a:pt x="39374" y="495488"/>
                    <a:pt x="43259" y="485130"/>
                  </a:cubicBezTo>
                  <a:cubicBezTo>
                    <a:pt x="48438" y="469591"/>
                    <a:pt x="20815" y="441969"/>
                    <a:pt x="27721" y="428157"/>
                  </a:cubicBezTo>
                  <a:close/>
                </a:path>
              </a:pathLst>
            </a:custGeom>
            <a:solidFill>
              <a:schemeClr val="accent5">
                <a:alpha val="20000"/>
              </a:schemeClr>
            </a:solidFill>
            <a:ln w="22151" cap="flat">
              <a:noFill/>
              <a:prstDash val="solid"/>
              <a:miter/>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a:ln>
                  <a:noFill/>
                </a:ln>
                <a:solidFill>
                  <a:srgbClr val="FFFFFF"/>
                </a:solidFill>
                <a:effectLst/>
                <a:uLnTx/>
                <a:uFillTx/>
                <a:latin typeface="TT Norms Pro" panose="02000503030000020003" pitchFamily="2" charset="0"/>
                <a:ea typeface="+mn-ea"/>
                <a:cs typeface="+mn-cs"/>
              </a:endParaRPr>
            </a:p>
          </p:txBody>
        </p:sp>
        <p:pic>
          <p:nvPicPr>
            <p:cNvPr id="18" name="Graphic 17">
              <a:extLst>
                <a:ext uri="{FF2B5EF4-FFF2-40B4-BE49-F238E27FC236}">
                  <a16:creationId xmlns:a16="http://schemas.microsoft.com/office/drawing/2014/main" id="{D79FF8B1-64FE-962A-4D8F-5602E588D78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4912638">
              <a:off x="9604866" y="377227"/>
              <a:ext cx="611416" cy="679936"/>
            </a:xfrm>
            <a:prstGeom prst="rect">
              <a:avLst/>
            </a:prstGeom>
          </p:spPr>
        </p:pic>
        <p:pic>
          <p:nvPicPr>
            <p:cNvPr id="20" name="Graphic 19">
              <a:extLst>
                <a:ext uri="{FF2B5EF4-FFF2-40B4-BE49-F238E27FC236}">
                  <a16:creationId xmlns:a16="http://schemas.microsoft.com/office/drawing/2014/main" id="{0BD56C7E-A2B0-F3AB-98FE-AE62D971E34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4912638">
              <a:off x="10384833" y="250098"/>
              <a:ext cx="611416" cy="679936"/>
            </a:xfrm>
            <a:prstGeom prst="rect">
              <a:avLst/>
            </a:prstGeom>
          </p:spPr>
        </p:pic>
        <p:pic>
          <p:nvPicPr>
            <p:cNvPr id="22" name="Graphic 21">
              <a:extLst>
                <a:ext uri="{FF2B5EF4-FFF2-40B4-BE49-F238E27FC236}">
                  <a16:creationId xmlns:a16="http://schemas.microsoft.com/office/drawing/2014/main" id="{C764908A-689A-9046-C24D-EA2E23EA4E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9912"/>
            <a:stretch>
              <a:fillRect/>
            </a:stretch>
          </p:blipFill>
          <p:spPr>
            <a:xfrm rot="14912638">
              <a:off x="10094824" y="-264909"/>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sp>
          <p:nvSpPr>
            <p:cNvPr id="24" name="Freeform: Shape 23">
              <a:extLst>
                <a:ext uri="{FF2B5EF4-FFF2-40B4-BE49-F238E27FC236}">
                  <a16:creationId xmlns:a16="http://schemas.microsoft.com/office/drawing/2014/main" id="{F2915082-EB57-5114-2B34-F33C7B2888B9}"/>
                </a:ext>
              </a:extLst>
            </p:cNvPr>
            <p:cNvSpPr/>
            <p:nvPr userDrawn="1"/>
          </p:nvSpPr>
          <p:spPr>
            <a:xfrm rot="19394395">
              <a:off x="302036" y="-179531"/>
              <a:ext cx="306159" cy="1283212"/>
            </a:xfrm>
            <a:custGeom>
              <a:avLst/>
              <a:gdLst>
                <a:gd name="connsiteX0" fmla="*/ 66280 w 306159"/>
                <a:gd name="connsiteY0" fmla="*/ 0 h 1283212"/>
                <a:gd name="connsiteX1" fmla="*/ 72368 w 306159"/>
                <a:gd name="connsiteY1" fmla="*/ 4547 h 1283212"/>
                <a:gd name="connsiteX2" fmla="*/ 55892 w 306159"/>
                <a:gd name="connsiteY2" fmla="*/ 30957 h 1283212"/>
                <a:gd name="connsiteX3" fmla="*/ 37819 w 306159"/>
                <a:gd name="connsiteY3" fmla="*/ 67070 h 1283212"/>
                <a:gd name="connsiteX4" fmla="*/ 28388 w 306159"/>
                <a:gd name="connsiteY4" fmla="*/ 135780 h 1283212"/>
                <a:gd name="connsiteX5" fmla="*/ 60723 w 306159"/>
                <a:gd name="connsiteY5" fmla="*/ 69090 h 1283212"/>
                <a:gd name="connsiteX6" fmla="*/ 89352 w 306159"/>
                <a:gd name="connsiteY6" fmla="*/ 31872 h 1283212"/>
                <a:gd name="connsiteX7" fmla="*/ 95581 w 306159"/>
                <a:gd name="connsiteY7" fmla="*/ 21888 h 1283212"/>
                <a:gd name="connsiteX8" fmla="*/ 144709 w 306159"/>
                <a:gd name="connsiteY8" fmla="*/ 58587 h 1283212"/>
                <a:gd name="connsiteX9" fmla="*/ 165726 w 306159"/>
                <a:gd name="connsiteY9" fmla="*/ 123486 h 1283212"/>
                <a:gd name="connsiteX10" fmla="*/ 206901 w 306159"/>
                <a:gd name="connsiteY10" fmla="*/ 304862 h 1283212"/>
                <a:gd name="connsiteX11" fmla="*/ 200838 w 306159"/>
                <a:gd name="connsiteY11" fmla="*/ 519077 h 1283212"/>
                <a:gd name="connsiteX12" fmla="*/ 236541 w 306159"/>
                <a:gd name="connsiteY12" fmla="*/ 742050 h 1283212"/>
                <a:gd name="connsiteX13" fmla="*/ 262139 w 306159"/>
                <a:gd name="connsiteY13" fmla="*/ 960307 h 1283212"/>
                <a:gd name="connsiteX14" fmla="*/ 262139 w 306159"/>
                <a:gd name="connsiteY14" fmla="*/ 963001 h 1283212"/>
                <a:gd name="connsiteX15" fmla="*/ 261465 w 306159"/>
                <a:gd name="connsiteY15" fmla="*/ 983210 h 1283212"/>
                <a:gd name="connsiteX16" fmla="*/ 254729 w 306159"/>
                <a:gd name="connsiteY16" fmla="*/ 1013523 h 1283212"/>
                <a:gd name="connsiteX17" fmla="*/ 196796 w 306159"/>
                <a:gd name="connsiteY17" fmla="*/ 1101770 h 1283212"/>
                <a:gd name="connsiteX18" fmla="*/ 148969 w 306159"/>
                <a:gd name="connsiteY18" fmla="*/ 1199446 h 1283212"/>
                <a:gd name="connsiteX19" fmla="*/ 216332 w 306159"/>
                <a:gd name="connsiteY19" fmla="*/ 1133430 h 1283212"/>
                <a:gd name="connsiteX20" fmla="*/ 252034 w 306159"/>
                <a:gd name="connsiteY20" fmla="*/ 1093686 h 1283212"/>
                <a:gd name="connsiteX21" fmla="*/ 251361 w 306159"/>
                <a:gd name="connsiteY21" fmla="*/ 1096381 h 1283212"/>
                <a:gd name="connsiteX22" fmla="*/ 250687 w 306159"/>
                <a:gd name="connsiteY22" fmla="*/ 1100422 h 1283212"/>
                <a:gd name="connsiteX23" fmla="*/ 251361 w 306159"/>
                <a:gd name="connsiteY23" fmla="*/ 1097728 h 1283212"/>
                <a:gd name="connsiteX24" fmla="*/ 302557 w 306159"/>
                <a:gd name="connsiteY24" fmla="*/ 1245253 h 1283212"/>
                <a:gd name="connsiteX25" fmla="*/ 148295 w 306159"/>
                <a:gd name="connsiteY25" fmla="*/ 1282303 h 1283212"/>
                <a:gd name="connsiteX26" fmla="*/ 128086 w 306159"/>
                <a:gd name="connsiteY26" fmla="*/ 1225044 h 1283212"/>
                <a:gd name="connsiteX27" fmla="*/ 47924 w 306159"/>
                <a:gd name="connsiteY27" fmla="*/ 972432 h 1283212"/>
                <a:gd name="connsiteX28" fmla="*/ 47250 w 306159"/>
                <a:gd name="connsiteY28" fmla="*/ 901700 h 1283212"/>
                <a:gd name="connsiteX29" fmla="*/ 53986 w 306159"/>
                <a:gd name="connsiteY29" fmla="*/ 849157 h 1283212"/>
                <a:gd name="connsiteX30" fmla="*/ 150316 w 306159"/>
                <a:gd name="connsiteY30" fmla="*/ 620796 h 1283212"/>
                <a:gd name="connsiteX31" fmla="*/ 173893 w 306159"/>
                <a:gd name="connsiteY31" fmla="*/ 563537 h 1283212"/>
                <a:gd name="connsiteX32" fmla="*/ 89689 w 306159"/>
                <a:gd name="connsiteY32" fmla="*/ 650436 h 1283212"/>
                <a:gd name="connsiteX33" fmla="*/ 58702 w 306159"/>
                <a:gd name="connsiteY33" fmla="*/ 700285 h 1283212"/>
                <a:gd name="connsiteX34" fmla="*/ 58702 w 306159"/>
                <a:gd name="connsiteY34" fmla="*/ 699611 h 1283212"/>
                <a:gd name="connsiteX35" fmla="*/ 2117 w 306159"/>
                <a:gd name="connsiteY35" fmla="*/ 369531 h 1283212"/>
                <a:gd name="connsiteX36" fmla="*/ 7043 w 306159"/>
                <a:gd name="connsiteY36" fmla="*/ 151084 h 1283212"/>
                <a:gd name="connsiteX37" fmla="*/ 690 w 306159"/>
                <a:gd name="connsiteY37" fmla="*/ 87804 h 12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6159" h="1283212">
                  <a:moveTo>
                    <a:pt x="66280" y="0"/>
                  </a:moveTo>
                  <a:lnTo>
                    <a:pt x="72368" y="4547"/>
                  </a:lnTo>
                  <a:lnTo>
                    <a:pt x="55892" y="30957"/>
                  </a:lnTo>
                  <a:cubicBezTo>
                    <a:pt x="49145" y="42145"/>
                    <a:pt x="42872" y="53766"/>
                    <a:pt x="37819" y="67070"/>
                  </a:cubicBezTo>
                  <a:cubicBezTo>
                    <a:pt x="25694" y="98057"/>
                    <a:pt x="28388" y="135780"/>
                    <a:pt x="28388" y="135780"/>
                  </a:cubicBezTo>
                  <a:cubicBezTo>
                    <a:pt x="28388" y="135780"/>
                    <a:pt x="27041" y="118939"/>
                    <a:pt x="60723" y="69090"/>
                  </a:cubicBezTo>
                  <a:cubicBezTo>
                    <a:pt x="67796" y="58312"/>
                    <a:pt x="78237" y="46355"/>
                    <a:pt x="89352" y="31872"/>
                  </a:cubicBezTo>
                  <a:lnTo>
                    <a:pt x="95581" y="21888"/>
                  </a:lnTo>
                  <a:lnTo>
                    <a:pt x="144709" y="58587"/>
                  </a:lnTo>
                  <a:lnTo>
                    <a:pt x="165726" y="123486"/>
                  </a:lnTo>
                  <a:cubicBezTo>
                    <a:pt x="184335" y="183777"/>
                    <a:pt x="202860" y="252656"/>
                    <a:pt x="206901" y="304862"/>
                  </a:cubicBezTo>
                  <a:cubicBezTo>
                    <a:pt x="214985" y="409275"/>
                    <a:pt x="210269" y="484048"/>
                    <a:pt x="200838" y="519077"/>
                  </a:cubicBezTo>
                  <a:cubicBezTo>
                    <a:pt x="191407" y="554106"/>
                    <a:pt x="212290" y="686138"/>
                    <a:pt x="236541" y="742050"/>
                  </a:cubicBezTo>
                  <a:cubicBezTo>
                    <a:pt x="252708" y="779099"/>
                    <a:pt x="262812" y="868693"/>
                    <a:pt x="262139" y="960307"/>
                  </a:cubicBezTo>
                  <a:cubicBezTo>
                    <a:pt x="262139" y="960307"/>
                    <a:pt x="262139" y="961654"/>
                    <a:pt x="262139" y="963001"/>
                  </a:cubicBezTo>
                  <a:cubicBezTo>
                    <a:pt x="261465" y="969738"/>
                    <a:pt x="261465" y="976474"/>
                    <a:pt x="261465" y="983210"/>
                  </a:cubicBezTo>
                  <a:cubicBezTo>
                    <a:pt x="260792" y="991967"/>
                    <a:pt x="258771" y="1002745"/>
                    <a:pt x="254729" y="1013523"/>
                  </a:cubicBezTo>
                  <a:cubicBezTo>
                    <a:pt x="244625" y="1041143"/>
                    <a:pt x="221047" y="1070109"/>
                    <a:pt x="196796" y="1101770"/>
                  </a:cubicBezTo>
                  <a:cubicBezTo>
                    <a:pt x="137517" y="1179911"/>
                    <a:pt x="148969" y="1199446"/>
                    <a:pt x="148969" y="1199446"/>
                  </a:cubicBezTo>
                  <a:cubicBezTo>
                    <a:pt x="148969" y="1199446"/>
                    <a:pt x="174567" y="1163744"/>
                    <a:pt x="216332" y="1133430"/>
                  </a:cubicBezTo>
                  <a:cubicBezTo>
                    <a:pt x="227784" y="1125346"/>
                    <a:pt x="239909" y="1111200"/>
                    <a:pt x="252034" y="1093686"/>
                  </a:cubicBezTo>
                  <a:cubicBezTo>
                    <a:pt x="251361" y="1095033"/>
                    <a:pt x="251361" y="1095707"/>
                    <a:pt x="251361" y="1096381"/>
                  </a:cubicBezTo>
                  <a:cubicBezTo>
                    <a:pt x="251361" y="1097728"/>
                    <a:pt x="250687" y="1099075"/>
                    <a:pt x="250687" y="1100422"/>
                  </a:cubicBezTo>
                  <a:cubicBezTo>
                    <a:pt x="251361" y="1098401"/>
                    <a:pt x="251361" y="1097728"/>
                    <a:pt x="251361" y="1097728"/>
                  </a:cubicBezTo>
                  <a:cubicBezTo>
                    <a:pt x="251361" y="1097728"/>
                    <a:pt x="322766" y="1216287"/>
                    <a:pt x="302557" y="1245253"/>
                  </a:cubicBezTo>
                  <a:cubicBezTo>
                    <a:pt x="290432" y="1262768"/>
                    <a:pt x="165136" y="1288366"/>
                    <a:pt x="148295" y="1282303"/>
                  </a:cubicBezTo>
                  <a:cubicBezTo>
                    <a:pt x="113266" y="1268831"/>
                    <a:pt x="128086" y="1225044"/>
                    <a:pt x="128086" y="1225044"/>
                  </a:cubicBezTo>
                  <a:cubicBezTo>
                    <a:pt x="128086" y="1225044"/>
                    <a:pt x="57355" y="1049226"/>
                    <a:pt x="47924" y="972432"/>
                  </a:cubicBezTo>
                  <a:cubicBezTo>
                    <a:pt x="45903" y="953570"/>
                    <a:pt x="45903" y="928646"/>
                    <a:pt x="47250" y="901700"/>
                  </a:cubicBezTo>
                  <a:cubicBezTo>
                    <a:pt x="48597" y="884860"/>
                    <a:pt x="51292" y="867346"/>
                    <a:pt x="53986" y="849157"/>
                  </a:cubicBezTo>
                  <a:cubicBezTo>
                    <a:pt x="75543" y="712410"/>
                    <a:pt x="122697" y="655825"/>
                    <a:pt x="150316" y="620796"/>
                  </a:cubicBezTo>
                  <a:cubicBezTo>
                    <a:pt x="183324" y="578357"/>
                    <a:pt x="173893" y="563537"/>
                    <a:pt x="173893" y="563537"/>
                  </a:cubicBezTo>
                  <a:cubicBezTo>
                    <a:pt x="173893" y="563537"/>
                    <a:pt x="143580" y="593177"/>
                    <a:pt x="89689" y="650436"/>
                  </a:cubicBezTo>
                  <a:cubicBezTo>
                    <a:pt x="76217" y="664582"/>
                    <a:pt x="66112" y="682096"/>
                    <a:pt x="58702" y="700285"/>
                  </a:cubicBezTo>
                  <a:cubicBezTo>
                    <a:pt x="58702" y="700285"/>
                    <a:pt x="58702" y="699611"/>
                    <a:pt x="58702" y="699611"/>
                  </a:cubicBezTo>
                  <a:cubicBezTo>
                    <a:pt x="33777" y="616754"/>
                    <a:pt x="11548" y="471923"/>
                    <a:pt x="2117" y="369531"/>
                  </a:cubicBezTo>
                  <a:cubicBezTo>
                    <a:pt x="-4956" y="292736"/>
                    <a:pt x="8053" y="220868"/>
                    <a:pt x="7043" y="151084"/>
                  </a:cubicBezTo>
                  <a:lnTo>
                    <a:pt x="690" y="87804"/>
                  </a:lnTo>
                  <a:close/>
                </a:path>
              </a:pathLst>
            </a:custGeom>
            <a:solidFill>
              <a:schemeClr val="accent5">
                <a:alpha val="20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26" name="Freeform: Shape 25">
              <a:extLst>
                <a:ext uri="{FF2B5EF4-FFF2-40B4-BE49-F238E27FC236}">
                  <a16:creationId xmlns:a16="http://schemas.microsoft.com/office/drawing/2014/main" id="{9D049FE1-D41E-9631-73B1-E29F1E35B1D2}"/>
                </a:ext>
              </a:extLst>
            </p:cNvPr>
            <p:cNvSpPr/>
            <p:nvPr userDrawn="1"/>
          </p:nvSpPr>
          <p:spPr>
            <a:xfrm rot="19394395">
              <a:off x="694905" y="-54825"/>
              <a:ext cx="354168" cy="638032"/>
            </a:xfrm>
            <a:custGeom>
              <a:avLst/>
              <a:gdLst>
                <a:gd name="connsiteX0" fmla="*/ 191474 w 354168"/>
                <a:gd name="connsiteY0" fmla="*/ 0 h 638032"/>
                <a:gd name="connsiteX1" fmla="*/ 354168 w 354168"/>
                <a:gd name="connsiteY1" fmla="*/ 121534 h 638032"/>
                <a:gd name="connsiteX2" fmla="*/ 353651 w 354168"/>
                <a:gd name="connsiteY2" fmla="*/ 124462 h 638032"/>
                <a:gd name="connsiteX3" fmla="*/ 335326 w 354168"/>
                <a:gd name="connsiteY3" fmla="*/ 187320 h 638032"/>
                <a:gd name="connsiteX4" fmla="*/ 234955 w 354168"/>
                <a:gd name="connsiteY4" fmla="*/ 397494 h 638032"/>
                <a:gd name="connsiteX5" fmla="*/ 216766 w 354168"/>
                <a:gd name="connsiteY5" fmla="*/ 560513 h 638032"/>
                <a:gd name="connsiteX6" fmla="*/ 162876 w 354168"/>
                <a:gd name="connsiteY6" fmla="*/ 637980 h 638032"/>
                <a:gd name="connsiteX7" fmla="*/ 9961 w 354168"/>
                <a:gd name="connsiteY7" fmla="*/ 583416 h 638032"/>
                <a:gd name="connsiteX8" fmla="*/ 20065 w 354168"/>
                <a:gd name="connsiteY8" fmla="*/ 503254 h 638032"/>
                <a:gd name="connsiteX9" fmla="*/ 72609 w 354168"/>
                <a:gd name="connsiteY9" fmla="*/ 373242 h 638032"/>
                <a:gd name="connsiteX10" fmla="*/ 144688 w 354168"/>
                <a:gd name="connsiteY10" fmla="*/ 219655 h 638032"/>
                <a:gd name="connsiteX11" fmla="*/ 144688 w 354168"/>
                <a:gd name="connsiteY11" fmla="*/ 212244 h 638032"/>
                <a:gd name="connsiteX12" fmla="*/ 194537 w 354168"/>
                <a:gd name="connsiteY12" fmla="*/ 303185 h 638032"/>
                <a:gd name="connsiteX13" fmla="*/ 225524 w 354168"/>
                <a:gd name="connsiteY13" fmla="*/ 370548 h 638032"/>
                <a:gd name="connsiteX14" fmla="*/ 226871 w 354168"/>
                <a:gd name="connsiteY14" fmla="*/ 371896 h 638032"/>
                <a:gd name="connsiteX15" fmla="*/ 221482 w 354168"/>
                <a:gd name="connsiteY15" fmla="*/ 300491 h 638032"/>
                <a:gd name="connsiteX16" fmla="*/ 176348 w 354168"/>
                <a:gd name="connsiteY16" fmla="*/ 164416 h 638032"/>
                <a:gd name="connsiteX17" fmla="*/ 180390 w 354168"/>
                <a:gd name="connsiteY17" fmla="*/ 33732 h 63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68" h="638032">
                  <a:moveTo>
                    <a:pt x="191474" y="0"/>
                  </a:moveTo>
                  <a:lnTo>
                    <a:pt x="354168" y="121534"/>
                  </a:lnTo>
                  <a:lnTo>
                    <a:pt x="353651" y="124462"/>
                  </a:lnTo>
                  <a:cubicBezTo>
                    <a:pt x="349472" y="142145"/>
                    <a:pt x="343578" y="162733"/>
                    <a:pt x="335326" y="187320"/>
                  </a:cubicBezTo>
                  <a:cubicBezTo>
                    <a:pt x="317811" y="238516"/>
                    <a:pt x="286824" y="337540"/>
                    <a:pt x="234955" y="397494"/>
                  </a:cubicBezTo>
                  <a:cubicBezTo>
                    <a:pt x="234281" y="415008"/>
                    <a:pt x="232934" y="500559"/>
                    <a:pt x="216766" y="560513"/>
                  </a:cubicBezTo>
                  <a:cubicBezTo>
                    <a:pt x="199252" y="625182"/>
                    <a:pt x="188474" y="637307"/>
                    <a:pt x="162876" y="637980"/>
                  </a:cubicBezTo>
                  <a:cubicBezTo>
                    <a:pt x="129868" y="639328"/>
                    <a:pt x="30844" y="614404"/>
                    <a:pt x="9961" y="583416"/>
                  </a:cubicBezTo>
                  <a:cubicBezTo>
                    <a:pt x="-10922" y="552429"/>
                    <a:pt x="5246" y="536262"/>
                    <a:pt x="20065" y="503254"/>
                  </a:cubicBezTo>
                  <a:cubicBezTo>
                    <a:pt x="34885" y="470919"/>
                    <a:pt x="65872" y="392778"/>
                    <a:pt x="72609" y="373242"/>
                  </a:cubicBezTo>
                  <a:cubicBezTo>
                    <a:pt x="98881" y="301838"/>
                    <a:pt x="144688" y="219655"/>
                    <a:pt x="144688" y="219655"/>
                  </a:cubicBezTo>
                  <a:cubicBezTo>
                    <a:pt x="144688" y="216960"/>
                    <a:pt x="144688" y="214939"/>
                    <a:pt x="144688" y="212244"/>
                  </a:cubicBezTo>
                  <a:cubicBezTo>
                    <a:pt x="161528" y="249968"/>
                    <a:pt x="179717" y="279608"/>
                    <a:pt x="194537" y="303185"/>
                  </a:cubicBezTo>
                  <a:cubicBezTo>
                    <a:pt x="219461" y="342256"/>
                    <a:pt x="218788" y="359770"/>
                    <a:pt x="225524" y="370548"/>
                  </a:cubicBezTo>
                  <a:cubicBezTo>
                    <a:pt x="226197" y="371222"/>
                    <a:pt x="226197" y="371896"/>
                    <a:pt x="226871" y="371896"/>
                  </a:cubicBezTo>
                  <a:cubicBezTo>
                    <a:pt x="231586" y="374590"/>
                    <a:pt x="228218" y="336193"/>
                    <a:pt x="221482" y="300491"/>
                  </a:cubicBezTo>
                  <a:cubicBezTo>
                    <a:pt x="213399" y="261420"/>
                    <a:pt x="187126" y="229086"/>
                    <a:pt x="176348" y="164416"/>
                  </a:cubicBezTo>
                  <a:cubicBezTo>
                    <a:pt x="168939" y="119283"/>
                    <a:pt x="172307" y="73476"/>
                    <a:pt x="180390" y="33732"/>
                  </a:cubicBezTo>
                  <a:close/>
                </a:path>
              </a:pathLst>
            </a:custGeom>
            <a:solidFill>
              <a:schemeClr val="accent5">
                <a:alpha val="20000"/>
              </a:schemeClr>
            </a:solidFill>
            <a:ln w="9525" cap="flat">
              <a:noFill/>
              <a:prstDash val="solid"/>
              <a:miter/>
            </a:ln>
          </p:spPr>
          <p:txBody>
            <a:bodyPr wrap="square" rtlCol="0" anchor="ctr">
              <a:noAutofit/>
            </a:bodyPr>
            <a:lstStyle/>
            <a:p>
              <a:endParaRPr lang="en-IN">
                <a:latin typeface="TT Norms Pro" panose="02000503030000020003" pitchFamily="2" charset="0"/>
              </a:endParaRPr>
            </a:p>
          </p:txBody>
        </p:sp>
      </p:grpSp>
    </p:spTree>
    <p:extLst>
      <p:ext uri="{BB962C8B-B14F-4D97-AF65-F5344CB8AC3E}">
        <p14:creationId xmlns:p14="http://schemas.microsoft.com/office/powerpoint/2010/main" val="2477209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Divider - Purple">
    <p:bg>
      <p:bgPr>
        <a:solidFill>
          <a:schemeClr val="bg2"/>
        </a:solidFill>
        <a:effectLst/>
      </p:bgPr>
    </p:bg>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A406F060-DC5E-CC87-3436-36AF8578F78B}"/>
              </a:ext>
            </a:extLst>
          </p:cNvPr>
          <p:cNvGrpSpPr/>
          <p:nvPr/>
        </p:nvGrpSpPr>
        <p:grpSpPr>
          <a:xfrm>
            <a:off x="-268379" y="-235812"/>
            <a:ext cx="12709513" cy="2768410"/>
            <a:chOff x="-268379" y="-235812"/>
            <a:chExt cx="12709513" cy="2768410"/>
          </a:xfrm>
          <a:solidFill>
            <a:schemeClr val="accent5">
              <a:alpha val="25501"/>
            </a:schemeClr>
          </a:solidFill>
        </p:grpSpPr>
        <p:sp>
          <p:nvSpPr>
            <p:cNvPr id="9" name="Freeform: Shape 8">
              <a:extLst>
                <a:ext uri="{FF2B5EF4-FFF2-40B4-BE49-F238E27FC236}">
                  <a16:creationId xmlns:a16="http://schemas.microsoft.com/office/drawing/2014/main" id="{14B700F3-E979-9DBF-DE71-D627E25618A6}"/>
                </a:ext>
              </a:extLst>
            </p:cNvPr>
            <p:cNvSpPr/>
            <p:nvPr/>
          </p:nvSpPr>
          <p:spPr>
            <a:xfrm rot="20481175">
              <a:off x="7455640" y="58626"/>
              <a:ext cx="1448104" cy="1389865"/>
            </a:xfrm>
            <a:custGeom>
              <a:avLst/>
              <a:gdLst>
                <a:gd name="connsiteX0" fmla="*/ 1021496 w 1448104"/>
                <a:gd name="connsiteY0" fmla="*/ 0 h 1389865"/>
                <a:gd name="connsiteX1" fmla="*/ 1301750 w 1448104"/>
                <a:gd name="connsiteY1" fmla="*/ 94572 h 1389865"/>
                <a:gd name="connsiteX2" fmla="*/ 1300912 w 1448104"/>
                <a:gd name="connsiteY2" fmla="*/ 127519 h 1389865"/>
                <a:gd name="connsiteX3" fmla="*/ 1334529 w 1448104"/>
                <a:gd name="connsiteY3" fmla="*/ 396741 h 1389865"/>
                <a:gd name="connsiteX4" fmla="*/ 1436926 w 1448104"/>
                <a:gd name="connsiteY4" fmla="*/ 833636 h 1389865"/>
                <a:gd name="connsiteX5" fmla="*/ 980174 w 1448104"/>
                <a:gd name="connsiteY5" fmla="*/ 1353687 h 1389865"/>
                <a:gd name="connsiteX6" fmla="*/ 131865 w 1448104"/>
                <a:gd name="connsiteY6" fmla="*/ 858914 h 1389865"/>
                <a:gd name="connsiteX7" fmla="*/ 367037 w 1448104"/>
                <a:gd name="connsiteY7" fmla="*/ 209611 h 1389865"/>
                <a:gd name="connsiteX8" fmla="*/ 801214 w 1448104"/>
                <a:gd name="connsiteY8" fmla="*/ 85675 h 1389865"/>
                <a:gd name="connsiteX9" fmla="*/ 980777 w 1448104"/>
                <a:gd name="connsiteY9" fmla="*/ 19983 h 138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04" h="1389865">
                  <a:moveTo>
                    <a:pt x="1021496" y="0"/>
                  </a:moveTo>
                  <a:lnTo>
                    <a:pt x="1301750" y="94572"/>
                  </a:lnTo>
                  <a:lnTo>
                    <a:pt x="1300912" y="127519"/>
                  </a:lnTo>
                  <a:cubicBezTo>
                    <a:pt x="1301839" y="205476"/>
                    <a:pt x="1311698" y="293691"/>
                    <a:pt x="1334529" y="396741"/>
                  </a:cubicBezTo>
                  <a:cubicBezTo>
                    <a:pt x="1366264" y="540643"/>
                    <a:pt x="1411834" y="686317"/>
                    <a:pt x="1436926" y="833636"/>
                  </a:cubicBezTo>
                  <a:cubicBezTo>
                    <a:pt x="1511708" y="1273220"/>
                    <a:pt x="1194682" y="1478785"/>
                    <a:pt x="980174" y="1353687"/>
                  </a:cubicBezTo>
                  <a:lnTo>
                    <a:pt x="131865" y="858914"/>
                  </a:lnTo>
                  <a:cubicBezTo>
                    <a:pt x="-82825" y="733692"/>
                    <a:pt x="-56135" y="358765"/>
                    <a:pt x="367037" y="209611"/>
                  </a:cubicBezTo>
                  <a:cubicBezTo>
                    <a:pt x="508790" y="159611"/>
                    <a:pt x="659153" y="128230"/>
                    <a:pt x="801214" y="85675"/>
                  </a:cubicBezTo>
                  <a:cubicBezTo>
                    <a:pt x="869093" y="65451"/>
                    <a:pt x="928355" y="43426"/>
                    <a:pt x="980777" y="19983"/>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9" name="Freeform: Shape 18">
              <a:extLst>
                <a:ext uri="{FF2B5EF4-FFF2-40B4-BE49-F238E27FC236}">
                  <a16:creationId xmlns:a16="http://schemas.microsoft.com/office/drawing/2014/main" id="{A5B76ED7-1C34-A9BA-506A-18267E4A372F}"/>
                </a:ext>
              </a:extLst>
            </p:cNvPr>
            <p:cNvSpPr/>
            <p:nvPr/>
          </p:nvSpPr>
          <p:spPr>
            <a:xfrm rot="3903520">
              <a:off x="11517816" y="417078"/>
              <a:ext cx="218602" cy="1274125"/>
            </a:xfrm>
            <a:custGeom>
              <a:avLst/>
              <a:gdLst>
                <a:gd name="connsiteX0" fmla="*/ 79026 w 218602"/>
                <a:gd name="connsiteY0" fmla="*/ 0 h 1274125"/>
                <a:gd name="connsiteX1" fmla="*/ 216280 w 218602"/>
                <a:gd name="connsiteY1" fmla="*/ 63832 h 1274125"/>
                <a:gd name="connsiteX2" fmla="*/ 217873 w 218602"/>
                <a:gd name="connsiteY2" fmla="*/ 80524 h 1274125"/>
                <a:gd name="connsiteX3" fmla="*/ 218602 w 218602"/>
                <a:gd name="connsiteY3" fmla="*/ 114523 h 1274125"/>
                <a:gd name="connsiteX4" fmla="*/ 216683 w 218602"/>
                <a:gd name="connsiteY4" fmla="*/ 152888 h 1274125"/>
                <a:gd name="connsiteX5" fmla="*/ 212216 w 218602"/>
                <a:gd name="connsiteY5" fmla="*/ 190901 h 1274125"/>
                <a:gd name="connsiteX6" fmla="*/ 205893 w 218602"/>
                <a:gd name="connsiteY6" fmla="*/ 223900 h 1274125"/>
                <a:gd name="connsiteX7" fmla="*/ 198113 w 218602"/>
                <a:gd name="connsiteY7" fmla="*/ 252538 h 1274125"/>
                <a:gd name="connsiteX8" fmla="*/ 189272 w 218602"/>
                <a:gd name="connsiteY8" fmla="*/ 277475 h 1274125"/>
                <a:gd name="connsiteX9" fmla="*/ 184999 w 218602"/>
                <a:gd name="connsiteY9" fmla="*/ 291369 h 1274125"/>
                <a:gd name="connsiteX10" fmla="*/ 182864 w 218602"/>
                <a:gd name="connsiteY10" fmla="*/ 305941 h 1274125"/>
                <a:gd name="connsiteX11" fmla="*/ 182890 w 218602"/>
                <a:gd name="connsiteY11" fmla="*/ 320770 h 1274125"/>
                <a:gd name="connsiteX12" fmla="*/ 185109 w 218602"/>
                <a:gd name="connsiteY12" fmla="*/ 335438 h 1274125"/>
                <a:gd name="connsiteX13" fmla="*/ 190258 w 218602"/>
                <a:gd name="connsiteY13" fmla="*/ 362044 h 1274125"/>
                <a:gd name="connsiteX14" fmla="*/ 193832 w 218602"/>
                <a:gd name="connsiteY14" fmla="*/ 392031 h 1274125"/>
                <a:gd name="connsiteX15" fmla="*/ 195350 w 218602"/>
                <a:gd name="connsiteY15" fmla="*/ 425939 h 1274125"/>
                <a:gd name="connsiteX16" fmla="*/ 194329 w 218602"/>
                <a:gd name="connsiteY16" fmla="*/ 464308 h 1274125"/>
                <a:gd name="connsiteX17" fmla="*/ 190762 w 218602"/>
                <a:gd name="connsiteY17" fmla="*/ 502424 h 1274125"/>
                <a:gd name="connsiteX18" fmla="*/ 185217 w 218602"/>
                <a:gd name="connsiteY18" fmla="*/ 535609 h 1274125"/>
                <a:gd name="connsiteX19" fmla="*/ 178106 w 218602"/>
                <a:gd name="connsiteY19" fmla="*/ 564498 h 1274125"/>
                <a:gd name="connsiteX20" fmla="*/ 169845 w 218602"/>
                <a:gd name="connsiteY20" fmla="*/ 589731 h 1274125"/>
                <a:gd name="connsiteX21" fmla="*/ 165897 w 218602"/>
                <a:gd name="connsiteY21" fmla="*/ 603763 h 1274125"/>
                <a:gd name="connsiteX22" fmla="*/ 164104 w 218602"/>
                <a:gd name="connsiteY22" fmla="*/ 618388 h 1274125"/>
                <a:gd name="connsiteX23" fmla="*/ 164477 w 218602"/>
                <a:gd name="connsiteY23" fmla="*/ 633186 h 1274125"/>
                <a:gd name="connsiteX24" fmla="*/ 167031 w 218602"/>
                <a:gd name="connsiteY24" fmla="*/ 647744 h 1274125"/>
                <a:gd name="connsiteX25" fmla="*/ 172801 w 218602"/>
                <a:gd name="connsiteY25" fmla="*/ 674109 h 1274125"/>
                <a:gd name="connsiteX26" fmla="*/ 177077 w 218602"/>
                <a:gd name="connsiteY26" fmla="*/ 703906 h 1274125"/>
                <a:gd name="connsiteX27" fmla="*/ 179387 w 218602"/>
                <a:gd name="connsiteY27" fmla="*/ 737696 h 1274125"/>
                <a:gd name="connsiteX28" fmla="*/ 179255 w 218602"/>
                <a:gd name="connsiteY28" fmla="*/ 776046 h 1274125"/>
                <a:gd name="connsiteX29" fmla="*/ 176579 w 218602"/>
                <a:gd name="connsiteY29" fmla="*/ 814234 h 1274125"/>
                <a:gd name="connsiteX30" fmla="*/ 171806 w 218602"/>
                <a:gd name="connsiteY30" fmla="*/ 847579 h 1274125"/>
                <a:gd name="connsiteX31" fmla="*/ 165368 w 218602"/>
                <a:gd name="connsiteY31" fmla="*/ 876697 h 1274125"/>
                <a:gd name="connsiteX32" fmla="*/ 157698 w 218602"/>
                <a:gd name="connsiteY32" fmla="*/ 902208 h 1274125"/>
                <a:gd name="connsiteX33" fmla="*/ 154085 w 218602"/>
                <a:gd name="connsiteY33" fmla="*/ 916369 h 1274125"/>
                <a:gd name="connsiteX34" fmla="*/ 152632 w 218602"/>
                <a:gd name="connsiteY34" fmla="*/ 931041 h 1274125"/>
                <a:gd name="connsiteX35" fmla="*/ 153346 w 218602"/>
                <a:gd name="connsiteY35" fmla="*/ 945807 h 1274125"/>
                <a:gd name="connsiteX36" fmla="*/ 156234 w 218602"/>
                <a:gd name="connsiteY36" fmla="*/ 960245 h 1274125"/>
                <a:gd name="connsiteX37" fmla="*/ 162612 w 218602"/>
                <a:gd name="connsiteY37" fmla="*/ 986341 h 1274125"/>
                <a:gd name="connsiteX38" fmla="*/ 167580 w 218602"/>
                <a:gd name="connsiteY38" fmla="*/ 1015928 h 1274125"/>
                <a:gd name="connsiteX39" fmla="*/ 170677 w 218602"/>
                <a:gd name="connsiteY39" fmla="*/ 1049584 h 1274125"/>
                <a:gd name="connsiteX40" fmla="*/ 171442 w 218602"/>
                <a:gd name="connsiteY40" fmla="*/ 1087884 h 1274125"/>
                <a:gd name="connsiteX41" fmla="*/ 169639 w 218602"/>
                <a:gd name="connsiteY41" fmla="*/ 1126120 h 1274125"/>
                <a:gd name="connsiteX42" fmla="*/ 165642 w 218602"/>
                <a:gd name="connsiteY42" fmla="*/ 1159600 h 1274125"/>
                <a:gd name="connsiteX43" fmla="*/ 159885 w 218602"/>
                <a:gd name="connsiteY43" fmla="*/ 1188929 h 1274125"/>
                <a:gd name="connsiteX44" fmla="*/ 152813 w 218602"/>
                <a:gd name="connsiteY44" fmla="*/ 1214709 h 1274125"/>
                <a:gd name="connsiteX45" fmla="*/ 149523 w 218602"/>
                <a:gd name="connsiteY45" fmla="*/ 1228992 h 1274125"/>
                <a:gd name="connsiteX46" fmla="*/ 148408 w 218602"/>
                <a:gd name="connsiteY46" fmla="*/ 1243697 h 1274125"/>
                <a:gd name="connsiteX47" fmla="*/ 149467 w 218602"/>
                <a:gd name="connsiteY47" fmla="*/ 1258412 h 1274125"/>
                <a:gd name="connsiteX48" fmla="*/ 153117 w 218602"/>
                <a:gd name="connsiteY48" fmla="*/ 1274125 h 1274125"/>
                <a:gd name="connsiteX49" fmla="*/ 19711 w 218602"/>
                <a:gd name="connsiteY49" fmla="*/ 1274125 h 1274125"/>
                <a:gd name="connsiteX50" fmla="*/ 21859 w 218602"/>
                <a:gd name="connsiteY50" fmla="*/ 1259315 h 1274125"/>
                <a:gd name="connsiteX51" fmla="*/ 20795 w 218602"/>
                <a:gd name="connsiteY51" fmla="*/ 1243912 h 1274125"/>
                <a:gd name="connsiteX52" fmla="*/ 16537 w 218602"/>
                <a:gd name="connsiteY52" fmla="*/ 1229694 h 1274125"/>
                <a:gd name="connsiteX53" fmla="*/ 9687 w 218602"/>
                <a:gd name="connsiteY53" fmla="*/ 1203366 h 1274125"/>
                <a:gd name="connsiteX54" fmla="*/ 4305 w 218602"/>
                <a:gd name="connsiteY54" fmla="*/ 1173343 h 1274125"/>
                <a:gd name="connsiteX55" fmla="*/ 904 w 218602"/>
                <a:gd name="connsiteY55" fmla="*/ 1139065 h 1274125"/>
                <a:gd name="connsiteX56" fmla="*/ 0 w 218602"/>
                <a:gd name="connsiteY56" fmla="*/ 1099964 h 1274125"/>
                <a:gd name="connsiteX57" fmla="*/ 1867 w 218602"/>
                <a:gd name="connsiteY57" fmla="*/ 1060918 h 1274125"/>
                <a:gd name="connsiteX58" fmla="*/ 6108 w 218602"/>
                <a:gd name="connsiteY58" fmla="*/ 1026790 h 1274125"/>
                <a:gd name="connsiteX59" fmla="*/ 12229 w 218602"/>
                <a:gd name="connsiteY59" fmla="*/ 996988 h 1274125"/>
                <a:gd name="connsiteX60" fmla="*/ 19731 w 218602"/>
                <a:gd name="connsiteY60" fmla="*/ 970923 h 1274125"/>
                <a:gd name="connsiteX61" fmla="*/ 23287 w 218602"/>
                <a:gd name="connsiteY61" fmla="*/ 956504 h 1274125"/>
                <a:gd name="connsiteX62" fmla="*/ 24711 w 218602"/>
                <a:gd name="connsiteY62" fmla="*/ 941598 h 1274125"/>
                <a:gd name="connsiteX63" fmla="*/ 23996 w 218602"/>
                <a:gd name="connsiteY63" fmla="*/ 926597 h 1274125"/>
                <a:gd name="connsiteX64" fmla="*/ 21138 w 218602"/>
                <a:gd name="connsiteY64" fmla="*/ 911902 h 1274125"/>
                <a:gd name="connsiteX65" fmla="*/ 14899 w 218602"/>
                <a:gd name="connsiteY65" fmla="*/ 885289 h 1274125"/>
                <a:gd name="connsiteX66" fmla="*/ 10217 w 218602"/>
                <a:gd name="connsiteY66" fmla="*/ 855051 h 1274125"/>
                <a:gd name="connsiteX67" fmla="*/ 7617 w 218602"/>
                <a:gd name="connsiteY67" fmla="*/ 820634 h 1274125"/>
                <a:gd name="connsiteX68" fmla="*/ 7622 w 218602"/>
                <a:gd name="connsiteY68" fmla="*/ 781483 h 1274125"/>
                <a:gd name="connsiteX69" fmla="*/ 10397 w 218602"/>
                <a:gd name="connsiteY69" fmla="*/ 742488 h 1274125"/>
                <a:gd name="connsiteX70" fmla="*/ 15430 w 218602"/>
                <a:gd name="connsiteY70" fmla="*/ 708507 h 1274125"/>
                <a:gd name="connsiteX71" fmla="*/ 22239 w 218602"/>
                <a:gd name="connsiteY71" fmla="*/ 678923 h 1274125"/>
                <a:gd name="connsiteX72" fmla="*/ 30338 w 218602"/>
                <a:gd name="connsiteY72" fmla="*/ 653131 h 1274125"/>
                <a:gd name="connsiteX73" fmla="*/ 34223 w 218602"/>
                <a:gd name="connsiteY73" fmla="*/ 638838 h 1274125"/>
                <a:gd name="connsiteX74" fmla="*/ 35996 w 218602"/>
                <a:gd name="connsiteY74" fmla="*/ 623975 h 1274125"/>
                <a:gd name="connsiteX75" fmla="*/ 35634 w 218602"/>
                <a:gd name="connsiteY75" fmla="*/ 608940 h 1274125"/>
                <a:gd name="connsiteX76" fmla="*/ 33113 w 218602"/>
                <a:gd name="connsiteY76" fmla="*/ 594135 h 1274125"/>
                <a:gd name="connsiteX77" fmla="*/ 27506 w 218602"/>
                <a:gd name="connsiteY77" fmla="*/ 567263 h 1274125"/>
                <a:gd name="connsiteX78" fmla="*/ 23536 w 218602"/>
                <a:gd name="connsiteY78" fmla="*/ 536817 h 1274125"/>
                <a:gd name="connsiteX79" fmla="*/ 21733 w 218602"/>
                <a:gd name="connsiteY79" fmla="*/ 502266 h 1274125"/>
                <a:gd name="connsiteX80" fmla="*/ 22639 w 218602"/>
                <a:gd name="connsiteY80" fmla="*/ 463077 h 1274125"/>
                <a:gd name="connsiteX81" fmla="*/ 26328 w 218602"/>
                <a:gd name="connsiteY81" fmla="*/ 424169 h 1274125"/>
                <a:gd name="connsiteX82" fmla="*/ 32154 w 218602"/>
                <a:gd name="connsiteY82" fmla="*/ 390359 h 1274125"/>
                <a:gd name="connsiteX83" fmla="*/ 39645 w 218602"/>
                <a:gd name="connsiteY83" fmla="*/ 361021 h 1274125"/>
                <a:gd name="connsiteX84" fmla="*/ 48339 w 218602"/>
                <a:gd name="connsiteY84" fmla="*/ 335537 h 1274125"/>
                <a:gd name="connsiteX85" fmla="*/ 52558 w 218602"/>
                <a:gd name="connsiteY85" fmla="*/ 321382 h 1274125"/>
                <a:gd name="connsiteX86" fmla="*/ 54676 w 218602"/>
                <a:gd name="connsiteY86" fmla="*/ 306570 h 1274125"/>
                <a:gd name="connsiteX87" fmla="*/ 54666 w 218602"/>
                <a:gd name="connsiteY87" fmla="*/ 291504 h 1274125"/>
                <a:gd name="connsiteX88" fmla="*/ 52502 w 218602"/>
                <a:gd name="connsiteY88" fmla="*/ 276590 h 1274125"/>
                <a:gd name="connsiteX89" fmla="*/ 47518 w 218602"/>
                <a:gd name="connsiteY89" fmla="*/ 249467 h 1274125"/>
                <a:gd name="connsiteX90" fmla="*/ 44255 w 218602"/>
                <a:gd name="connsiteY90" fmla="*/ 218837 h 1274125"/>
                <a:gd name="connsiteX91" fmla="*/ 43261 w 218602"/>
                <a:gd name="connsiteY91" fmla="*/ 184191 h 1274125"/>
                <a:gd name="connsiteX92" fmla="*/ 45089 w 218602"/>
                <a:gd name="connsiteY92" fmla="*/ 145015 h 1274125"/>
                <a:gd name="connsiteX93" fmla="*/ 49686 w 218602"/>
                <a:gd name="connsiteY93" fmla="*/ 106199 h 1274125"/>
                <a:gd name="connsiteX94" fmla="*/ 56300 w 218602"/>
                <a:gd name="connsiteY94" fmla="*/ 72579 h 1274125"/>
                <a:gd name="connsiteX95" fmla="*/ 64475 w 218602"/>
                <a:gd name="connsiteY95" fmla="*/ 43507 h 1274125"/>
                <a:gd name="connsiteX96" fmla="*/ 73755 w 218602"/>
                <a:gd name="connsiteY96" fmla="*/ 18337 h 1274125"/>
                <a:gd name="connsiteX97" fmla="*/ 78302 w 218602"/>
                <a:gd name="connsiteY97" fmla="*/ 4329 h 127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8602" h="1274125">
                  <a:moveTo>
                    <a:pt x="79026" y="0"/>
                  </a:moveTo>
                  <a:lnTo>
                    <a:pt x="216280" y="63832"/>
                  </a:lnTo>
                  <a:lnTo>
                    <a:pt x="217873" y="80524"/>
                  </a:lnTo>
                  <a:lnTo>
                    <a:pt x="218602" y="114523"/>
                  </a:lnTo>
                  <a:lnTo>
                    <a:pt x="216683" y="152888"/>
                  </a:lnTo>
                  <a:lnTo>
                    <a:pt x="212216" y="190901"/>
                  </a:lnTo>
                  <a:lnTo>
                    <a:pt x="205893" y="223900"/>
                  </a:lnTo>
                  <a:lnTo>
                    <a:pt x="198113" y="252538"/>
                  </a:lnTo>
                  <a:lnTo>
                    <a:pt x="189272" y="277475"/>
                  </a:lnTo>
                  <a:lnTo>
                    <a:pt x="184999" y="291369"/>
                  </a:lnTo>
                  <a:lnTo>
                    <a:pt x="182864" y="305941"/>
                  </a:lnTo>
                  <a:lnTo>
                    <a:pt x="182890" y="320770"/>
                  </a:lnTo>
                  <a:lnTo>
                    <a:pt x="185109" y="335438"/>
                  </a:lnTo>
                  <a:lnTo>
                    <a:pt x="190258" y="362044"/>
                  </a:lnTo>
                  <a:lnTo>
                    <a:pt x="193832" y="392031"/>
                  </a:lnTo>
                  <a:lnTo>
                    <a:pt x="195350" y="425939"/>
                  </a:lnTo>
                  <a:lnTo>
                    <a:pt x="194329" y="464308"/>
                  </a:lnTo>
                  <a:lnTo>
                    <a:pt x="190762" y="502424"/>
                  </a:lnTo>
                  <a:lnTo>
                    <a:pt x="185217" y="535609"/>
                  </a:lnTo>
                  <a:lnTo>
                    <a:pt x="178106" y="564498"/>
                  </a:lnTo>
                  <a:lnTo>
                    <a:pt x="169845" y="589731"/>
                  </a:lnTo>
                  <a:lnTo>
                    <a:pt x="165897" y="603763"/>
                  </a:lnTo>
                  <a:lnTo>
                    <a:pt x="164104" y="618388"/>
                  </a:lnTo>
                  <a:lnTo>
                    <a:pt x="164477" y="633186"/>
                  </a:lnTo>
                  <a:lnTo>
                    <a:pt x="167031" y="647744"/>
                  </a:lnTo>
                  <a:lnTo>
                    <a:pt x="172801" y="674109"/>
                  </a:lnTo>
                  <a:lnTo>
                    <a:pt x="177077" y="703906"/>
                  </a:lnTo>
                  <a:lnTo>
                    <a:pt x="179387" y="737696"/>
                  </a:lnTo>
                  <a:lnTo>
                    <a:pt x="179255" y="776046"/>
                  </a:lnTo>
                  <a:lnTo>
                    <a:pt x="176579" y="814234"/>
                  </a:lnTo>
                  <a:lnTo>
                    <a:pt x="171806" y="847579"/>
                  </a:lnTo>
                  <a:lnTo>
                    <a:pt x="165368" y="876697"/>
                  </a:lnTo>
                  <a:lnTo>
                    <a:pt x="157698" y="902208"/>
                  </a:lnTo>
                  <a:lnTo>
                    <a:pt x="154085" y="916369"/>
                  </a:lnTo>
                  <a:lnTo>
                    <a:pt x="152632" y="931041"/>
                  </a:lnTo>
                  <a:lnTo>
                    <a:pt x="153346" y="945807"/>
                  </a:lnTo>
                  <a:lnTo>
                    <a:pt x="156234" y="960245"/>
                  </a:lnTo>
                  <a:lnTo>
                    <a:pt x="162612" y="986341"/>
                  </a:lnTo>
                  <a:lnTo>
                    <a:pt x="167580" y="1015928"/>
                  </a:lnTo>
                  <a:lnTo>
                    <a:pt x="170677" y="1049584"/>
                  </a:lnTo>
                  <a:lnTo>
                    <a:pt x="171442" y="1087884"/>
                  </a:lnTo>
                  <a:lnTo>
                    <a:pt x="169639" y="1126120"/>
                  </a:lnTo>
                  <a:lnTo>
                    <a:pt x="165642" y="1159600"/>
                  </a:lnTo>
                  <a:lnTo>
                    <a:pt x="159885" y="1188929"/>
                  </a:lnTo>
                  <a:lnTo>
                    <a:pt x="152813" y="1214709"/>
                  </a:lnTo>
                  <a:lnTo>
                    <a:pt x="149523" y="1228992"/>
                  </a:lnTo>
                  <a:lnTo>
                    <a:pt x="148408" y="1243697"/>
                  </a:lnTo>
                  <a:lnTo>
                    <a:pt x="149467" y="1258412"/>
                  </a:lnTo>
                  <a:lnTo>
                    <a:pt x="153117" y="1274125"/>
                  </a:lnTo>
                  <a:lnTo>
                    <a:pt x="19711" y="1274125"/>
                  </a:lnTo>
                  <a:lnTo>
                    <a:pt x="21859" y="1259315"/>
                  </a:lnTo>
                  <a:lnTo>
                    <a:pt x="20795" y="1243912"/>
                  </a:lnTo>
                  <a:lnTo>
                    <a:pt x="16537" y="1229694"/>
                  </a:lnTo>
                  <a:lnTo>
                    <a:pt x="9687" y="1203366"/>
                  </a:lnTo>
                  <a:lnTo>
                    <a:pt x="4305" y="1173343"/>
                  </a:lnTo>
                  <a:lnTo>
                    <a:pt x="904" y="1139065"/>
                  </a:lnTo>
                  <a:lnTo>
                    <a:pt x="0" y="1099964"/>
                  </a:lnTo>
                  <a:lnTo>
                    <a:pt x="1867" y="1060918"/>
                  </a:lnTo>
                  <a:lnTo>
                    <a:pt x="6108" y="1026790"/>
                  </a:lnTo>
                  <a:lnTo>
                    <a:pt x="12229" y="996988"/>
                  </a:lnTo>
                  <a:lnTo>
                    <a:pt x="19731" y="970923"/>
                  </a:lnTo>
                  <a:lnTo>
                    <a:pt x="23287" y="956504"/>
                  </a:lnTo>
                  <a:lnTo>
                    <a:pt x="24711" y="941598"/>
                  </a:lnTo>
                  <a:lnTo>
                    <a:pt x="23996" y="926597"/>
                  </a:lnTo>
                  <a:lnTo>
                    <a:pt x="21138" y="911902"/>
                  </a:lnTo>
                  <a:lnTo>
                    <a:pt x="14899" y="885289"/>
                  </a:lnTo>
                  <a:lnTo>
                    <a:pt x="10217" y="855051"/>
                  </a:lnTo>
                  <a:lnTo>
                    <a:pt x="7617" y="820634"/>
                  </a:lnTo>
                  <a:lnTo>
                    <a:pt x="7622" y="781483"/>
                  </a:lnTo>
                  <a:lnTo>
                    <a:pt x="10397" y="742488"/>
                  </a:lnTo>
                  <a:lnTo>
                    <a:pt x="15430" y="708507"/>
                  </a:lnTo>
                  <a:lnTo>
                    <a:pt x="22239" y="678923"/>
                  </a:lnTo>
                  <a:lnTo>
                    <a:pt x="30338" y="653131"/>
                  </a:lnTo>
                  <a:lnTo>
                    <a:pt x="34223" y="638838"/>
                  </a:lnTo>
                  <a:lnTo>
                    <a:pt x="35996" y="623975"/>
                  </a:lnTo>
                  <a:lnTo>
                    <a:pt x="35634" y="608940"/>
                  </a:lnTo>
                  <a:lnTo>
                    <a:pt x="33113" y="594135"/>
                  </a:lnTo>
                  <a:lnTo>
                    <a:pt x="27506" y="567263"/>
                  </a:lnTo>
                  <a:lnTo>
                    <a:pt x="23536" y="536817"/>
                  </a:lnTo>
                  <a:lnTo>
                    <a:pt x="21733" y="502266"/>
                  </a:lnTo>
                  <a:lnTo>
                    <a:pt x="22639" y="463077"/>
                  </a:lnTo>
                  <a:lnTo>
                    <a:pt x="26328" y="424169"/>
                  </a:lnTo>
                  <a:lnTo>
                    <a:pt x="32154" y="390359"/>
                  </a:lnTo>
                  <a:lnTo>
                    <a:pt x="39645" y="361021"/>
                  </a:lnTo>
                  <a:lnTo>
                    <a:pt x="48339" y="335537"/>
                  </a:lnTo>
                  <a:lnTo>
                    <a:pt x="52558" y="321382"/>
                  </a:lnTo>
                  <a:lnTo>
                    <a:pt x="54676" y="306570"/>
                  </a:lnTo>
                  <a:lnTo>
                    <a:pt x="54666" y="291504"/>
                  </a:lnTo>
                  <a:lnTo>
                    <a:pt x="52502" y="276590"/>
                  </a:lnTo>
                  <a:lnTo>
                    <a:pt x="47518" y="249467"/>
                  </a:lnTo>
                  <a:lnTo>
                    <a:pt x="44255" y="218837"/>
                  </a:lnTo>
                  <a:lnTo>
                    <a:pt x="43261" y="184191"/>
                  </a:lnTo>
                  <a:lnTo>
                    <a:pt x="45089" y="145015"/>
                  </a:lnTo>
                  <a:lnTo>
                    <a:pt x="49686" y="106199"/>
                  </a:lnTo>
                  <a:lnTo>
                    <a:pt x="56300" y="72579"/>
                  </a:lnTo>
                  <a:lnTo>
                    <a:pt x="64475" y="43507"/>
                  </a:lnTo>
                  <a:lnTo>
                    <a:pt x="73755" y="18337"/>
                  </a:lnTo>
                  <a:lnTo>
                    <a:pt x="78302" y="4329"/>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1" name="Freeform: Shape 20">
              <a:extLst>
                <a:ext uri="{FF2B5EF4-FFF2-40B4-BE49-F238E27FC236}">
                  <a16:creationId xmlns:a16="http://schemas.microsoft.com/office/drawing/2014/main" id="{7161D5E6-E604-A824-91E5-320AC3839503}"/>
                </a:ext>
              </a:extLst>
            </p:cNvPr>
            <p:cNvSpPr/>
            <p:nvPr/>
          </p:nvSpPr>
          <p:spPr>
            <a:xfrm rot="13654353">
              <a:off x="11464201" y="736041"/>
              <a:ext cx="387391" cy="1362193"/>
            </a:xfrm>
            <a:custGeom>
              <a:avLst/>
              <a:gdLst>
                <a:gd name="connsiteX0" fmla="*/ 147207 w 387391"/>
                <a:gd name="connsiteY0" fmla="*/ 1362193 h 1362193"/>
                <a:gd name="connsiteX1" fmla="*/ 0 w 387391"/>
                <a:gd name="connsiteY1" fmla="*/ 1227645 h 1362193"/>
                <a:gd name="connsiteX2" fmla="*/ 1801 w 387391"/>
                <a:gd name="connsiteY2" fmla="*/ 1216824 h 1362193"/>
                <a:gd name="connsiteX3" fmla="*/ 9982 w 387391"/>
                <a:gd name="connsiteY3" fmla="*/ 1183657 h 1362193"/>
                <a:gd name="connsiteX4" fmla="*/ 19511 w 387391"/>
                <a:gd name="connsiteY4" fmla="*/ 1155162 h 1362193"/>
                <a:gd name="connsiteX5" fmla="*/ 29965 w 387391"/>
                <a:gd name="connsiteY5" fmla="*/ 1130658 h 1362193"/>
                <a:gd name="connsiteX6" fmla="*/ 35174 w 387391"/>
                <a:gd name="connsiteY6" fmla="*/ 1116977 h 1362193"/>
                <a:gd name="connsiteX7" fmla="*/ 38332 w 387391"/>
                <a:gd name="connsiteY7" fmla="*/ 1102401 h 1362193"/>
                <a:gd name="connsiteX8" fmla="*/ 39384 w 387391"/>
                <a:gd name="connsiteY8" fmla="*/ 1087320 h 1362193"/>
                <a:gd name="connsiteX9" fmla="*/ 38273 w 387391"/>
                <a:gd name="connsiteY9" fmla="*/ 1072129 h 1362193"/>
                <a:gd name="connsiteX10" fmla="*/ 35227 w 387391"/>
                <a:gd name="connsiteY10" fmla="*/ 1044400 h 1362193"/>
                <a:gd name="connsiteX11" fmla="*/ 34146 w 387391"/>
                <a:gd name="connsiteY11" fmla="*/ 1013355 h 1362193"/>
                <a:gd name="connsiteX12" fmla="*/ 35613 w 387391"/>
                <a:gd name="connsiteY12" fmla="*/ 978542 h 1362193"/>
                <a:gd name="connsiteX13" fmla="*/ 40211 w 387391"/>
                <a:gd name="connsiteY13" fmla="*/ 939522 h 1362193"/>
                <a:gd name="connsiteX14" fmla="*/ 47532 w 387391"/>
                <a:gd name="connsiteY14" fmla="*/ 901192 h 1362193"/>
                <a:gd name="connsiteX15" fmla="*/ 56501 w 387391"/>
                <a:gd name="connsiteY15" fmla="*/ 868288 h 1362193"/>
                <a:gd name="connsiteX16" fmla="*/ 66705 w 387391"/>
                <a:gd name="connsiteY16" fmla="*/ 840114 h 1362193"/>
                <a:gd name="connsiteX17" fmla="*/ 77736 w 387391"/>
                <a:gd name="connsiteY17" fmla="*/ 815968 h 1362193"/>
                <a:gd name="connsiteX18" fmla="*/ 83263 w 387391"/>
                <a:gd name="connsiteY18" fmla="*/ 802466 h 1362193"/>
                <a:gd name="connsiteX19" fmla="*/ 86767 w 387391"/>
                <a:gd name="connsiteY19" fmla="*/ 787986 h 1362193"/>
                <a:gd name="connsiteX20" fmla="*/ 88180 w 387391"/>
                <a:gd name="connsiteY20" fmla="*/ 772917 h 1362193"/>
                <a:gd name="connsiteX21" fmla="*/ 87430 w 387391"/>
                <a:gd name="connsiteY21" fmla="*/ 757660 h 1362193"/>
                <a:gd name="connsiteX22" fmla="*/ 85045 w 387391"/>
                <a:gd name="connsiteY22" fmla="*/ 729759 h 1362193"/>
                <a:gd name="connsiteX23" fmla="*/ 84702 w 387391"/>
                <a:gd name="connsiteY23" fmla="*/ 698614 h 1362193"/>
                <a:gd name="connsiteX24" fmla="*/ 86996 w 387391"/>
                <a:gd name="connsiteY24" fmla="*/ 663797 h 1362193"/>
                <a:gd name="connsiteX25" fmla="*/ 92525 w 387391"/>
                <a:gd name="connsiteY25" fmla="*/ 624880 h 1362193"/>
                <a:gd name="connsiteX26" fmla="*/ 100755 w 387391"/>
                <a:gd name="connsiteY26" fmla="*/ 586757 h 1362193"/>
                <a:gd name="connsiteX27" fmla="*/ 110503 w 387391"/>
                <a:gd name="connsiteY27" fmla="*/ 554139 h 1362193"/>
                <a:gd name="connsiteX28" fmla="*/ 121375 w 387391"/>
                <a:gd name="connsiteY28" fmla="*/ 526301 h 1362193"/>
                <a:gd name="connsiteX29" fmla="*/ 132975 w 387391"/>
                <a:gd name="connsiteY29" fmla="*/ 502531 h 1362193"/>
                <a:gd name="connsiteX30" fmla="*/ 138829 w 387391"/>
                <a:gd name="connsiteY30" fmla="*/ 489213 h 1362193"/>
                <a:gd name="connsiteX31" fmla="*/ 142681 w 387391"/>
                <a:gd name="connsiteY31" fmla="*/ 474842 h 1362193"/>
                <a:gd name="connsiteX32" fmla="*/ 144456 w 387391"/>
                <a:gd name="connsiteY32" fmla="*/ 459803 h 1362193"/>
                <a:gd name="connsiteX33" fmla="*/ 144076 w 387391"/>
                <a:gd name="connsiteY33" fmla="*/ 444493 h 1362193"/>
                <a:gd name="connsiteX34" fmla="*/ 142357 w 387391"/>
                <a:gd name="connsiteY34" fmla="*/ 416450 h 1362193"/>
                <a:gd name="connsiteX35" fmla="*/ 142758 w 387391"/>
                <a:gd name="connsiteY35" fmla="*/ 385226 h 1362193"/>
                <a:gd name="connsiteX36" fmla="*/ 152346 w 387391"/>
                <a:gd name="connsiteY36" fmla="*/ 311639 h 1362193"/>
                <a:gd name="connsiteX37" fmla="*/ 172019 w 387391"/>
                <a:gd name="connsiteY37" fmla="*/ 241430 h 1362193"/>
                <a:gd name="connsiteX38" fmla="*/ 183555 w 387391"/>
                <a:gd name="connsiteY38" fmla="*/ 213957 h 1362193"/>
                <a:gd name="connsiteX39" fmla="*/ 195724 w 387391"/>
                <a:gd name="connsiteY39" fmla="*/ 190594 h 1362193"/>
                <a:gd name="connsiteX40" fmla="*/ 201893 w 387391"/>
                <a:gd name="connsiteY40" fmla="*/ 177476 h 1362193"/>
                <a:gd name="connsiteX41" fmla="*/ 206090 w 387391"/>
                <a:gd name="connsiteY41" fmla="*/ 163216 h 1362193"/>
                <a:gd name="connsiteX42" fmla="*/ 208224 w 387391"/>
                <a:gd name="connsiteY42" fmla="*/ 148202 h 1362193"/>
                <a:gd name="connsiteX43" fmla="*/ 208213 w 387391"/>
                <a:gd name="connsiteY43" fmla="*/ 132829 h 1362193"/>
                <a:gd name="connsiteX44" fmla="*/ 207176 w 387391"/>
                <a:gd name="connsiteY44" fmla="*/ 104665 h 1362193"/>
                <a:gd name="connsiteX45" fmla="*/ 208326 w 387391"/>
                <a:gd name="connsiteY45" fmla="*/ 73397 h 1362193"/>
                <a:gd name="connsiteX46" fmla="*/ 212288 w 387391"/>
                <a:gd name="connsiteY46" fmla="*/ 38637 h 1362193"/>
                <a:gd name="connsiteX47" fmla="*/ 219676 w 387391"/>
                <a:gd name="connsiteY47" fmla="*/ 0 h 1362193"/>
                <a:gd name="connsiteX48" fmla="*/ 287633 w 387391"/>
                <a:gd name="connsiteY48" fmla="*/ 26053 h 1362193"/>
                <a:gd name="connsiteX49" fmla="*/ 319472 w 387391"/>
                <a:gd name="connsiteY49" fmla="*/ 21526 h 1362193"/>
                <a:gd name="connsiteX50" fmla="*/ 387391 w 387391"/>
                <a:gd name="connsiteY50" fmla="*/ 47704 h 1362193"/>
                <a:gd name="connsiteX51" fmla="*/ 377580 w 387391"/>
                <a:gd name="connsiteY51" fmla="*/ 84557 h 1362193"/>
                <a:gd name="connsiteX52" fmla="*/ 366651 w 387391"/>
                <a:gd name="connsiteY52" fmla="*/ 115974 h 1362193"/>
                <a:gd name="connsiteX53" fmla="*/ 354905 w 387391"/>
                <a:gd name="connsiteY53" fmla="*/ 142708 h 1362193"/>
                <a:gd name="connsiteX54" fmla="*/ 342644 w 387391"/>
                <a:gd name="connsiteY54" fmla="*/ 165500 h 1362193"/>
                <a:gd name="connsiteX55" fmla="*/ 336471 w 387391"/>
                <a:gd name="connsiteY55" fmla="*/ 178343 h 1362193"/>
                <a:gd name="connsiteX56" fmla="*/ 332298 w 387391"/>
                <a:gd name="connsiteY56" fmla="*/ 192357 h 1362193"/>
                <a:gd name="connsiteX57" fmla="*/ 330215 w 387391"/>
                <a:gd name="connsiteY57" fmla="*/ 207132 h 1362193"/>
                <a:gd name="connsiteX58" fmla="*/ 330307 w 387391"/>
                <a:gd name="connsiteY58" fmla="*/ 222258 h 1362193"/>
                <a:gd name="connsiteX59" fmla="*/ 331589 w 387391"/>
                <a:gd name="connsiteY59" fmla="*/ 249962 h 1362193"/>
                <a:gd name="connsiteX60" fmla="*/ 327519 w 387391"/>
                <a:gd name="connsiteY60" fmla="*/ 314780 h 1362193"/>
                <a:gd name="connsiteX61" fmla="*/ 302000 w 387391"/>
                <a:gd name="connsiteY61" fmla="*/ 421596 h 1362193"/>
                <a:gd name="connsiteX62" fmla="*/ 290914 w 387391"/>
                <a:gd name="connsiteY62" fmla="*/ 448689 h 1362193"/>
                <a:gd name="connsiteX63" fmla="*/ 279212 w 387391"/>
                <a:gd name="connsiteY63" fmla="*/ 471876 h 1362193"/>
                <a:gd name="connsiteX64" fmla="*/ 273344 w 387391"/>
                <a:gd name="connsiteY64" fmla="*/ 484919 h 1362193"/>
                <a:gd name="connsiteX65" fmla="*/ 269507 w 387391"/>
                <a:gd name="connsiteY65" fmla="*/ 499050 h 1362193"/>
                <a:gd name="connsiteX66" fmla="*/ 267781 w 387391"/>
                <a:gd name="connsiteY66" fmla="*/ 513865 h 1362193"/>
                <a:gd name="connsiteX67" fmla="*/ 268244 w 387391"/>
                <a:gd name="connsiteY67" fmla="*/ 528953 h 1362193"/>
                <a:gd name="connsiteX68" fmla="*/ 270189 w 387391"/>
                <a:gd name="connsiteY68" fmla="*/ 556508 h 1362193"/>
                <a:gd name="connsiteX69" fmla="*/ 267683 w 387391"/>
                <a:gd name="connsiteY69" fmla="*/ 621274 h 1362193"/>
                <a:gd name="connsiteX70" fmla="*/ 244719 w 387391"/>
                <a:gd name="connsiteY70" fmla="*/ 728742 h 1362193"/>
                <a:gd name="connsiteX71" fmla="*/ 234282 w 387391"/>
                <a:gd name="connsiteY71" fmla="*/ 756186 h 1362193"/>
                <a:gd name="connsiteX72" fmla="*/ 223136 w 387391"/>
                <a:gd name="connsiteY72" fmla="*/ 779752 h 1362193"/>
                <a:gd name="connsiteX73" fmla="*/ 217590 w 387391"/>
                <a:gd name="connsiteY73" fmla="*/ 792993 h 1362193"/>
                <a:gd name="connsiteX74" fmla="*/ 214094 w 387391"/>
                <a:gd name="connsiteY74" fmla="*/ 807234 h 1362193"/>
                <a:gd name="connsiteX75" fmla="*/ 212719 w 387391"/>
                <a:gd name="connsiteY75" fmla="*/ 822065 h 1362193"/>
                <a:gd name="connsiteX76" fmla="*/ 213536 w 387391"/>
                <a:gd name="connsiteY76" fmla="*/ 837076 h 1362193"/>
                <a:gd name="connsiteX77" fmla="*/ 216138 w 387391"/>
                <a:gd name="connsiteY77" fmla="*/ 864486 h 1362193"/>
                <a:gd name="connsiteX78" fmla="*/ 216861 w 387391"/>
                <a:gd name="connsiteY78" fmla="*/ 895028 h 1362193"/>
                <a:gd name="connsiteX79" fmla="*/ 215178 w 387391"/>
                <a:gd name="connsiteY79" fmla="*/ 929167 h 1362193"/>
                <a:gd name="connsiteX80" fmla="*/ 210551 w 387391"/>
                <a:gd name="connsiteY80" fmla="*/ 967371 h 1362193"/>
                <a:gd name="connsiteX81" fmla="*/ 203422 w 387391"/>
                <a:gd name="connsiteY81" fmla="*/ 1004914 h 1362193"/>
                <a:gd name="connsiteX82" fmla="*/ 194788 w 387391"/>
                <a:gd name="connsiteY82" fmla="*/ 1037221 h 1362193"/>
                <a:gd name="connsiteX83" fmla="*/ 185007 w 387391"/>
                <a:gd name="connsiteY83" fmla="*/ 1064994 h 1362193"/>
                <a:gd name="connsiteX84" fmla="*/ 174434 w 387391"/>
                <a:gd name="connsiteY84" fmla="*/ 1088933 h 1362193"/>
                <a:gd name="connsiteX85" fmla="*/ 169197 w 387391"/>
                <a:gd name="connsiteY85" fmla="*/ 1102354 h 1362193"/>
                <a:gd name="connsiteX86" fmla="*/ 166041 w 387391"/>
                <a:gd name="connsiteY86" fmla="*/ 1116692 h 1362193"/>
                <a:gd name="connsiteX87" fmla="*/ 165025 w 387391"/>
                <a:gd name="connsiteY87" fmla="*/ 1131536 h 1362193"/>
                <a:gd name="connsiteX88" fmla="*/ 166203 w 387391"/>
                <a:gd name="connsiteY88" fmla="*/ 1146478 h 1362193"/>
                <a:gd name="connsiteX89" fmla="*/ 169452 w 387391"/>
                <a:gd name="connsiteY89" fmla="*/ 1173714 h 1362193"/>
                <a:gd name="connsiteX90" fmla="*/ 170899 w 387391"/>
                <a:gd name="connsiteY90" fmla="*/ 1204152 h 1362193"/>
                <a:gd name="connsiteX91" fmla="*/ 170020 w 387391"/>
                <a:gd name="connsiteY91" fmla="*/ 1238273 h 1362193"/>
                <a:gd name="connsiteX92" fmla="*/ 166299 w 387391"/>
                <a:gd name="connsiteY92" fmla="*/ 1276551 h 1362193"/>
                <a:gd name="connsiteX93" fmla="*/ 160059 w 387391"/>
                <a:gd name="connsiteY93" fmla="*/ 1314281 h 1362193"/>
                <a:gd name="connsiteX94" fmla="*/ 152194 w 387391"/>
                <a:gd name="connsiteY94" fmla="*/ 1346841 h 136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7391" h="1362193">
                  <a:moveTo>
                    <a:pt x="147207" y="1362193"/>
                  </a:moveTo>
                  <a:lnTo>
                    <a:pt x="0" y="1227645"/>
                  </a:lnTo>
                  <a:lnTo>
                    <a:pt x="1801" y="1216824"/>
                  </a:lnTo>
                  <a:lnTo>
                    <a:pt x="9982" y="1183657"/>
                  </a:lnTo>
                  <a:lnTo>
                    <a:pt x="19511" y="1155162"/>
                  </a:lnTo>
                  <a:lnTo>
                    <a:pt x="29965" y="1130658"/>
                  </a:lnTo>
                  <a:lnTo>
                    <a:pt x="35174" y="1116977"/>
                  </a:lnTo>
                  <a:lnTo>
                    <a:pt x="38332" y="1102401"/>
                  </a:lnTo>
                  <a:lnTo>
                    <a:pt x="39384" y="1087320"/>
                  </a:lnTo>
                  <a:lnTo>
                    <a:pt x="38273" y="1072129"/>
                  </a:lnTo>
                  <a:lnTo>
                    <a:pt x="35227" y="1044400"/>
                  </a:lnTo>
                  <a:lnTo>
                    <a:pt x="34146" y="1013355"/>
                  </a:lnTo>
                  <a:lnTo>
                    <a:pt x="35613" y="978542"/>
                  </a:lnTo>
                  <a:lnTo>
                    <a:pt x="40211" y="939522"/>
                  </a:lnTo>
                  <a:lnTo>
                    <a:pt x="47532" y="901192"/>
                  </a:lnTo>
                  <a:lnTo>
                    <a:pt x="56501" y="868288"/>
                  </a:lnTo>
                  <a:lnTo>
                    <a:pt x="66705" y="840114"/>
                  </a:lnTo>
                  <a:lnTo>
                    <a:pt x="77736" y="815968"/>
                  </a:lnTo>
                  <a:lnTo>
                    <a:pt x="83263" y="802466"/>
                  </a:lnTo>
                  <a:lnTo>
                    <a:pt x="86767" y="787986"/>
                  </a:lnTo>
                  <a:lnTo>
                    <a:pt x="88180" y="772917"/>
                  </a:lnTo>
                  <a:lnTo>
                    <a:pt x="87430" y="757660"/>
                  </a:lnTo>
                  <a:lnTo>
                    <a:pt x="85045" y="729759"/>
                  </a:lnTo>
                  <a:lnTo>
                    <a:pt x="84702" y="698614"/>
                  </a:lnTo>
                  <a:lnTo>
                    <a:pt x="86996" y="663797"/>
                  </a:lnTo>
                  <a:lnTo>
                    <a:pt x="92525" y="624880"/>
                  </a:lnTo>
                  <a:lnTo>
                    <a:pt x="100755" y="586757"/>
                  </a:lnTo>
                  <a:lnTo>
                    <a:pt x="110503" y="554139"/>
                  </a:lnTo>
                  <a:lnTo>
                    <a:pt x="121375" y="526301"/>
                  </a:lnTo>
                  <a:lnTo>
                    <a:pt x="132975" y="502531"/>
                  </a:lnTo>
                  <a:lnTo>
                    <a:pt x="138829" y="489213"/>
                  </a:lnTo>
                  <a:lnTo>
                    <a:pt x="142681" y="474842"/>
                  </a:lnTo>
                  <a:lnTo>
                    <a:pt x="144456" y="459803"/>
                  </a:lnTo>
                  <a:lnTo>
                    <a:pt x="144076" y="444493"/>
                  </a:lnTo>
                  <a:lnTo>
                    <a:pt x="142357" y="416450"/>
                  </a:lnTo>
                  <a:lnTo>
                    <a:pt x="142758" y="385226"/>
                  </a:lnTo>
                  <a:lnTo>
                    <a:pt x="152346" y="311639"/>
                  </a:lnTo>
                  <a:lnTo>
                    <a:pt x="172019" y="241430"/>
                  </a:lnTo>
                  <a:lnTo>
                    <a:pt x="183555" y="213957"/>
                  </a:lnTo>
                  <a:lnTo>
                    <a:pt x="195724" y="190594"/>
                  </a:lnTo>
                  <a:lnTo>
                    <a:pt x="201893" y="177476"/>
                  </a:lnTo>
                  <a:lnTo>
                    <a:pt x="206090" y="163216"/>
                  </a:lnTo>
                  <a:lnTo>
                    <a:pt x="208224" y="148202"/>
                  </a:lnTo>
                  <a:lnTo>
                    <a:pt x="208213" y="132829"/>
                  </a:lnTo>
                  <a:lnTo>
                    <a:pt x="207176" y="104665"/>
                  </a:lnTo>
                  <a:lnTo>
                    <a:pt x="208326" y="73397"/>
                  </a:lnTo>
                  <a:lnTo>
                    <a:pt x="212288" y="38637"/>
                  </a:lnTo>
                  <a:lnTo>
                    <a:pt x="219676" y="0"/>
                  </a:lnTo>
                  <a:lnTo>
                    <a:pt x="287633" y="26053"/>
                  </a:lnTo>
                  <a:lnTo>
                    <a:pt x="319472" y="21526"/>
                  </a:lnTo>
                  <a:lnTo>
                    <a:pt x="387391" y="47704"/>
                  </a:lnTo>
                  <a:lnTo>
                    <a:pt x="377580" y="84557"/>
                  </a:lnTo>
                  <a:lnTo>
                    <a:pt x="366651" y="115974"/>
                  </a:lnTo>
                  <a:lnTo>
                    <a:pt x="354905" y="142708"/>
                  </a:lnTo>
                  <a:lnTo>
                    <a:pt x="342644" y="165500"/>
                  </a:lnTo>
                  <a:lnTo>
                    <a:pt x="336471" y="178343"/>
                  </a:lnTo>
                  <a:lnTo>
                    <a:pt x="332298" y="192357"/>
                  </a:lnTo>
                  <a:lnTo>
                    <a:pt x="330215" y="207132"/>
                  </a:lnTo>
                  <a:lnTo>
                    <a:pt x="330307" y="222258"/>
                  </a:lnTo>
                  <a:lnTo>
                    <a:pt x="331589" y="249962"/>
                  </a:lnTo>
                  <a:lnTo>
                    <a:pt x="327519" y="314780"/>
                  </a:lnTo>
                  <a:lnTo>
                    <a:pt x="302000" y="421596"/>
                  </a:lnTo>
                  <a:lnTo>
                    <a:pt x="290914" y="448689"/>
                  </a:lnTo>
                  <a:lnTo>
                    <a:pt x="279212" y="471876"/>
                  </a:lnTo>
                  <a:lnTo>
                    <a:pt x="273344" y="484919"/>
                  </a:lnTo>
                  <a:lnTo>
                    <a:pt x="269507" y="499050"/>
                  </a:lnTo>
                  <a:lnTo>
                    <a:pt x="267781" y="513865"/>
                  </a:lnTo>
                  <a:lnTo>
                    <a:pt x="268244" y="528953"/>
                  </a:lnTo>
                  <a:lnTo>
                    <a:pt x="270189" y="556508"/>
                  </a:lnTo>
                  <a:lnTo>
                    <a:pt x="267683" y="621274"/>
                  </a:lnTo>
                  <a:lnTo>
                    <a:pt x="244719" y="728742"/>
                  </a:lnTo>
                  <a:lnTo>
                    <a:pt x="234282" y="756186"/>
                  </a:lnTo>
                  <a:lnTo>
                    <a:pt x="223136" y="779752"/>
                  </a:lnTo>
                  <a:lnTo>
                    <a:pt x="217590" y="792993"/>
                  </a:lnTo>
                  <a:lnTo>
                    <a:pt x="214094" y="807234"/>
                  </a:lnTo>
                  <a:lnTo>
                    <a:pt x="212719" y="822065"/>
                  </a:lnTo>
                  <a:lnTo>
                    <a:pt x="213536" y="837076"/>
                  </a:lnTo>
                  <a:lnTo>
                    <a:pt x="216138" y="864486"/>
                  </a:lnTo>
                  <a:lnTo>
                    <a:pt x="216861" y="895028"/>
                  </a:lnTo>
                  <a:lnTo>
                    <a:pt x="215178" y="929167"/>
                  </a:lnTo>
                  <a:lnTo>
                    <a:pt x="210551" y="967371"/>
                  </a:lnTo>
                  <a:lnTo>
                    <a:pt x="203422" y="1004914"/>
                  </a:lnTo>
                  <a:lnTo>
                    <a:pt x="194788" y="1037221"/>
                  </a:lnTo>
                  <a:lnTo>
                    <a:pt x="185007" y="1064994"/>
                  </a:lnTo>
                  <a:lnTo>
                    <a:pt x="174434" y="1088933"/>
                  </a:lnTo>
                  <a:lnTo>
                    <a:pt x="169197" y="1102354"/>
                  </a:lnTo>
                  <a:lnTo>
                    <a:pt x="166041" y="1116692"/>
                  </a:lnTo>
                  <a:lnTo>
                    <a:pt x="165025" y="1131536"/>
                  </a:lnTo>
                  <a:lnTo>
                    <a:pt x="166203" y="1146478"/>
                  </a:lnTo>
                  <a:lnTo>
                    <a:pt x="169452" y="1173714"/>
                  </a:lnTo>
                  <a:lnTo>
                    <a:pt x="170899" y="1204152"/>
                  </a:lnTo>
                  <a:lnTo>
                    <a:pt x="170020" y="1238273"/>
                  </a:lnTo>
                  <a:lnTo>
                    <a:pt x="166299" y="1276551"/>
                  </a:lnTo>
                  <a:lnTo>
                    <a:pt x="160059" y="1314281"/>
                  </a:lnTo>
                  <a:lnTo>
                    <a:pt x="152194" y="1346841"/>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3" name="Freeform: Shape 22">
              <a:extLst>
                <a:ext uri="{FF2B5EF4-FFF2-40B4-BE49-F238E27FC236}">
                  <a16:creationId xmlns:a16="http://schemas.microsoft.com/office/drawing/2014/main" id="{3E8E3230-9156-DD1E-B7F1-16D5D2D1922F}"/>
                </a:ext>
              </a:extLst>
            </p:cNvPr>
            <p:cNvSpPr/>
            <p:nvPr/>
          </p:nvSpPr>
          <p:spPr>
            <a:xfrm rot="14016479" flipH="1">
              <a:off x="11562598" y="1072719"/>
              <a:ext cx="396316" cy="1360756"/>
            </a:xfrm>
            <a:custGeom>
              <a:avLst/>
              <a:gdLst>
                <a:gd name="connsiteX0" fmla="*/ 1895 w 396316"/>
                <a:gd name="connsiteY0" fmla="*/ 1360756 h 1360756"/>
                <a:gd name="connsiteX1" fmla="*/ 179155 w 396316"/>
                <a:gd name="connsiteY1" fmla="*/ 1230107 h 1360756"/>
                <a:gd name="connsiteX2" fmla="*/ 179823 w 396316"/>
                <a:gd name="connsiteY2" fmla="*/ 1204153 h 1360756"/>
                <a:gd name="connsiteX3" fmla="*/ 178378 w 396316"/>
                <a:gd name="connsiteY3" fmla="*/ 1173715 h 1360756"/>
                <a:gd name="connsiteX4" fmla="*/ 175128 w 396316"/>
                <a:gd name="connsiteY4" fmla="*/ 1146478 h 1360756"/>
                <a:gd name="connsiteX5" fmla="*/ 173950 w 396316"/>
                <a:gd name="connsiteY5" fmla="*/ 1131536 h 1360756"/>
                <a:gd name="connsiteX6" fmla="*/ 174966 w 396316"/>
                <a:gd name="connsiteY6" fmla="*/ 1116691 h 1360756"/>
                <a:gd name="connsiteX7" fmla="*/ 178122 w 396316"/>
                <a:gd name="connsiteY7" fmla="*/ 1102354 h 1360756"/>
                <a:gd name="connsiteX8" fmla="*/ 183359 w 396316"/>
                <a:gd name="connsiteY8" fmla="*/ 1088934 h 1360756"/>
                <a:gd name="connsiteX9" fmla="*/ 193932 w 396316"/>
                <a:gd name="connsiteY9" fmla="*/ 1064996 h 1360756"/>
                <a:gd name="connsiteX10" fmla="*/ 203713 w 396316"/>
                <a:gd name="connsiteY10" fmla="*/ 1037221 h 1360756"/>
                <a:gd name="connsiteX11" fmla="*/ 212347 w 396316"/>
                <a:gd name="connsiteY11" fmla="*/ 1004914 h 1360756"/>
                <a:gd name="connsiteX12" fmla="*/ 219475 w 396316"/>
                <a:gd name="connsiteY12" fmla="*/ 967371 h 1360756"/>
                <a:gd name="connsiteX13" fmla="*/ 224102 w 396316"/>
                <a:gd name="connsiteY13" fmla="*/ 929167 h 1360756"/>
                <a:gd name="connsiteX14" fmla="*/ 225786 w 396316"/>
                <a:gd name="connsiteY14" fmla="*/ 895028 h 1360756"/>
                <a:gd name="connsiteX15" fmla="*/ 225064 w 396316"/>
                <a:gd name="connsiteY15" fmla="*/ 864486 h 1360756"/>
                <a:gd name="connsiteX16" fmla="*/ 222460 w 396316"/>
                <a:gd name="connsiteY16" fmla="*/ 837076 h 1360756"/>
                <a:gd name="connsiteX17" fmla="*/ 221643 w 396316"/>
                <a:gd name="connsiteY17" fmla="*/ 822065 h 1360756"/>
                <a:gd name="connsiteX18" fmla="*/ 223019 w 396316"/>
                <a:gd name="connsiteY18" fmla="*/ 807234 h 1360756"/>
                <a:gd name="connsiteX19" fmla="*/ 226515 w 396316"/>
                <a:gd name="connsiteY19" fmla="*/ 792993 h 1360756"/>
                <a:gd name="connsiteX20" fmla="*/ 232061 w 396316"/>
                <a:gd name="connsiteY20" fmla="*/ 779753 h 1360756"/>
                <a:gd name="connsiteX21" fmla="*/ 243207 w 396316"/>
                <a:gd name="connsiteY21" fmla="*/ 756187 h 1360756"/>
                <a:gd name="connsiteX22" fmla="*/ 253644 w 396316"/>
                <a:gd name="connsiteY22" fmla="*/ 728742 h 1360756"/>
                <a:gd name="connsiteX23" fmla="*/ 276608 w 396316"/>
                <a:gd name="connsiteY23" fmla="*/ 621274 h 1360756"/>
                <a:gd name="connsiteX24" fmla="*/ 279113 w 396316"/>
                <a:gd name="connsiteY24" fmla="*/ 556509 h 1360756"/>
                <a:gd name="connsiteX25" fmla="*/ 277169 w 396316"/>
                <a:gd name="connsiteY25" fmla="*/ 528954 h 1360756"/>
                <a:gd name="connsiteX26" fmla="*/ 276706 w 396316"/>
                <a:gd name="connsiteY26" fmla="*/ 513865 h 1360756"/>
                <a:gd name="connsiteX27" fmla="*/ 278432 w 396316"/>
                <a:gd name="connsiteY27" fmla="*/ 499051 h 1360756"/>
                <a:gd name="connsiteX28" fmla="*/ 282268 w 396316"/>
                <a:gd name="connsiteY28" fmla="*/ 484919 h 1360756"/>
                <a:gd name="connsiteX29" fmla="*/ 288136 w 396316"/>
                <a:gd name="connsiteY29" fmla="*/ 471875 h 1360756"/>
                <a:gd name="connsiteX30" fmla="*/ 299838 w 396316"/>
                <a:gd name="connsiteY30" fmla="*/ 448689 h 1360756"/>
                <a:gd name="connsiteX31" fmla="*/ 310926 w 396316"/>
                <a:gd name="connsiteY31" fmla="*/ 421596 h 1360756"/>
                <a:gd name="connsiteX32" fmla="*/ 336445 w 396316"/>
                <a:gd name="connsiteY32" fmla="*/ 314779 h 1360756"/>
                <a:gd name="connsiteX33" fmla="*/ 340514 w 396316"/>
                <a:gd name="connsiteY33" fmla="*/ 249962 h 1360756"/>
                <a:gd name="connsiteX34" fmla="*/ 339232 w 396316"/>
                <a:gd name="connsiteY34" fmla="*/ 222259 h 1360756"/>
                <a:gd name="connsiteX35" fmla="*/ 339139 w 396316"/>
                <a:gd name="connsiteY35" fmla="*/ 207132 h 1360756"/>
                <a:gd name="connsiteX36" fmla="*/ 341223 w 396316"/>
                <a:gd name="connsiteY36" fmla="*/ 192357 h 1360756"/>
                <a:gd name="connsiteX37" fmla="*/ 345396 w 396316"/>
                <a:gd name="connsiteY37" fmla="*/ 178344 h 1360756"/>
                <a:gd name="connsiteX38" fmla="*/ 351569 w 396316"/>
                <a:gd name="connsiteY38" fmla="*/ 165499 h 1360756"/>
                <a:gd name="connsiteX39" fmla="*/ 363830 w 396316"/>
                <a:gd name="connsiteY39" fmla="*/ 142708 h 1360756"/>
                <a:gd name="connsiteX40" fmla="*/ 375575 w 396316"/>
                <a:gd name="connsiteY40" fmla="*/ 115974 h 1360756"/>
                <a:gd name="connsiteX41" fmla="*/ 386505 w 396316"/>
                <a:gd name="connsiteY41" fmla="*/ 84557 h 1360756"/>
                <a:gd name="connsiteX42" fmla="*/ 396316 w 396316"/>
                <a:gd name="connsiteY42" fmla="*/ 47704 h 1360756"/>
                <a:gd name="connsiteX43" fmla="*/ 328398 w 396316"/>
                <a:gd name="connsiteY43" fmla="*/ 21526 h 1360756"/>
                <a:gd name="connsiteX44" fmla="*/ 296558 w 396316"/>
                <a:gd name="connsiteY44" fmla="*/ 26054 h 1360756"/>
                <a:gd name="connsiteX45" fmla="*/ 228600 w 396316"/>
                <a:gd name="connsiteY45" fmla="*/ 0 h 1360756"/>
                <a:gd name="connsiteX46" fmla="*/ 221212 w 396316"/>
                <a:gd name="connsiteY46" fmla="*/ 38637 h 1360756"/>
                <a:gd name="connsiteX47" fmla="*/ 217251 w 396316"/>
                <a:gd name="connsiteY47" fmla="*/ 73398 h 1360756"/>
                <a:gd name="connsiteX48" fmla="*/ 216101 w 396316"/>
                <a:gd name="connsiteY48" fmla="*/ 104666 h 1360756"/>
                <a:gd name="connsiteX49" fmla="*/ 217137 w 396316"/>
                <a:gd name="connsiteY49" fmla="*/ 132829 h 1360756"/>
                <a:gd name="connsiteX50" fmla="*/ 217148 w 396316"/>
                <a:gd name="connsiteY50" fmla="*/ 148202 h 1360756"/>
                <a:gd name="connsiteX51" fmla="*/ 215014 w 396316"/>
                <a:gd name="connsiteY51" fmla="*/ 163216 h 1360756"/>
                <a:gd name="connsiteX52" fmla="*/ 210819 w 396316"/>
                <a:gd name="connsiteY52" fmla="*/ 177476 h 1360756"/>
                <a:gd name="connsiteX53" fmla="*/ 204649 w 396316"/>
                <a:gd name="connsiteY53" fmla="*/ 190595 h 1360756"/>
                <a:gd name="connsiteX54" fmla="*/ 192480 w 396316"/>
                <a:gd name="connsiteY54" fmla="*/ 213957 h 1360756"/>
                <a:gd name="connsiteX55" fmla="*/ 180943 w 396316"/>
                <a:gd name="connsiteY55" fmla="*/ 241431 h 1360756"/>
                <a:gd name="connsiteX56" fmla="*/ 161271 w 396316"/>
                <a:gd name="connsiteY56" fmla="*/ 311640 h 1360756"/>
                <a:gd name="connsiteX57" fmla="*/ 151682 w 396316"/>
                <a:gd name="connsiteY57" fmla="*/ 385226 h 1360756"/>
                <a:gd name="connsiteX58" fmla="*/ 151281 w 396316"/>
                <a:gd name="connsiteY58" fmla="*/ 416450 h 1360756"/>
                <a:gd name="connsiteX59" fmla="*/ 153002 w 396316"/>
                <a:gd name="connsiteY59" fmla="*/ 444494 h 1360756"/>
                <a:gd name="connsiteX60" fmla="*/ 153382 w 396316"/>
                <a:gd name="connsiteY60" fmla="*/ 459803 h 1360756"/>
                <a:gd name="connsiteX61" fmla="*/ 151607 w 396316"/>
                <a:gd name="connsiteY61" fmla="*/ 474842 h 1360756"/>
                <a:gd name="connsiteX62" fmla="*/ 147754 w 396316"/>
                <a:gd name="connsiteY62" fmla="*/ 489214 h 1360756"/>
                <a:gd name="connsiteX63" fmla="*/ 141899 w 396316"/>
                <a:gd name="connsiteY63" fmla="*/ 502531 h 1360756"/>
                <a:gd name="connsiteX64" fmla="*/ 130300 w 396316"/>
                <a:gd name="connsiteY64" fmla="*/ 526301 h 1360756"/>
                <a:gd name="connsiteX65" fmla="*/ 119429 w 396316"/>
                <a:gd name="connsiteY65" fmla="*/ 554139 h 1360756"/>
                <a:gd name="connsiteX66" fmla="*/ 109680 w 396316"/>
                <a:gd name="connsiteY66" fmla="*/ 586758 h 1360756"/>
                <a:gd name="connsiteX67" fmla="*/ 101449 w 396316"/>
                <a:gd name="connsiteY67" fmla="*/ 624880 h 1360756"/>
                <a:gd name="connsiteX68" fmla="*/ 95922 w 396316"/>
                <a:gd name="connsiteY68" fmla="*/ 663796 h 1360756"/>
                <a:gd name="connsiteX69" fmla="*/ 93627 w 396316"/>
                <a:gd name="connsiteY69" fmla="*/ 698615 h 1360756"/>
                <a:gd name="connsiteX70" fmla="*/ 93970 w 396316"/>
                <a:gd name="connsiteY70" fmla="*/ 729759 h 1360756"/>
                <a:gd name="connsiteX71" fmla="*/ 96355 w 396316"/>
                <a:gd name="connsiteY71" fmla="*/ 757660 h 1360756"/>
                <a:gd name="connsiteX72" fmla="*/ 97105 w 396316"/>
                <a:gd name="connsiteY72" fmla="*/ 772918 h 1360756"/>
                <a:gd name="connsiteX73" fmla="*/ 95692 w 396316"/>
                <a:gd name="connsiteY73" fmla="*/ 787986 h 1360756"/>
                <a:gd name="connsiteX74" fmla="*/ 92188 w 396316"/>
                <a:gd name="connsiteY74" fmla="*/ 802466 h 1360756"/>
                <a:gd name="connsiteX75" fmla="*/ 86660 w 396316"/>
                <a:gd name="connsiteY75" fmla="*/ 815968 h 1360756"/>
                <a:gd name="connsiteX76" fmla="*/ 75630 w 396316"/>
                <a:gd name="connsiteY76" fmla="*/ 840114 h 1360756"/>
                <a:gd name="connsiteX77" fmla="*/ 65425 w 396316"/>
                <a:gd name="connsiteY77" fmla="*/ 868288 h 1360756"/>
                <a:gd name="connsiteX78" fmla="*/ 56457 w 396316"/>
                <a:gd name="connsiteY78" fmla="*/ 901192 h 1360756"/>
                <a:gd name="connsiteX79" fmla="*/ 49136 w 396316"/>
                <a:gd name="connsiteY79" fmla="*/ 939522 h 1360756"/>
                <a:gd name="connsiteX80" fmla="*/ 44538 w 396316"/>
                <a:gd name="connsiteY80" fmla="*/ 978543 h 1360756"/>
                <a:gd name="connsiteX81" fmla="*/ 43071 w 396316"/>
                <a:gd name="connsiteY81" fmla="*/ 1013355 h 1360756"/>
                <a:gd name="connsiteX82" fmla="*/ 44152 w 396316"/>
                <a:gd name="connsiteY82" fmla="*/ 1044400 h 1360756"/>
                <a:gd name="connsiteX83" fmla="*/ 47198 w 396316"/>
                <a:gd name="connsiteY83" fmla="*/ 1072130 h 1360756"/>
                <a:gd name="connsiteX84" fmla="*/ 48308 w 396316"/>
                <a:gd name="connsiteY84" fmla="*/ 1087319 h 1360756"/>
                <a:gd name="connsiteX85" fmla="*/ 47258 w 396316"/>
                <a:gd name="connsiteY85" fmla="*/ 1102401 h 1360756"/>
                <a:gd name="connsiteX86" fmla="*/ 44099 w 396316"/>
                <a:gd name="connsiteY86" fmla="*/ 1116978 h 1360756"/>
                <a:gd name="connsiteX87" fmla="*/ 38890 w 396316"/>
                <a:gd name="connsiteY87" fmla="*/ 1130659 h 1360756"/>
                <a:gd name="connsiteX88" fmla="*/ 28435 w 396316"/>
                <a:gd name="connsiteY88" fmla="*/ 1155163 h 1360756"/>
                <a:gd name="connsiteX89" fmla="*/ 18907 w 396316"/>
                <a:gd name="connsiteY89" fmla="*/ 1183657 h 1360756"/>
                <a:gd name="connsiteX90" fmla="*/ 10725 w 396316"/>
                <a:gd name="connsiteY90" fmla="*/ 1216824 h 1360756"/>
                <a:gd name="connsiteX91" fmla="*/ 4314 w 396316"/>
                <a:gd name="connsiteY91" fmla="*/ 1255345 h 1360756"/>
                <a:gd name="connsiteX92" fmla="*/ 643 w 396316"/>
                <a:gd name="connsiteY92" fmla="*/ 1294449 h 1360756"/>
                <a:gd name="connsiteX93" fmla="*/ 0 w 396316"/>
                <a:gd name="connsiteY93" fmla="*/ 1329231 h 1360756"/>
                <a:gd name="connsiteX94" fmla="*/ 1814 w 396316"/>
                <a:gd name="connsiteY94" fmla="*/ 1360158 h 136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96316" h="1360756">
                  <a:moveTo>
                    <a:pt x="1895" y="1360756"/>
                  </a:moveTo>
                  <a:lnTo>
                    <a:pt x="179155" y="1230107"/>
                  </a:lnTo>
                  <a:lnTo>
                    <a:pt x="179823" y="1204153"/>
                  </a:lnTo>
                  <a:lnTo>
                    <a:pt x="178378" y="1173715"/>
                  </a:lnTo>
                  <a:lnTo>
                    <a:pt x="175128" y="1146478"/>
                  </a:lnTo>
                  <a:lnTo>
                    <a:pt x="173950" y="1131536"/>
                  </a:lnTo>
                  <a:lnTo>
                    <a:pt x="174966" y="1116691"/>
                  </a:lnTo>
                  <a:lnTo>
                    <a:pt x="178122" y="1102354"/>
                  </a:lnTo>
                  <a:lnTo>
                    <a:pt x="183359" y="1088934"/>
                  </a:lnTo>
                  <a:lnTo>
                    <a:pt x="193932" y="1064996"/>
                  </a:lnTo>
                  <a:lnTo>
                    <a:pt x="203713" y="1037221"/>
                  </a:lnTo>
                  <a:lnTo>
                    <a:pt x="212347" y="1004914"/>
                  </a:lnTo>
                  <a:lnTo>
                    <a:pt x="219475" y="967371"/>
                  </a:lnTo>
                  <a:lnTo>
                    <a:pt x="224102" y="929167"/>
                  </a:lnTo>
                  <a:lnTo>
                    <a:pt x="225786" y="895028"/>
                  </a:lnTo>
                  <a:lnTo>
                    <a:pt x="225064" y="864486"/>
                  </a:lnTo>
                  <a:lnTo>
                    <a:pt x="222460" y="837076"/>
                  </a:lnTo>
                  <a:lnTo>
                    <a:pt x="221643" y="822065"/>
                  </a:lnTo>
                  <a:lnTo>
                    <a:pt x="223019" y="807234"/>
                  </a:lnTo>
                  <a:lnTo>
                    <a:pt x="226515" y="792993"/>
                  </a:lnTo>
                  <a:lnTo>
                    <a:pt x="232061" y="779753"/>
                  </a:lnTo>
                  <a:lnTo>
                    <a:pt x="243207" y="756187"/>
                  </a:lnTo>
                  <a:lnTo>
                    <a:pt x="253644" y="728742"/>
                  </a:lnTo>
                  <a:lnTo>
                    <a:pt x="276608" y="621274"/>
                  </a:lnTo>
                  <a:lnTo>
                    <a:pt x="279113" y="556509"/>
                  </a:lnTo>
                  <a:lnTo>
                    <a:pt x="277169" y="528954"/>
                  </a:lnTo>
                  <a:lnTo>
                    <a:pt x="276706" y="513865"/>
                  </a:lnTo>
                  <a:lnTo>
                    <a:pt x="278432" y="499051"/>
                  </a:lnTo>
                  <a:lnTo>
                    <a:pt x="282268" y="484919"/>
                  </a:lnTo>
                  <a:lnTo>
                    <a:pt x="288136" y="471875"/>
                  </a:lnTo>
                  <a:lnTo>
                    <a:pt x="299838" y="448689"/>
                  </a:lnTo>
                  <a:lnTo>
                    <a:pt x="310926" y="421596"/>
                  </a:lnTo>
                  <a:lnTo>
                    <a:pt x="336445" y="314779"/>
                  </a:lnTo>
                  <a:lnTo>
                    <a:pt x="340514" y="249962"/>
                  </a:lnTo>
                  <a:lnTo>
                    <a:pt x="339232" y="222259"/>
                  </a:lnTo>
                  <a:lnTo>
                    <a:pt x="339139" y="207132"/>
                  </a:lnTo>
                  <a:lnTo>
                    <a:pt x="341223" y="192357"/>
                  </a:lnTo>
                  <a:lnTo>
                    <a:pt x="345396" y="178344"/>
                  </a:lnTo>
                  <a:lnTo>
                    <a:pt x="351569" y="165499"/>
                  </a:lnTo>
                  <a:lnTo>
                    <a:pt x="363830" y="142708"/>
                  </a:lnTo>
                  <a:lnTo>
                    <a:pt x="375575" y="115974"/>
                  </a:lnTo>
                  <a:lnTo>
                    <a:pt x="386505" y="84557"/>
                  </a:lnTo>
                  <a:lnTo>
                    <a:pt x="396316" y="47704"/>
                  </a:lnTo>
                  <a:lnTo>
                    <a:pt x="328398" y="21526"/>
                  </a:lnTo>
                  <a:lnTo>
                    <a:pt x="296558" y="26054"/>
                  </a:lnTo>
                  <a:lnTo>
                    <a:pt x="228600" y="0"/>
                  </a:lnTo>
                  <a:lnTo>
                    <a:pt x="221212" y="38637"/>
                  </a:lnTo>
                  <a:lnTo>
                    <a:pt x="217251" y="73398"/>
                  </a:lnTo>
                  <a:lnTo>
                    <a:pt x="216101" y="104666"/>
                  </a:lnTo>
                  <a:lnTo>
                    <a:pt x="217137" y="132829"/>
                  </a:lnTo>
                  <a:lnTo>
                    <a:pt x="217148" y="148202"/>
                  </a:lnTo>
                  <a:lnTo>
                    <a:pt x="215014" y="163216"/>
                  </a:lnTo>
                  <a:lnTo>
                    <a:pt x="210819" y="177476"/>
                  </a:lnTo>
                  <a:lnTo>
                    <a:pt x="204649" y="190595"/>
                  </a:lnTo>
                  <a:lnTo>
                    <a:pt x="192480" y="213957"/>
                  </a:lnTo>
                  <a:lnTo>
                    <a:pt x="180943" y="241431"/>
                  </a:lnTo>
                  <a:lnTo>
                    <a:pt x="161271" y="311640"/>
                  </a:lnTo>
                  <a:lnTo>
                    <a:pt x="151682" y="385226"/>
                  </a:lnTo>
                  <a:lnTo>
                    <a:pt x="151281" y="416450"/>
                  </a:lnTo>
                  <a:lnTo>
                    <a:pt x="153002" y="444494"/>
                  </a:lnTo>
                  <a:lnTo>
                    <a:pt x="153382" y="459803"/>
                  </a:lnTo>
                  <a:lnTo>
                    <a:pt x="151607" y="474842"/>
                  </a:lnTo>
                  <a:lnTo>
                    <a:pt x="147754" y="489214"/>
                  </a:lnTo>
                  <a:lnTo>
                    <a:pt x="141899" y="502531"/>
                  </a:lnTo>
                  <a:lnTo>
                    <a:pt x="130300" y="526301"/>
                  </a:lnTo>
                  <a:lnTo>
                    <a:pt x="119429" y="554139"/>
                  </a:lnTo>
                  <a:lnTo>
                    <a:pt x="109680" y="586758"/>
                  </a:lnTo>
                  <a:lnTo>
                    <a:pt x="101449" y="624880"/>
                  </a:lnTo>
                  <a:lnTo>
                    <a:pt x="95922" y="663796"/>
                  </a:lnTo>
                  <a:lnTo>
                    <a:pt x="93627" y="698615"/>
                  </a:lnTo>
                  <a:lnTo>
                    <a:pt x="93970" y="729759"/>
                  </a:lnTo>
                  <a:lnTo>
                    <a:pt x="96355" y="757660"/>
                  </a:lnTo>
                  <a:lnTo>
                    <a:pt x="97105" y="772918"/>
                  </a:lnTo>
                  <a:lnTo>
                    <a:pt x="95692" y="787986"/>
                  </a:lnTo>
                  <a:lnTo>
                    <a:pt x="92188" y="802466"/>
                  </a:lnTo>
                  <a:lnTo>
                    <a:pt x="86660" y="815968"/>
                  </a:lnTo>
                  <a:lnTo>
                    <a:pt x="75630" y="840114"/>
                  </a:lnTo>
                  <a:lnTo>
                    <a:pt x="65425" y="868288"/>
                  </a:lnTo>
                  <a:lnTo>
                    <a:pt x="56457" y="901192"/>
                  </a:lnTo>
                  <a:lnTo>
                    <a:pt x="49136" y="939522"/>
                  </a:lnTo>
                  <a:lnTo>
                    <a:pt x="44538" y="978543"/>
                  </a:lnTo>
                  <a:lnTo>
                    <a:pt x="43071" y="1013355"/>
                  </a:lnTo>
                  <a:lnTo>
                    <a:pt x="44152" y="1044400"/>
                  </a:lnTo>
                  <a:lnTo>
                    <a:pt x="47198" y="1072130"/>
                  </a:lnTo>
                  <a:lnTo>
                    <a:pt x="48308" y="1087319"/>
                  </a:lnTo>
                  <a:lnTo>
                    <a:pt x="47258" y="1102401"/>
                  </a:lnTo>
                  <a:lnTo>
                    <a:pt x="44099" y="1116978"/>
                  </a:lnTo>
                  <a:lnTo>
                    <a:pt x="38890" y="1130659"/>
                  </a:lnTo>
                  <a:lnTo>
                    <a:pt x="28435" y="1155163"/>
                  </a:lnTo>
                  <a:lnTo>
                    <a:pt x="18907" y="1183657"/>
                  </a:lnTo>
                  <a:lnTo>
                    <a:pt x="10725" y="1216824"/>
                  </a:lnTo>
                  <a:lnTo>
                    <a:pt x="4314" y="1255345"/>
                  </a:lnTo>
                  <a:lnTo>
                    <a:pt x="643" y="1294449"/>
                  </a:lnTo>
                  <a:lnTo>
                    <a:pt x="0" y="1329231"/>
                  </a:lnTo>
                  <a:lnTo>
                    <a:pt x="1814" y="1360158"/>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5" name="Freeform: Shape 24">
              <a:extLst>
                <a:ext uri="{FF2B5EF4-FFF2-40B4-BE49-F238E27FC236}">
                  <a16:creationId xmlns:a16="http://schemas.microsoft.com/office/drawing/2014/main" id="{EC32B673-4698-7A79-A0A1-1C9D7A9F6DD6}"/>
                </a:ext>
              </a:extLst>
            </p:cNvPr>
            <p:cNvSpPr/>
            <p:nvPr/>
          </p:nvSpPr>
          <p:spPr>
            <a:xfrm rot="2178052">
              <a:off x="3337106" y="-195329"/>
              <a:ext cx="824420" cy="956250"/>
            </a:xfrm>
            <a:custGeom>
              <a:avLst/>
              <a:gdLst>
                <a:gd name="connsiteX0" fmla="*/ 7604 w 824420"/>
                <a:gd name="connsiteY0" fmla="*/ 424448 h 956250"/>
                <a:gd name="connsiteX1" fmla="*/ 585403 w 824420"/>
                <a:gd name="connsiteY1" fmla="*/ 0 h 956250"/>
                <a:gd name="connsiteX2" fmla="*/ 586429 w 824420"/>
                <a:gd name="connsiteY2" fmla="*/ 500 h 956250"/>
                <a:gd name="connsiteX3" fmla="*/ 608584 w 824420"/>
                <a:gd name="connsiteY3" fmla="*/ 15155 h 956250"/>
                <a:gd name="connsiteX4" fmla="*/ 665559 w 824420"/>
                <a:gd name="connsiteY4" fmla="*/ 46054 h 956250"/>
                <a:gd name="connsiteX5" fmla="*/ 696328 w 824420"/>
                <a:gd name="connsiteY5" fmla="*/ 82429 h 956250"/>
                <a:gd name="connsiteX6" fmla="*/ 763602 w 824420"/>
                <a:gd name="connsiteY6" fmla="*/ 138099 h 956250"/>
                <a:gd name="connsiteX7" fmla="*/ 824357 w 824420"/>
                <a:gd name="connsiteY7" fmla="*/ 267302 h 956250"/>
                <a:gd name="connsiteX8" fmla="*/ 779769 w 824420"/>
                <a:gd name="connsiteY8" fmla="*/ 384118 h 956250"/>
                <a:gd name="connsiteX9" fmla="*/ 654868 w 824420"/>
                <a:gd name="connsiteY9" fmla="*/ 444613 h 956250"/>
                <a:gd name="connsiteX10" fmla="*/ 515887 w 824420"/>
                <a:gd name="connsiteY10" fmla="*/ 439007 h 956250"/>
                <a:gd name="connsiteX11" fmla="*/ 445614 w 824420"/>
                <a:gd name="connsiteY11" fmla="*/ 369386 h 956250"/>
                <a:gd name="connsiteX12" fmla="*/ 419669 w 824420"/>
                <a:gd name="connsiteY12" fmla="*/ 372254 h 956250"/>
                <a:gd name="connsiteX13" fmla="*/ 385510 w 824420"/>
                <a:gd name="connsiteY13" fmla="*/ 384640 h 956250"/>
                <a:gd name="connsiteX14" fmla="*/ 386684 w 824420"/>
                <a:gd name="connsiteY14" fmla="*/ 412280 h 956250"/>
                <a:gd name="connsiteX15" fmla="*/ 364520 w 824420"/>
                <a:gd name="connsiteY15" fmla="*/ 460128 h 956250"/>
                <a:gd name="connsiteX16" fmla="*/ 412759 w 824420"/>
                <a:gd name="connsiteY16" fmla="*/ 484769 h 956250"/>
                <a:gd name="connsiteX17" fmla="*/ 429838 w 824420"/>
                <a:gd name="connsiteY17" fmla="*/ 512017 h 956250"/>
                <a:gd name="connsiteX18" fmla="*/ 564256 w 824420"/>
                <a:gd name="connsiteY18" fmla="*/ 492070 h 956250"/>
                <a:gd name="connsiteX19" fmla="*/ 722143 w 824420"/>
                <a:gd name="connsiteY19" fmla="*/ 609930 h 956250"/>
                <a:gd name="connsiteX20" fmla="*/ 716666 w 824420"/>
                <a:gd name="connsiteY20" fmla="*/ 832612 h 956250"/>
                <a:gd name="connsiteX21" fmla="*/ 606889 w 824420"/>
                <a:gd name="connsiteY21" fmla="*/ 916574 h 956250"/>
                <a:gd name="connsiteX22" fmla="*/ 531662 w 824420"/>
                <a:gd name="connsiteY22" fmla="*/ 956078 h 956250"/>
                <a:gd name="connsiteX23" fmla="*/ 402720 w 824420"/>
                <a:gd name="connsiteY23" fmla="*/ 906535 h 956250"/>
                <a:gd name="connsiteX24" fmla="*/ 314586 w 824420"/>
                <a:gd name="connsiteY24" fmla="*/ 887761 h 956250"/>
                <a:gd name="connsiteX25" fmla="*/ 267781 w 824420"/>
                <a:gd name="connsiteY25" fmla="*/ 855819 h 956250"/>
                <a:gd name="connsiteX26" fmla="*/ 174822 w 824420"/>
                <a:gd name="connsiteY26" fmla="*/ 807189 h 956250"/>
                <a:gd name="connsiteX27" fmla="*/ 107027 w 824420"/>
                <a:gd name="connsiteY27" fmla="*/ 730919 h 956250"/>
                <a:gd name="connsiteX28" fmla="*/ 37014 w 824420"/>
                <a:gd name="connsiteY28" fmla="*/ 609148 h 956250"/>
                <a:gd name="connsiteX29" fmla="*/ 2204 w 824420"/>
                <a:gd name="connsiteY29" fmla="*/ 524012 h 956250"/>
                <a:gd name="connsiteX30" fmla="*/ 14590 w 824420"/>
                <a:gd name="connsiteY30" fmla="*/ 457520 h 956250"/>
                <a:gd name="connsiteX31" fmla="*/ 9880 w 824420"/>
                <a:gd name="connsiteY31" fmla="*/ 431771 h 9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420" h="956250">
                  <a:moveTo>
                    <a:pt x="7604" y="424448"/>
                  </a:moveTo>
                  <a:lnTo>
                    <a:pt x="585403" y="0"/>
                  </a:lnTo>
                  <a:lnTo>
                    <a:pt x="586429" y="500"/>
                  </a:lnTo>
                  <a:cubicBezTo>
                    <a:pt x="595172" y="5792"/>
                    <a:pt x="602457" y="11015"/>
                    <a:pt x="608584" y="15155"/>
                  </a:cubicBezTo>
                  <a:cubicBezTo>
                    <a:pt x="633095" y="31712"/>
                    <a:pt x="642091" y="30278"/>
                    <a:pt x="665559" y="46054"/>
                  </a:cubicBezTo>
                  <a:cubicBezTo>
                    <a:pt x="674033" y="51790"/>
                    <a:pt x="688375" y="63002"/>
                    <a:pt x="696328" y="82429"/>
                  </a:cubicBezTo>
                  <a:cubicBezTo>
                    <a:pt x="704281" y="101855"/>
                    <a:pt x="723446" y="108634"/>
                    <a:pt x="763602" y="138099"/>
                  </a:cubicBezTo>
                  <a:cubicBezTo>
                    <a:pt x="803627" y="167564"/>
                    <a:pt x="824357" y="267302"/>
                    <a:pt x="824357" y="267302"/>
                  </a:cubicBezTo>
                  <a:cubicBezTo>
                    <a:pt x="824357" y="267302"/>
                    <a:pt x="828008" y="308631"/>
                    <a:pt x="779769" y="384118"/>
                  </a:cubicBezTo>
                  <a:cubicBezTo>
                    <a:pt x="731660" y="459607"/>
                    <a:pt x="683681" y="448785"/>
                    <a:pt x="654868" y="444613"/>
                  </a:cubicBezTo>
                  <a:cubicBezTo>
                    <a:pt x="626055" y="440441"/>
                    <a:pt x="591505" y="465604"/>
                    <a:pt x="515887" y="439007"/>
                  </a:cubicBezTo>
                  <a:cubicBezTo>
                    <a:pt x="440269" y="412410"/>
                    <a:pt x="445614" y="369386"/>
                    <a:pt x="445614" y="369386"/>
                  </a:cubicBezTo>
                  <a:cubicBezTo>
                    <a:pt x="445614" y="369386"/>
                    <a:pt x="445614" y="369386"/>
                    <a:pt x="419669" y="372254"/>
                  </a:cubicBezTo>
                  <a:cubicBezTo>
                    <a:pt x="405589" y="373819"/>
                    <a:pt x="393724" y="379686"/>
                    <a:pt x="385510" y="384640"/>
                  </a:cubicBezTo>
                  <a:cubicBezTo>
                    <a:pt x="387205" y="394418"/>
                    <a:pt x="387988" y="403936"/>
                    <a:pt x="386684" y="412280"/>
                  </a:cubicBezTo>
                  <a:cubicBezTo>
                    <a:pt x="381730" y="444091"/>
                    <a:pt x="364520" y="460128"/>
                    <a:pt x="364520" y="460128"/>
                  </a:cubicBezTo>
                  <a:cubicBezTo>
                    <a:pt x="364520" y="460128"/>
                    <a:pt x="400634" y="468863"/>
                    <a:pt x="412759" y="484769"/>
                  </a:cubicBezTo>
                  <a:cubicBezTo>
                    <a:pt x="425015" y="500675"/>
                    <a:pt x="429838" y="512017"/>
                    <a:pt x="429838" y="512017"/>
                  </a:cubicBezTo>
                  <a:cubicBezTo>
                    <a:pt x="429838" y="512017"/>
                    <a:pt x="483423" y="465212"/>
                    <a:pt x="564256" y="492070"/>
                  </a:cubicBezTo>
                  <a:cubicBezTo>
                    <a:pt x="645090" y="518928"/>
                    <a:pt x="694894" y="545784"/>
                    <a:pt x="722143" y="609930"/>
                  </a:cubicBezTo>
                  <a:cubicBezTo>
                    <a:pt x="749391" y="674205"/>
                    <a:pt x="770512" y="753865"/>
                    <a:pt x="716666" y="832612"/>
                  </a:cubicBezTo>
                  <a:cubicBezTo>
                    <a:pt x="662561" y="911489"/>
                    <a:pt x="634790" y="907969"/>
                    <a:pt x="606889" y="916574"/>
                  </a:cubicBezTo>
                  <a:cubicBezTo>
                    <a:pt x="578990" y="925179"/>
                    <a:pt x="573383" y="958946"/>
                    <a:pt x="531662" y="956078"/>
                  </a:cubicBezTo>
                  <a:cubicBezTo>
                    <a:pt x="489942" y="953209"/>
                    <a:pt x="421625" y="918530"/>
                    <a:pt x="402720" y="906535"/>
                  </a:cubicBezTo>
                  <a:cubicBezTo>
                    <a:pt x="383815" y="894541"/>
                    <a:pt x="341313" y="900277"/>
                    <a:pt x="314586" y="887761"/>
                  </a:cubicBezTo>
                  <a:cubicBezTo>
                    <a:pt x="287859" y="875375"/>
                    <a:pt x="267781" y="855819"/>
                    <a:pt x="267781" y="855819"/>
                  </a:cubicBezTo>
                  <a:cubicBezTo>
                    <a:pt x="267781" y="855819"/>
                    <a:pt x="211980" y="853993"/>
                    <a:pt x="174822" y="807189"/>
                  </a:cubicBezTo>
                  <a:cubicBezTo>
                    <a:pt x="137665" y="760514"/>
                    <a:pt x="136491" y="752952"/>
                    <a:pt x="107027" y="730919"/>
                  </a:cubicBezTo>
                  <a:cubicBezTo>
                    <a:pt x="77561" y="708755"/>
                    <a:pt x="47836" y="648260"/>
                    <a:pt x="37014" y="609148"/>
                  </a:cubicBezTo>
                  <a:cubicBezTo>
                    <a:pt x="26193" y="570035"/>
                    <a:pt x="9896" y="567688"/>
                    <a:pt x="2204" y="524012"/>
                  </a:cubicBezTo>
                  <a:cubicBezTo>
                    <a:pt x="-5619" y="480336"/>
                    <a:pt x="9505" y="474469"/>
                    <a:pt x="14590" y="457520"/>
                  </a:cubicBezTo>
                  <a:cubicBezTo>
                    <a:pt x="17132" y="449046"/>
                    <a:pt x="13253" y="440213"/>
                    <a:pt x="9880" y="431771"/>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8" name="Freeform: Shape 38">
              <a:extLst>
                <a:ext uri="{FF2B5EF4-FFF2-40B4-BE49-F238E27FC236}">
                  <a16:creationId xmlns:a16="http://schemas.microsoft.com/office/drawing/2014/main" id="{70AE955C-F488-4170-0F06-FDA5A986ECD4}"/>
                </a:ext>
              </a:extLst>
            </p:cNvPr>
            <p:cNvSpPr/>
            <p:nvPr/>
          </p:nvSpPr>
          <p:spPr>
            <a:xfrm rot="2178052">
              <a:off x="4018658" y="599530"/>
              <a:ext cx="811337" cy="846750"/>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9" name="Freeform: Shape 38">
              <a:extLst>
                <a:ext uri="{FF2B5EF4-FFF2-40B4-BE49-F238E27FC236}">
                  <a16:creationId xmlns:a16="http://schemas.microsoft.com/office/drawing/2014/main" id="{65BE474B-8D54-6B49-E928-0753148BA9FC}"/>
                </a:ext>
              </a:extLst>
            </p:cNvPr>
            <p:cNvSpPr/>
            <p:nvPr/>
          </p:nvSpPr>
          <p:spPr>
            <a:xfrm rot="2178052">
              <a:off x="4437060" y="-235812"/>
              <a:ext cx="896460" cy="864605"/>
            </a:xfrm>
            <a:custGeom>
              <a:avLst/>
              <a:gdLst>
                <a:gd name="connsiteX0" fmla="*/ 0 w 896460"/>
                <a:gd name="connsiteY0" fmla="*/ 517761 h 864605"/>
                <a:gd name="connsiteX1" fmla="*/ 341535 w 896460"/>
                <a:gd name="connsiteY1" fmla="*/ 266871 h 864605"/>
                <a:gd name="connsiteX2" fmla="*/ 348784 w 896460"/>
                <a:gd name="connsiteY2" fmla="*/ 284936 h 864605"/>
                <a:gd name="connsiteX3" fmla="*/ 355026 w 896460"/>
                <a:gd name="connsiteY3" fmla="*/ 317547 h 864605"/>
                <a:gd name="connsiteX4" fmla="*/ 346682 w 896460"/>
                <a:gd name="connsiteY4" fmla="*/ 367220 h 864605"/>
                <a:gd name="connsiteX5" fmla="*/ 347464 w 896460"/>
                <a:gd name="connsiteY5" fmla="*/ 368654 h 864605"/>
                <a:gd name="connsiteX6" fmla="*/ 364283 w 896460"/>
                <a:gd name="connsiteY6" fmla="*/ 417285 h 864605"/>
                <a:gd name="connsiteX7" fmla="*/ 406394 w 896460"/>
                <a:gd name="connsiteY7" fmla="*/ 437623 h 864605"/>
                <a:gd name="connsiteX8" fmla="*/ 428819 w 896460"/>
                <a:gd name="connsiteY8" fmla="*/ 460048 h 864605"/>
                <a:gd name="connsiteX9" fmla="*/ 449418 w 896460"/>
                <a:gd name="connsiteY9" fmla="*/ 454442 h 864605"/>
                <a:gd name="connsiteX10" fmla="*/ 463368 w 896460"/>
                <a:gd name="connsiteY10" fmla="*/ 442578 h 864605"/>
                <a:gd name="connsiteX11" fmla="*/ 503785 w 896460"/>
                <a:gd name="connsiteY11" fmla="*/ 420674 h 864605"/>
                <a:gd name="connsiteX12" fmla="*/ 481360 w 896460"/>
                <a:gd name="connsiteY12" fmla="*/ 378041 h 864605"/>
                <a:gd name="connsiteX13" fmla="*/ 471451 w 896460"/>
                <a:gd name="connsiteY13" fmla="*/ 303727 h 864605"/>
                <a:gd name="connsiteX14" fmla="*/ 403917 w 896460"/>
                <a:gd name="connsiteY14" fmla="*/ 228892 h 864605"/>
                <a:gd name="connsiteX15" fmla="*/ 401186 w 896460"/>
                <a:gd name="connsiteY15" fmla="*/ 223052 h 864605"/>
                <a:gd name="connsiteX16" fmla="*/ 704824 w 896460"/>
                <a:gd name="connsiteY16" fmla="*/ 0 h 864605"/>
                <a:gd name="connsiteX17" fmla="*/ 720340 w 896460"/>
                <a:gd name="connsiteY17" fmla="*/ 17422 h 864605"/>
                <a:gd name="connsiteX18" fmla="*/ 738593 w 896460"/>
                <a:gd name="connsiteY18" fmla="*/ 29155 h 864605"/>
                <a:gd name="connsiteX19" fmla="*/ 828553 w 896460"/>
                <a:gd name="connsiteY19" fmla="*/ 103861 h 864605"/>
                <a:gd name="connsiteX20" fmla="*/ 862320 w 896460"/>
                <a:gd name="connsiteY20" fmla="*/ 222112 h 864605"/>
                <a:gd name="connsiteX21" fmla="*/ 864015 w 896460"/>
                <a:gd name="connsiteY21" fmla="*/ 246493 h 864605"/>
                <a:gd name="connsiteX22" fmla="*/ 867927 w 896460"/>
                <a:gd name="connsiteY22" fmla="*/ 265136 h 864605"/>
                <a:gd name="connsiteX23" fmla="*/ 878617 w 896460"/>
                <a:gd name="connsiteY23" fmla="*/ 314418 h 864605"/>
                <a:gd name="connsiteX24" fmla="*/ 895957 w 896460"/>
                <a:gd name="connsiteY24" fmla="*/ 402943 h 864605"/>
                <a:gd name="connsiteX25" fmla="*/ 871838 w 896460"/>
                <a:gd name="connsiteY25" fmla="*/ 465394 h 864605"/>
                <a:gd name="connsiteX26" fmla="*/ 843285 w 896460"/>
                <a:gd name="connsiteY26" fmla="*/ 575692 h 864605"/>
                <a:gd name="connsiteX27" fmla="*/ 836114 w 896460"/>
                <a:gd name="connsiteY27" fmla="*/ 586122 h 864605"/>
                <a:gd name="connsiteX28" fmla="*/ 818513 w 896460"/>
                <a:gd name="connsiteY28" fmla="*/ 616499 h 864605"/>
                <a:gd name="connsiteX29" fmla="*/ 808214 w 896460"/>
                <a:gd name="connsiteY29" fmla="*/ 639836 h 864605"/>
                <a:gd name="connsiteX30" fmla="*/ 728163 w 896460"/>
                <a:gd name="connsiteY30" fmla="*/ 712717 h 864605"/>
                <a:gd name="connsiteX31" fmla="*/ 671449 w 896460"/>
                <a:gd name="connsiteY31" fmla="*/ 762520 h 864605"/>
                <a:gd name="connsiteX32" fmla="*/ 590615 w 896460"/>
                <a:gd name="connsiteY32" fmla="*/ 787422 h 864605"/>
                <a:gd name="connsiteX33" fmla="*/ 541594 w 896460"/>
                <a:gd name="connsiteY33" fmla="*/ 814932 h 864605"/>
                <a:gd name="connsiteX34" fmla="*/ 509522 w 896460"/>
                <a:gd name="connsiteY34" fmla="*/ 818322 h 864605"/>
                <a:gd name="connsiteX35" fmla="*/ 426472 w 896460"/>
                <a:gd name="connsiteY35" fmla="*/ 862518 h 864605"/>
                <a:gd name="connsiteX36" fmla="*/ 407307 w 896460"/>
                <a:gd name="connsiteY36" fmla="*/ 864605 h 864605"/>
                <a:gd name="connsiteX37" fmla="*/ 341075 w 896460"/>
                <a:gd name="connsiteY37" fmla="*/ 843354 h 864605"/>
                <a:gd name="connsiteX38" fmla="*/ 326212 w 896460"/>
                <a:gd name="connsiteY38" fmla="*/ 836052 h 864605"/>
                <a:gd name="connsiteX39" fmla="*/ 288534 w 896460"/>
                <a:gd name="connsiteY39" fmla="*/ 832011 h 864605"/>
                <a:gd name="connsiteX40" fmla="*/ 207440 w 896460"/>
                <a:gd name="connsiteY40" fmla="*/ 819233 h 864605"/>
                <a:gd name="connsiteX41" fmla="*/ 78497 w 896460"/>
                <a:gd name="connsiteY41" fmla="*/ 701374 h 864605"/>
                <a:gd name="connsiteX42" fmla="*/ 46164 w 896460"/>
                <a:gd name="connsiteY42" fmla="*/ 607373 h 864605"/>
                <a:gd name="connsiteX43" fmla="*/ 43034 w 896460"/>
                <a:gd name="connsiteY43" fmla="*/ 582471 h 864605"/>
                <a:gd name="connsiteX44" fmla="*/ 40688 w 896460"/>
                <a:gd name="connsiteY44" fmla="*/ 579473 h 864605"/>
                <a:gd name="connsiteX45" fmla="*/ 8697 w 896460"/>
                <a:gd name="connsiteY45" fmla="*/ 534656 h 86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96460" h="864605">
                  <a:moveTo>
                    <a:pt x="0" y="517761"/>
                  </a:moveTo>
                  <a:lnTo>
                    <a:pt x="341535" y="266871"/>
                  </a:lnTo>
                  <a:lnTo>
                    <a:pt x="348784" y="284936"/>
                  </a:lnTo>
                  <a:cubicBezTo>
                    <a:pt x="351277" y="293297"/>
                    <a:pt x="353592" y="304053"/>
                    <a:pt x="355026" y="317547"/>
                  </a:cubicBezTo>
                  <a:cubicBezTo>
                    <a:pt x="357633" y="343231"/>
                    <a:pt x="352157" y="358615"/>
                    <a:pt x="346682" y="367220"/>
                  </a:cubicBezTo>
                  <a:lnTo>
                    <a:pt x="347464" y="368654"/>
                  </a:lnTo>
                  <a:cubicBezTo>
                    <a:pt x="352418" y="377650"/>
                    <a:pt x="359589" y="400858"/>
                    <a:pt x="364283" y="417285"/>
                  </a:cubicBezTo>
                  <a:cubicBezTo>
                    <a:pt x="378233" y="420805"/>
                    <a:pt x="394790" y="426933"/>
                    <a:pt x="406394" y="437623"/>
                  </a:cubicBezTo>
                  <a:cubicBezTo>
                    <a:pt x="416694" y="447010"/>
                    <a:pt x="423995" y="454702"/>
                    <a:pt x="428819" y="460048"/>
                  </a:cubicBezTo>
                  <a:cubicBezTo>
                    <a:pt x="434816" y="457571"/>
                    <a:pt x="442508" y="454963"/>
                    <a:pt x="449418" y="454442"/>
                  </a:cubicBezTo>
                  <a:cubicBezTo>
                    <a:pt x="454503" y="449879"/>
                    <a:pt x="459066" y="445967"/>
                    <a:pt x="463368" y="442578"/>
                  </a:cubicBezTo>
                  <a:cubicBezTo>
                    <a:pt x="473407" y="434625"/>
                    <a:pt x="486966" y="427193"/>
                    <a:pt x="503785" y="420674"/>
                  </a:cubicBezTo>
                  <a:cubicBezTo>
                    <a:pt x="495571" y="407116"/>
                    <a:pt x="486966" y="391471"/>
                    <a:pt x="481360" y="378041"/>
                  </a:cubicBezTo>
                  <a:cubicBezTo>
                    <a:pt x="471191" y="353922"/>
                    <a:pt x="471060" y="318720"/>
                    <a:pt x="471451" y="303727"/>
                  </a:cubicBezTo>
                  <a:cubicBezTo>
                    <a:pt x="458805" y="293558"/>
                    <a:pt x="427775" y="266831"/>
                    <a:pt x="403917" y="228892"/>
                  </a:cubicBezTo>
                  <a:lnTo>
                    <a:pt x="401186" y="223052"/>
                  </a:lnTo>
                  <a:lnTo>
                    <a:pt x="704824" y="0"/>
                  </a:lnTo>
                  <a:lnTo>
                    <a:pt x="720340" y="17422"/>
                  </a:lnTo>
                  <a:cubicBezTo>
                    <a:pt x="722036" y="19638"/>
                    <a:pt x="731162" y="24853"/>
                    <a:pt x="738593" y="29155"/>
                  </a:cubicBezTo>
                  <a:cubicBezTo>
                    <a:pt x="762061" y="42584"/>
                    <a:pt x="797523" y="63053"/>
                    <a:pt x="828553" y="103861"/>
                  </a:cubicBezTo>
                  <a:cubicBezTo>
                    <a:pt x="854106" y="137367"/>
                    <a:pt x="856844" y="165659"/>
                    <a:pt x="862320" y="222112"/>
                  </a:cubicBezTo>
                  <a:cubicBezTo>
                    <a:pt x="863363" y="232803"/>
                    <a:pt x="863754" y="240495"/>
                    <a:pt x="864015" y="246493"/>
                  </a:cubicBezTo>
                  <a:cubicBezTo>
                    <a:pt x="864537" y="258356"/>
                    <a:pt x="864797" y="260051"/>
                    <a:pt x="867927" y="265136"/>
                  </a:cubicBezTo>
                  <a:cubicBezTo>
                    <a:pt x="878095" y="281303"/>
                    <a:pt x="878748" y="305422"/>
                    <a:pt x="878617" y="314418"/>
                  </a:cubicBezTo>
                  <a:cubicBezTo>
                    <a:pt x="883572" y="325630"/>
                    <a:pt x="899477" y="365656"/>
                    <a:pt x="895957" y="402943"/>
                  </a:cubicBezTo>
                  <a:cubicBezTo>
                    <a:pt x="892698" y="436319"/>
                    <a:pt x="878878" y="456919"/>
                    <a:pt x="871838" y="465394"/>
                  </a:cubicBezTo>
                  <a:cubicBezTo>
                    <a:pt x="871447" y="482864"/>
                    <a:pt x="868057" y="539577"/>
                    <a:pt x="843285" y="575692"/>
                  </a:cubicBezTo>
                  <a:lnTo>
                    <a:pt x="836114" y="586122"/>
                  </a:lnTo>
                  <a:cubicBezTo>
                    <a:pt x="823859" y="603984"/>
                    <a:pt x="823859" y="603984"/>
                    <a:pt x="818513" y="616499"/>
                  </a:cubicBezTo>
                  <a:cubicBezTo>
                    <a:pt x="816297" y="621715"/>
                    <a:pt x="813168" y="628885"/>
                    <a:pt x="808214" y="639836"/>
                  </a:cubicBezTo>
                  <a:cubicBezTo>
                    <a:pt x="789049" y="682208"/>
                    <a:pt x="741201" y="706720"/>
                    <a:pt x="728163" y="712717"/>
                  </a:cubicBezTo>
                  <a:cubicBezTo>
                    <a:pt x="722035" y="720279"/>
                    <a:pt x="703913" y="740748"/>
                    <a:pt x="671449" y="762520"/>
                  </a:cubicBezTo>
                  <a:cubicBezTo>
                    <a:pt x="638203" y="785075"/>
                    <a:pt x="603262" y="787422"/>
                    <a:pt x="590615" y="787422"/>
                  </a:cubicBezTo>
                  <a:cubicBezTo>
                    <a:pt x="581750" y="793550"/>
                    <a:pt x="558152" y="809065"/>
                    <a:pt x="541594" y="814932"/>
                  </a:cubicBezTo>
                  <a:cubicBezTo>
                    <a:pt x="529469" y="819103"/>
                    <a:pt x="518257" y="818843"/>
                    <a:pt x="509522" y="818322"/>
                  </a:cubicBezTo>
                  <a:cubicBezTo>
                    <a:pt x="482143" y="842180"/>
                    <a:pt x="447723" y="857825"/>
                    <a:pt x="426472" y="862518"/>
                  </a:cubicBezTo>
                  <a:cubicBezTo>
                    <a:pt x="419953" y="863953"/>
                    <a:pt x="413434" y="864605"/>
                    <a:pt x="407307" y="864605"/>
                  </a:cubicBezTo>
                  <a:cubicBezTo>
                    <a:pt x="379928" y="864605"/>
                    <a:pt x="357112" y="852219"/>
                    <a:pt x="341075" y="843354"/>
                  </a:cubicBezTo>
                  <a:cubicBezTo>
                    <a:pt x="335208" y="840094"/>
                    <a:pt x="329603" y="837095"/>
                    <a:pt x="326212" y="836052"/>
                  </a:cubicBezTo>
                  <a:cubicBezTo>
                    <a:pt x="318520" y="833706"/>
                    <a:pt x="303918" y="832924"/>
                    <a:pt x="288534" y="832011"/>
                  </a:cubicBezTo>
                  <a:cubicBezTo>
                    <a:pt x="263371" y="830577"/>
                    <a:pt x="232080" y="828882"/>
                    <a:pt x="207440" y="819233"/>
                  </a:cubicBezTo>
                  <a:cubicBezTo>
                    <a:pt x="159591" y="800590"/>
                    <a:pt x="121130" y="765389"/>
                    <a:pt x="78497" y="701374"/>
                  </a:cubicBezTo>
                  <a:cubicBezTo>
                    <a:pt x="51248" y="660306"/>
                    <a:pt x="48641" y="633448"/>
                    <a:pt x="46164" y="607373"/>
                  </a:cubicBezTo>
                  <a:cubicBezTo>
                    <a:pt x="45382" y="598898"/>
                    <a:pt x="44599" y="590945"/>
                    <a:pt x="43034" y="582471"/>
                  </a:cubicBezTo>
                  <a:lnTo>
                    <a:pt x="40688" y="579473"/>
                  </a:lnTo>
                  <a:cubicBezTo>
                    <a:pt x="32344" y="569042"/>
                    <a:pt x="20382" y="554147"/>
                    <a:pt x="8697" y="534656"/>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0" name="Freeform 804">
              <a:extLst>
                <a:ext uri="{FF2B5EF4-FFF2-40B4-BE49-F238E27FC236}">
                  <a16:creationId xmlns:a16="http://schemas.microsoft.com/office/drawing/2014/main" id="{A2F5D7E5-A7CF-A991-0565-88B5DA4C8761}"/>
                </a:ext>
              </a:extLst>
            </p:cNvPr>
            <p:cNvSpPr/>
            <p:nvPr/>
          </p:nvSpPr>
          <p:spPr>
            <a:xfrm rot="2446866">
              <a:off x="1632046" y="308867"/>
              <a:ext cx="1252773" cy="581372"/>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grp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3" name="Freeform: Shape 12">
              <a:extLst>
                <a:ext uri="{FF2B5EF4-FFF2-40B4-BE49-F238E27FC236}">
                  <a16:creationId xmlns:a16="http://schemas.microsoft.com/office/drawing/2014/main" id="{DDA5A6CD-236E-CB01-1606-AC3A9BFD6401}"/>
                </a:ext>
              </a:extLst>
            </p:cNvPr>
            <p:cNvSpPr/>
            <p:nvPr/>
          </p:nvSpPr>
          <p:spPr>
            <a:xfrm rot="7810828">
              <a:off x="6121498" y="55300"/>
              <a:ext cx="830632" cy="452973"/>
            </a:xfrm>
            <a:custGeom>
              <a:avLst/>
              <a:gdLst>
                <a:gd name="connsiteX0" fmla="*/ 237757 w 830632"/>
                <a:gd name="connsiteY0" fmla="*/ 452973 h 452973"/>
                <a:gd name="connsiteX1" fmla="*/ 0 w 830632"/>
                <a:gd name="connsiteY1" fmla="*/ 171431 h 452973"/>
                <a:gd name="connsiteX2" fmla="*/ 400522 w 830632"/>
                <a:gd name="connsiteY2" fmla="*/ 91373 h 452973"/>
                <a:gd name="connsiteX3" fmla="*/ 447867 w 830632"/>
                <a:gd name="connsiteY3" fmla="*/ 116410 h 452973"/>
                <a:gd name="connsiteX4" fmla="*/ 483002 w 830632"/>
                <a:gd name="connsiteY4" fmla="*/ 208749 h 452973"/>
                <a:gd name="connsiteX5" fmla="*/ 599632 w 830632"/>
                <a:gd name="connsiteY5" fmla="*/ 95808 h 452973"/>
                <a:gd name="connsiteX6" fmla="*/ 751650 w 830632"/>
                <a:gd name="connsiteY6" fmla="*/ 0 h 452973"/>
                <a:gd name="connsiteX7" fmla="*/ 830632 w 830632"/>
                <a:gd name="connsiteY7" fmla="*/ 355627 h 452973"/>
                <a:gd name="connsiteX8" fmla="*/ 650793 w 830632"/>
                <a:gd name="connsiteY8" fmla="*/ 326186 h 452973"/>
                <a:gd name="connsiteX9" fmla="*/ 496038 w 830632"/>
                <a:gd name="connsiteY9" fmla="*/ 267513 h 452973"/>
                <a:gd name="connsiteX10" fmla="*/ 503162 w 830632"/>
                <a:gd name="connsiteY10" fmla="*/ 365431 h 452973"/>
                <a:gd name="connsiteX11" fmla="*/ 470474 w 830632"/>
                <a:gd name="connsiteY11" fmla="*/ 406457 h 45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632" h="452973">
                  <a:moveTo>
                    <a:pt x="237757" y="452973"/>
                  </a:moveTo>
                  <a:lnTo>
                    <a:pt x="0" y="171431"/>
                  </a:lnTo>
                  <a:lnTo>
                    <a:pt x="400522" y="91373"/>
                  </a:lnTo>
                  <a:cubicBezTo>
                    <a:pt x="420682" y="87361"/>
                    <a:pt x="440872" y="98040"/>
                    <a:pt x="447867" y="116410"/>
                  </a:cubicBezTo>
                  <a:lnTo>
                    <a:pt x="483002" y="208749"/>
                  </a:lnTo>
                  <a:cubicBezTo>
                    <a:pt x="538742" y="197376"/>
                    <a:pt x="553463" y="147632"/>
                    <a:pt x="599632" y="95808"/>
                  </a:cubicBezTo>
                  <a:cubicBezTo>
                    <a:pt x="631524" y="60030"/>
                    <a:pt x="682556" y="13815"/>
                    <a:pt x="751650" y="0"/>
                  </a:cubicBezTo>
                  <a:cubicBezTo>
                    <a:pt x="836197" y="82746"/>
                    <a:pt x="747517" y="282505"/>
                    <a:pt x="830632" y="355627"/>
                  </a:cubicBezTo>
                  <a:cubicBezTo>
                    <a:pt x="761539" y="369444"/>
                    <a:pt x="695180" y="346699"/>
                    <a:pt x="650793" y="326186"/>
                  </a:cubicBezTo>
                  <a:cubicBezTo>
                    <a:pt x="586500" y="296471"/>
                    <a:pt x="551874" y="256592"/>
                    <a:pt x="496038" y="267513"/>
                  </a:cubicBezTo>
                  <a:lnTo>
                    <a:pt x="503162" y="365431"/>
                  </a:lnTo>
                  <a:cubicBezTo>
                    <a:pt x="504592" y="384918"/>
                    <a:pt x="490634" y="402415"/>
                    <a:pt x="470474" y="406457"/>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47" name="Freeform: Shape 46">
              <a:extLst>
                <a:ext uri="{FF2B5EF4-FFF2-40B4-BE49-F238E27FC236}">
                  <a16:creationId xmlns:a16="http://schemas.microsoft.com/office/drawing/2014/main" id="{A834EA7C-7383-3679-D682-F521E10A0371}"/>
                </a:ext>
              </a:extLst>
            </p:cNvPr>
            <p:cNvSpPr>
              <a:spLocks noChangeAspect="1"/>
            </p:cNvSpPr>
            <p:nvPr/>
          </p:nvSpPr>
          <p:spPr>
            <a:xfrm rot="4135771">
              <a:off x="-471911" y="1291003"/>
              <a:ext cx="1445127" cy="1038064"/>
            </a:xfrm>
            <a:custGeom>
              <a:avLst/>
              <a:gdLst>
                <a:gd name="connsiteX0" fmla="*/ 27721 w 1445127"/>
                <a:gd name="connsiteY0" fmla="*/ 428157 h 1038064"/>
                <a:gd name="connsiteX1" fmla="*/ 81240 w 1445127"/>
                <a:gd name="connsiteY1" fmla="*/ 403987 h 1038064"/>
                <a:gd name="connsiteX2" fmla="*/ 72608 w 1445127"/>
                <a:gd name="connsiteY2" fmla="*/ 347014 h 1038064"/>
                <a:gd name="connsiteX3" fmla="*/ 127854 w 1445127"/>
                <a:gd name="connsiteY3" fmla="*/ 329750 h 1038064"/>
                <a:gd name="connsiteX4" fmla="*/ 127854 w 1445127"/>
                <a:gd name="connsiteY4" fmla="*/ 271051 h 1038064"/>
                <a:gd name="connsiteX5" fmla="*/ 184827 w 1445127"/>
                <a:gd name="connsiteY5" fmla="*/ 260692 h 1038064"/>
                <a:gd name="connsiteX6" fmla="*/ 191732 w 1445127"/>
                <a:gd name="connsiteY6" fmla="*/ 201994 h 1038064"/>
                <a:gd name="connsiteX7" fmla="*/ 250432 w 1445127"/>
                <a:gd name="connsiteY7" fmla="*/ 198540 h 1038064"/>
                <a:gd name="connsiteX8" fmla="*/ 264243 w 1445127"/>
                <a:gd name="connsiteY8" fmla="*/ 141568 h 1038064"/>
                <a:gd name="connsiteX9" fmla="*/ 322942 w 1445127"/>
                <a:gd name="connsiteY9" fmla="*/ 146747 h 1038064"/>
                <a:gd name="connsiteX10" fmla="*/ 343659 w 1445127"/>
                <a:gd name="connsiteY10" fmla="*/ 91502 h 1038064"/>
                <a:gd name="connsiteX11" fmla="*/ 400631 w 1445127"/>
                <a:gd name="connsiteY11" fmla="*/ 103586 h 1038064"/>
                <a:gd name="connsiteX12" fmla="*/ 428255 w 1445127"/>
                <a:gd name="connsiteY12" fmla="*/ 51793 h 1038064"/>
                <a:gd name="connsiteX13" fmla="*/ 481774 w 1445127"/>
                <a:gd name="connsiteY13" fmla="*/ 70784 h 1038064"/>
                <a:gd name="connsiteX14" fmla="*/ 516303 w 1445127"/>
                <a:gd name="connsiteY14" fmla="*/ 22444 h 1038064"/>
                <a:gd name="connsiteX15" fmla="*/ 568096 w 1445127"/>
                <a:gd name="connsiteY15" fmla="*/ 48340 h 1038064"/>
                <a:gd name="connsiteX16" fmla="*/ 607804 w 1445127"/>
                <a:gd name="connsiteY16" fmla="*/ 5179 h 1038064"/>
                <a:gd name="connsiteX17" fmla="*/ 656145 w 1445127"/>
                <a:gd name="connsiteY17" fmla="*/ 37982 h 1038064"/>
                <a:gd name="connsiteX18" fmla="*/ 701032 w 1445127"/>
                <a:gd name="connsiteY18" fmla="*/ 0 h 1038064"/>
                <a:gd name="connsiteX19" fmla="*/ 745919 w 1445127"/>
                <a:gd name="connsiteY19" fmla="*/ 37982 h 1038064"/>
                <a:gd name="connsiteX20" fmla="*/ 794259 w 1445127"/>
                <a:gd name="connsiteY20" fmla="*/ 5179 h 1038064"/>
                <a:gd name="connsiteX21" fmla="*/ 833968 w 1445127"/>
                <a:gd name="connsiteY21" fmla="*/ 48340 h 1038064"/>
                <a:gd name="connsiteX22" fmla="*/ 885761 w 1445127"/>
                <a:gd name="connsiteY22" fmla="*/ 22444 h 1038064"/>
                <a:gd name="connsiteX23" fmla="*/ 920290 w 1445127"/>
                <a:gd name="connsiteY23" fmla="*/ 70784 h 1038064"/>
                <a:gd name="connsiteX24" fmla="*/ 975536 w 1445127"/>
                <a:gd name="connsiteY24" fmla="*/ 51793 h 1038064"/>
                <a:gd name="connsiteX25" fmla="*/ 1003158 w 1445127"/>
                <a:gd name="connsiteY25" fmla="*/ 103586 h 1038064"/>
                <a:gd name="connsiteX26" fmla="*/ 1060131 w 1445127"/>
                <a:gd name="connsiteY26" fmla="*/ 91502 h 1038064"/>
                <a:gd name="connsiteX27" fmla="*/ 1080848 w 1445127"/>
                <a:gd name="connsiteY27" fmla="*/ 146747 h 1038064"/>
                <a:gd name="connsiteX28" fmla="*/ 1139547 w 1445127"/>
                <a:gd name="connsiteY28" fmla="*/ 141568 h 1038064"/>
                <a:gd name="connsiteX29" fmla="*/ 1153358 w 1445127"/>
                <a:gd name="connsiteY29" fmla="*/ 198540 h 1038064"/>
                <a:gd name="connsiteX30" fmla="*/ 1212058 w 1445127"/>
                <a:gd name="connsiteY30" fmla="*/ 201994 h 1038064"/>
                <a:gd name="connsiteX31" fmla="*/ 1218963 w 1445127"/>
                <a:gd name="connsiteY31" fmla="*/ 260692 h 1038064"/>
                <a:gd name="connsiteX32" fmla="*/ 1275936 w 1445127"/>
                <a:gd name="connsiteY32" fmla="*/ 271051 h 1038064"/>
                <a:gd name="connsiteX33" fmla="*/ 1275936 w 1445127"/>
                <a:gd name="connsiteY33" fmla="*/ 329750 h 1038064"/>
                <a:gd name="connsiteX34" fmla="*/ 1331182 w 1445127"/>
                <a:gd name="connsiteY34" fmla="*/ 347014 h 1038064"/>
                <a:gd name="connsiteX35" fmla="*/ 1322550 w 1445127"/>
                <a:gd name="connsiteY35" fmla="*/ 403987 h 1038064"/>
                <a:gd name="connsiteX36" fmla="*/ 1376070 w 1445127"/>
                <a:gd name="connsiteY36" fmla="*/ 428157 h 1038064"/>
                <a:gd name="connsiteX37" fmla="*/ 1360531 w 1445127"/>
                <a:gd name="connsiteY37" fmla="*/ 485129 h 1038064"/>
                <a:gd name="connsiteX38" fmla="*/ 1410598 w 1445127"/>
                <a:gd name="connsiteY38" fmla="*/ 516205 h 1038064"/>
                <a:gd name="connsiteX39" fmla="*/ 1388155 w 1445127"/>
                <a:gd name="connsiteY39" fmla="*/ 569725 h 1038064"/>
                <a:gd name="connsiteX40" fmla="*/ 1433042 w 1445127"/>
                <a:gd name="connsiteY40" fmla="*/ 605980 h 1038064"/>
                <a:gd name="connsiteX41" fmla="*/ 1403692 w 1445127"/>
                <a:gd name="connsiteY41" fmla="*/ 656047 h 1038064"/>
                <a:gd name="connsiteX42" fmla="*/ 1443401 w 1445127"/>
                <a:gd name="connsiteY42" fmla="*/ 697481 h 1038064"/>
                <a:gd name="connsiteX43" fmla="*/ 1408872 w 1445127"/>
                <a:gd name="connsiteY43" fmla="*/ 744095 h 1038064"/>
                <a:gd name="connsiteX44" fmla="*/ 1445127 w 1445127"/>
                <a:gd name="connsiteY44" fmla="*/ 792436 h 1038064"/>
                <a:gd name="connsiteX45" fmla="*/ 1405418 w 1445127"/>
                <a:gd name="connsiteY45" fmla="*/ 833870 h 1038064"/>
                <a:gd name="connsiteX46" fmla="*/ 1434768 w 1445127"/>
                <a:gd name="connsiteY46" fmla="*/ 883937 h 1038064"/>
                <a:gd name="connsiteX47" fmla="*/ 1389881 w 1445127"/>
                <a:gd name="connsiteY47" fmla="*/ 920191 h 1038064"/>
                <a:gd name="connsiteX48" fmla="*/ 1412324 w 1445127"/>
                <a:gd name="connsiteY48" fmla="*/ 973711 h 1038064"/>
                <a:gd name="connsiteX49" fmla="*/ 1362257 w 1445127"/>
                <a:gd name="connsiteY49" fmla="*/ 1004787 h 1038064"/>
                <a:gd name="connsiteX50" fmla="*/ 1370674 w 1445127"/>
                <a:gd name="connsiteY50" fmla="*/ 1033921 h 1038064"/>
                <a:gd name="connsiteX51" fmla="*/ 1372538 w 1445127"/>
                <a:gd name="connsiteY51" fmla="*/ 1038064 h 1038064"/>
                <a:gd name="connsiteX52" fmla="*/ 0 w 1445127"/>
                <a:gd name="connsiteY52" fmla="*/ 509258 h 1038064"/>
                <a:gd name="connsiteX53" fmla="*/ 2472 w 1445127"/>
                <a:gd name="connsiteY53" fmla="*/ 506737 h 1038064"/>
                <a:gd name="connsiteX54" fmla="*/ 43259 w 1445127"/>
                <a:gd name="connsiteY54" fmla="*/ 485130 h 1038064"/>
                <a:gd name="connsiteX55" fmla="*/ 27721 w 1445127"/>
                <a:gd name="connsiteY55" fmla="*/ 428157 h 10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5127" h="1038064">
                  <a:moveTo>
                    <a:pt x="27721" y="428157"/>
                  </a:moveTo>
                  <a:cubicBezTo>
                    <a:pt x="34627" y="414345"/>
                    <a:pt x="74335" y="417798"/>
                    <a:pt x="81240" y="403987"/>
                  </a:cubicBezTo>
                  <a:cubicBezTo>
                    <a:pt x="88146" y="391902"/>
                    <a:pt x="63976" y="359099"/>
                    <a:pt x="72608" y="347014"/>
                  </a:cubicBezTo>
                  <a:cubicBezTo>
                    <a:pt x="79514" y="334929"/>
                    <a:pt x="119222" y="341834"/>
                    <a:pt x="127854" y="329750"/>
                  </a:cubicBezTo>
                  <a:cubicBezTo>
                    <a:pt x="138213" y="317665"/>
                    <a:pt x="117495" y="283136"/>
                    <a:pt x="127854" y="271051"/>
                  </a:cubicBezTo>
                  <a:cubicBezTo>
                    <a:pt x="136486" y="258966"/>
                    <a:pt x="174469" y="271051"/>
                    <a:pt x="184827" y="260692"/>
                  </a:cubicBezTo>
                  <a:cubicBezTo>
                    <a:pt x="195186" y="248607"/>
                    <a:pt x="181374" y="212352"/>
                    <a:pt x="191732" y="201994"/>
                  </a:cubicBezTo>
                  <a:cubicBezTo>
                    <a:pt x="203818" y="191634"/>
                    <a:pt x="238346" y="208899"/>
                    <a:pt x="250432" y="198540"/>
                  </a:cubicBezTo>
                  <a:cubicBezTo>
                    <a:pt x="262517" y="188182"/>
                    <a:pt x="252158" y="150200"/>
                    <a:pt x="264243" y="141568"/>
                  </a:cubicBezTo>
                  <a:cubicBezTo>
                    <a:pt x="276328" y="132936"/>
                    <a:pt x="310857" y="155379"/>
                    <a:pt x="322942" y="146747"/>
                  </a:cubicBezTo>
                  <a:cubicBezTo>
                    <a:pt x="335027" y="138115"/>
                    <a:pt x="329848" y="98407"/>
                    <a:pt x="343659" y="91502"/>
                  </a:cubicBezTo>
                  <a:cubicBezTo>
                    <a:pt x="357470" y="84596"/>
                    <a:pt x="386820" y="110492"/>
                    <a:pt x="400631" y="103586"/>
                  </a:cubicBezTo>
                  <a:cubicBezTo>
                    <a:pt x="414443" y="96681"/>
                    <a:pt x="414443" y="56972"/>
                    <a:pt x="428255" y="51793"/>
                  </a:cubicBezTo>
                  <a:cubicBezTo>
                    <a:pt x="442066" y="46614"/>
                    <a:pt x="467962" y="75963"/>
                    <a:pt x="481774" y="70784"/>
                  </a:cubicBezTo>
                  <a:cubicBezTo>
                    <a:pt x="497312" y="65605"/>
                    <a:pt x="500765" y="25896"/>
                    <a:pt x="516303" y="22444"/>
                  </a:cubicBezTo>
                  <a:cubicBezTo>
                    <a:pt x="530114" y="18991"/>
                    <a:pt x="552558" y="51793"/>
                    <a:pt x="568096" y="48340"/>
                  </a:cubicBezTo>
                  <a:cubicBezTo>
                    <a:pt x="583634" y="44887"/>
                    <a:pt x="592266" y="6906"/>
                    <a:pt x="607804" y="5179"/>
                  </a:cubicBezTo>
                  <a:cubicBezTo>
                    <a:pt x="621616" y="3453"/>
                    <a:pt x="640606" y="39708"/>
                    <a:pt x="656145" y="37982"/>
                  </a:cubicBezTo>
                  <a:cubicBezTo>
                    <a:pt x="671682" y="36255"/>
                    <a:pt x="685494" y="0"/>
                    <a:pt x="701032" y="0"/>
                  </a:cubicBezTo>
                  <a:cubicBezTo>
                    <a:pt x="716570" y="0"/>
                    <a:pt x="730381" y="36255"/>
                    <a:pt x="745919" y="37982"/>
                  </a:cubicBezTo>
                  <a:cubicBezTo>
                    <a:pt x="761458" y="37982"/>
                    <a:pt x="778722" y="3453"/>
                    <a:pt x="794259" y="5179"/>
                  </a:cubicBezTo>
                  <a:cubicBezTo>
                    <a:pt x="809798" y="6906"/>
                    <a:pt x="818429" y="44887"/>
                    <a:pt x="833968" y="48340"/>
                  </a:cubicBezTo>
                  <a:cubicBezTo>
                    <a:pt x="847779" y="50067"/>
                    <a:pt x="871950" y="18991"/>
                    <a:pt x="885761" y="22444"/>
                  </a:cubicBezTo>
                  <a:cubicBezTo>
                    <a:pt x="901299" y="27623"/>
                    <a:pt x="906478" y="65605"/>
                    <a:pt x="920290" y="70784"/>
                  </a:cubicBezTo>
                  <a:cubicBezTo>
                    <a:pt x="934101" y="75963"/>
                    <a:pt x="961724" y="46614"/>
                    <a:pt x="975536" y="51793"/>
                  </a:cubicBezTo>
                  <a:cubicBezTo>
                    <a:pt x="989347" y="56972"/>
                    <a:pt x="989347" y="96681"/>
                    <a:pt x="1003158" y="103586"/>
                  </a:cubicBezTo>
                  <a:cubicBezTo>
                    <a:pt x="1016970" y="110492"/>
                    <a:pt x="1046319" y="84596"/>
                    <a:pt x="1060131" y="91502"/>
                  </a:cubicBezTo>
                  <a:cubicBezTo>
                    <a:pt x="1073943" y="100133"/>
                    <a:pt x="1068763" y="138115"/>
                    <a:pt x="1080848" y="146747"/>
                  </a:cubicBezTo>
                  <a:cubicBezTo>
                    <a:pt x="1092934" y="155379"/>
                    <a:pt x="1127462" y="132936"/>
                    <a:pt x="1139547" y="141568"/>
                  </a:cubicBezTo>
                  <a:cubicBezTo>
                    <a:pt x="1151632" y="150200"/>
                    <a:pt x="1141273" y="188182"/>
                    <a:pt x="1153358" y="198540"/>
                  </a:cubicBezTo>
                  <a:cubicBezTo>
                    <a:pt x="1165443" y="208899"/>
                    <a:pt x="1201699" y="191634"/>
                    <a:pt x="1212058" y="201994"/>
                  </a:cubicBezTo>
                  <a:cubicBezTo>
                    <a:pt x="1224143" y="212352"/>
                    <a:pt x="1208605" y="250334"/>
                    <a:pt x="1218963" y="260692"/>
                  </a:cubicBezTo>
                  <a:cubicBezTo>
                    <a:pt x="1229322" y="272777"/>
                    <a:pt x="1265578" y="258966"/>
                    <a:pt x="1275936" y="271051"/>
                  </a:cubicBezTo>
                  <a:cubicBezTo>
                    <a:pt x="1286294" y="283136"/>
                    <a:pt x="1267304" y="317665"/>
                    <a:pt x="1275936" y="329750"/>
                  </a:cubicBezTo>
                  <a:cubicBezTo>
                    <a:pt x="1284568" y="341834"/>
                    <a:pt x="1322550" y="334929"/>
                    <a:pt x="1331182" y="347014"/>
                  </a:cubicBezTo>
                  <a:cubicBezTo>
                    <a:pt x="1338087" y="359099"/>
                    <a:pt x="1315644" y="390175"/>
                    <a:pt x="1322550" y="403987"/>
                  </a:cubicBezTo>
                  <a:cubicBezTo>
                    <a:pt x="1329455" y="417798"/>
                    <a:pt x="1369163" y="414345"/>
                    <a:pt x="1376070" y="428157"/>
                  </a:cubicBezTo>
                  <a:cubicBezTo>
                    <a:pt x="1382975" y="441969"/>
                    <a:pt x="1355352" y="471318"/>
                    <a:pt x="1360531" y="485129"/>
                  </a:cubicBezTo>
                  <a:cubicBezTo>
                    <a:pt x="1365711" y="498941"/>
                    <a:pt x="1405418" y="502394"/>
                    <a:pt x="1410598" y="516205"/>
                  </a:cubicBezTo>
                  <a:cubicBezTo>
                    <a:pt x="1415777" y="530017"/>
                    <a:pt x="1384702" y="554187"/>
                    <a:pt x="1388155" y="569725"/>
                  </a:cubicBezTo>
                  <a:cubicBezTo>
                    <a:pt x="1391607" y="583537"/>
                    <a:pt x="1429589" y="590442"/>
                    <a:pt x="1433042" y="605980"/>
                  </a:cubicBezTo>
                  <a:cubicBezTo>
                    <a:pt x="1434768" y="619792"/>
                    <a:pt x="1401966" y="640509"/>
                    <a:pt x="1403692" y="656047"/>
                  </a:cubicBezTo>
                  <a:cubicBezTo>
                    <a:pt x="1405418" y="669859"/>
                    <a:pt x="1441674" y="681943"/>
                    <a:pt x="1443401" y="697481"/>
                  </a:cubicBezTo>
                  <a:cubicBezTo>
                    <a:pt x="1445127" y="713019"/>
                    <a:pt x="1408872" y="728557"/>
                    <a:pt x="1408872" y="744095"/>
                  </a:cubicBezTo>
                  <a:cubicBezTo>
                    <a:pt x="1408872" y="759633"/>
                    <a:pt x="1445127" y="775171"/>
                    <a:pt x="1445127" y="792436"/>
                  </a:cubicBezTo>
                  <a:cubicBezTo>
                    <a:pt x="1445127" y="806247"/>
                    <a:pt x="1407145" y="818332"/>
                    <a:pt x="1405418" y="833870"/>
                  </a:cubicBezTo>
                  <a:cubicBezTo>
                    <a:pt x="1403692" y="847682"/>
                    <a:pt x="1438221" y="868399"/>
                    <a:pt x="1434768" y="883937"/>
                  </a:cubicBezTo>
                  <a:cubicBezTo>
                    <a:pt x="1433042" y="897748"/>
                    <a:pt x="1393334" y="906380"/>
                    <a:pt x="1389881" y="920191"/>
                  </a:cubicBezTo>
                  <a:cubicBezTo>
                    <a:pt x="1386428" y="934004"/>
                    <a:pt x="1417504" y="959900"/>
                    <a:pt x="1412324" y="973711"/>
                  </a:cubicBezTo>
                  <a:cubicBezTo>
                    <a:pt x="1407145" y="989250"/>
                    <a:pt x="1367437" y="990976"/>
                    <a:pt x="1362257" y="1004787"/>
                  </a:cubicBezTo>
                  <a:cubicBezTo>
                    <a:pt x="1359668" y="1012556"/>
                    <a:pt x="1365279" y="1023347"/>
                    <a:pt x="1370674" y="1033921"/>
                  </a:cubicBezTo>
                  <a:lnTo>
                    <a:pt x="1372538" y="1038064"/>
                  </a:lnTo>
                  <a:lnTo>
                    <a:pt x="0" y="509258"/>
                  </a:lnTo>
                  <a:lnTo>
                    <a:pt x="2472" y="506737"/>
                  </a:lnTo>
                  <a:cubicBezTo>
                    <a:pt x="16067" y="499049"/>
                    <a:pt x="39374" y="495488"/>
                    <a:pt x="43259" y="485130"/>
                  </a:cubicBezTo>
                  <a:cubicBezTo>
                    <a:pt x="48438" y="469591"/>
                    <a:pt x="20815" y="441969"/>
                    <a:pt x="27721" y="428157"/>
                  </a:cubicBezTo>
                  <a:close/>
                </a:path>
              </a:pathLst>
            </a:custGeom>
            <a:grpFill/>
            <a:ln w="22151" cap="flat">
              <a:noFill/>
              <a:prstDash val="solid"/>
              <a:miter/>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a:ln>
                  <a:noFill/>
                </a:ln>
                <a:solidFill>
                  <a:srgbClr val="FFFFFF"/>
                </a:solidFill>
                <a:effectLst/>
                <a:uLnTx/>
                <a:uFillTx/>
                <a:latin typeface="TT Norms Pro" panose="02000503030000020003" pitchFamily="2" charset="0"/>
                <a:ea typeface="+mn-ea"/>
                <a:cs typeface="+mn-cs"/>
              </a:endParaRPr>
            </a:p>
          </p:txBody>
        </p:sp>
        <p:pic>
          <p:nvPicPr>
            <p:cNvPr id="33" name="Graphic 32">
              <a:extLst>
                <a:ext uri="{FF2B5EF4-FFF2-40B4-BE49-F238E27FC236}">
                  <a16:creationId xmlns:a16="http://schemas.microsoft.com/office/drawing/2014/main" id="{54CAD62A-B203-F01B-2CE1-847A0D2C974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9604866" y="377227"/>
              <a:ext cx="611416" cy="679936"/>
            </a:xfrm>
            <a:prstGeom prst="rect">
              <a:avLst/>
            </a:prstGeom>
          </p:spPr>
        </p:pic>
        <p:pic>
          <p:nvPicPr>
            <p:cNvPr id="34" name="Graphic 33">
              <a:extLst>
                <a:ext uri="{FF2B5EF4-FFF2-40B4-BE49-F238E27FC236}">
                  <a16:creationId xmlns:a16="http://schemas.microsoft.com/office/drawing/2014/main" id="{BC6FBC0C-D716-F2B5-7D2A-59F072D4DF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10384833" y="250098"/>
              <a:ext cx="611416" cy="679936"/>
            </a:xfrm>
            <a:prstGeom prst="rect">
              <a:avLst/>
            </a:prstGeom>
          </p:spPr>
        </p:pic>
        <p:pic>
          <p:nvPicPr>
            <p:cNvPr id="17" name="Graphic 16">
              <a:extLst>
                <a:ext uri="{FF2B5EF4-FFF2-40B4-BE49-F238E27FC236}">
                  <a16:creationId xmlns:a16="http://schemas.microsoft.com/office/drawing/2014/main" id="{06DE7199-F987-F1D6-7B22-52AA899245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9912"/>
            <a:stretch>
              <a:fillRect/>
            </a:stretch>
          </p:blipFill>
          <p:spPr>
            <a:xfrm rot="14912638">
              <a:off x="10094824" y="-264909"/>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sp>
          <p:nvSpPr>
            <p:cNvPr id="45" name="Freeform: Shape 44">
              <a:extLst>
                <a:ext uri="{FF2B5EF4-FFF2-40B4-BE49-F238E27FC236}">
                  <a16:creationId xmlns:a16="http://schemas.microsoft.com/office/drawing/2014/main" id="{9D92F409-FA32-23D4-09EE-C8037395B906}"/>
                </a:ext>
              </a:extLst>
            </p:cNvPr>
            <p:cNvSpPr/>
            <p:nvPr/>
          </p:nvSpPr>
          <p:spPr>
            <a:xfrm rot="19394395">
              <a:off x="302036" y="-179531"/>
              <a:ext cx="306159" cy="1283212"/>
            </a:xfrm>
            <a:custGeom>
              <a:avLst/>
              <a:gdLst>
                <a:gd name="connsiteX0" fmla="*/ 66280 w 306159"/>
                <a:gd name="connsiteY0" fmla="*/ 0 h 1283212"/>
                <a:gd name="connsiteX1" fmla="*/ 72368 w 306159"/>
                <a:gd name="connsiteY1" fmla="*/ 4547 h 1283212"/>
                <a:gd name="connsiteX2" fmla="*/ 55892 w 306159"/>
                <a:gd name="connsiteY2" fmla="*/ 30957 h 1283212"/>
                <a:gd name="connsiteX3" fmla="*/ 37819 w 306159"/>
                <a:gd name="connsiteY3" fmla="*/ 67070 h 1283212"/>
                <a:gd name="connsiteX4" fmla="*/ 28388 w 306159"/>
                <a:gd name="connsiteY4" fmla="*/ 135780 h 1283212"/>
                <a:gd name="connsiteX5" fmla="*/ 60723 w 306159"/>
                <a:gd name="connsiteY5" fmla="*/ 69090 h 1283212"/>
                <a:gd name="connsiteX6" fmla="*/ 89352 w 306159"/>
                <a:gd name="connsiteY6" fmla="*/ 31872 h 1283212"/>
                <a:gd name="connsiteX7" fmla="*/ 95581 w 306159"/>
                <a:gd name="connsiteY7" fmla="*/ 21888 h 1283212"/>
                <a:gd name="connsiteX8" fmla="*/ 144709 w 306159"/>
                <a:gd name="connsiteY8" fmla="*/ 58587 h 1283212"/>
                <a:gd name="connsiteX9" fmla="*/ 165726 w 306159"/>
                <a:gd name="connsiteY9" fmla="*/ 123486 h 1283212"/>
                <a:gd name="connsiteX10" fmla="*/ 206901 w 306159"/>
                <a:gd name="connsiteY10" fmla="*/ 304862 h 1283212"/>
                <a:gd name="connsiteX11" fmla="*/ 200838 w 306159"/>
                <a:gd name="connsiteY11" fmla="*/ 519077 h 1283212"/>
                <a:gd name="connsiteX12" fmla="*/ 236541 w 306159"/>
                <a:gd name="connsiteY12" fmla="*/ 742050 h 1283212"/>
                <a:gd name="connsiteX13" fmla="*/ 262139 w 306159"/>
                <a:gd name="connsiteY13" fmla="*/ 960307 h 1283212"/>
                <a:gd name="connsiteX14" fmla="*/ 262139 w 306159"/>
                <a:gd name="connsiteY14" fmla="*/ 963001 h 1283212"/>
                <a:gd name="connsiteX15" fmla="*/ 261465 w 306159"/>
                <a:gd name="connsiteY15" fmla="*/ 983210 h 1283212"/>
                <a:gd name="connsiteX16" fmla="*/ 254729 w 306159"/>
                <a:gd name="connsiteY16" fmla="*/ 1013523 h 1283212"/>
                <a:gd name="connsiteX17" fmla="*/ 196796 w 306159"/>
                <a:gd name="connsiteY17" fmla="*/ 1101770 h 1283212"/>
                <a:gd name="connsiteX18" fmla="*/ 148969 w 306159"/>
                <a:gd name="connsiteY18" fmla="*/ 1199446 h 1283212"/>
                <a:gd name="connsiteX19" fmla="*/ 216332 w 306159"/>
                <a:gd name="connsiteY19" fmla="*/ 1133430 h 1283212"/>
                <a:gd name="connsiteX20" fmla="*/ 252034 w 306159"/>
                <a:gd name="connsiteY20" fmla="*/ 1093686 h 1283212"/>
                <a:gd name="connsiteX21" fmla="*/ 251361 w 306159"/>
                <a:gd name="connsiteY21" fmla="*/ 1096381 h 1283212"/>
                <a:gd name="connsiteX22" fmla="*/ 250687 w 306159"/>
                <a:gd name="connsiteY22" fmla="*/ 1100422 h 1283212"/>
                <a:gd name="connsiteX23" fmla="*/ 251361 w 306159"/>
                <a:gd name="connsiteY23" fmla="*/ 1097728 h 1283212"/>
                <a:gd name="connsiteX24" fmla="*/ 302557 w 306159"/>
                <a:gd name="connsiteY24" fmla="*/ 1245253 h 1283212"/>
                <a:gd name="connsiteX25" fmla="*/ 148295 w 306159"/>
                <a:gd name="connsiteY25" fmla="*/ 1282303 h 1283212"/>
                <a:gd name="connsiteX26" fmla="*/ 128086 w 306159"/>
                <a:gd name="connsiteY26" fmla="*/ 1225044 h 1283212"/>
                <a:gd name="connsiteX27" fmla="*/ 47924 w 306159"/>
                <a:gd name="connsiteY27" fmla="*/ 972432 h 1283212"/>
                <a:gd name="connsiteX28" fmla="*/ 47250 w 306159"/>
                <a:gd name="connsiteY28" fmla="*/ 901700 h 1283212"/>
                <a:gd name="connsiteX29" fmla="*/ 53986 w 306159"/>
                <a:gd name="connsiteY29" fmla="*/ 849157 h 1283212"/>
                <a:gd name="connsiteX30" fmla="*/ 150316 w 306159"/>
                <a:gd name="connsiteY30" fmla="*/ 620796 h 1283212"/>
                <a:gd name="connsiteX31" fmla="*/ 173893 w 306159"/>
                <a:gd name="connsiteY31" fmla="*/ 563537 h 1283212"/>
                <a:gd name="connsiteX32" fmla="*/ 89689 w 306159"/>
                <a:gd name="connsiteY32" fmla="*/ 650436 h 1283212"/>
                <a:gd name="connsiteX33" fmla="*/ 58702 w 306159"/>
                <a:gd name="connsiteY33" fmla="*/ 700285 h 1283212"/>
                <a:gd name="connsiteX34" fmla="*/ 58702 w 306159"/>
                <a:gd name="connsiteY34" fmla="*/ 699611 h 1283212"/>
                <a:gd name="connsiteX35" fmla="*/ 2117 w 306159"/>
                <a:gd name="connsiteY35" fmla="*/ 369531 h 1283212"/>
                <a:gd name="connsiteX36" fmla="*/ 7043 w 306159"/>
                <a:gd name="connsiteY36" fmla="*/ 151084 h 1283212"/>
                <a:gd name="connsiteX37" fmla="*/ 690 w 306159"/>
                <a:gd name="connsiteY37" fmla="*/ 87804 h 12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6159" h="1283212">
                  <a:moveTo>
                    <a:pt x="66280" y="0"/>
                  </a:moveTo>
                  <a:lnTo>
                    <a:pt x="72368" y="4547"/>
                  </a:lnTo>
                  <a:lnTo>
                    <a:pt x="55892" y="30957"/>
                  </a:lnTo>
                  <a:cubicBezTo>
                    <a:pt x="49145" y="42145"/>
                    <a:pt x="42872" y="53766"/>
                    <a:pt x="37819" y="67070"/>
                  </a:cubicBezTo>
                  <a:cubicBezTo>
                    <a:pt x="25694" y="98057"/>
                    <a:pt x="28388" y="135780"/>
                    <a:pt x="28388" y="135780"/>
                  </a:cubicBezTo>
                  <a:cubicBezTo>
                    <a:pt x="28388" y="135780"/>
                    <a:pt x="27041" y="118939"/>
                    <a:pt x="60723" y="69090"/>
                  </a:cubicBezTo>
                  <a:cubicBezTo>
                    <a:pt x="67796" y="58312"/>
                    <a:pt x="78237" y="46355"/>
                    <a:pt x="89352" y="31872"/>
                  </a:cubicBezTo>
                  <a:lnTo>
                    <a:pt x="95581" y="21888"/>
                  </a:lnTo>
                  <a:lnTo>
                    <a:pt x="144709" y="58587"/>
                  </a:lnTo>
                  <a:lnTo>
                    <a:pt x="165726" y="123486"/>
                  </a:lnTo>
                  <a:cubicBezTo>
                    <a:pt x="184335" y="183777"/>
                    <a:pt x="202860" y="252656"/>
                    <a:pt x="206901" y="304862"/>
                  </a:cubicBezTo>
                  <a:cubicBezTo>
                    <a:pt x="214985" y="409275"/>
                    <a:pt x="210269" y="484048"/>
                    <a:pt x="200838" y="519077"/>
                  </a:cubicBezTo>
                  <a:cubicBezTo>
                    <a:pt x="191407" y="554106"/>
                    <a:pt x="212290" y="686138"/>
                    <a:pt x="236541" y="742050"/>
                  </a:cubicBezTo>
                  <a:cubicBezTo>
                    <a:pt x="252708" y="779099"/>
                    <a:pt x="262812" y="868693"/>
                    <a:pt x="262139" y="960307"/>
                  </a:cubicBezTo>
                  <a:cubicBezTo>
                    <a:pt x="262139" y="960307"/>
                    <a:pt x="262139" y="961654"/>
                    <a:pt x="262139" y="963001"/>
                  </a:cubicBezTo>
                  <a:cubicBezTo>
                    <a:pt x="261465" y="969738"/>
                    <a:pt x="261465" y="976474"/>
                    <a:pt x="261465" y="983210"/>
                  </a:cubicBezTo>
                  <a:cubicBezTo>
                    <a:pt x="260792" y="991967"/>
                    <a:pt x="258771" y="1002745"/>
                    <a:pt x="254729" y="1013523"/>
                  </a:cubicBezTo>
                  <a:cubicBezTo>
                    <a:pt x="244625" y="1041143"/>
                    <a:pt x="221047" y="1070109"/>
                    <a:pt x="196796" y="1101770"/>
                  </a:cubicBezTo>
                  <a:cubicBezTo>
                    <a:pt x="137517" y="1179911"/>
                    <a:pt x="148969" y="1199446"/>
                    <a:pt x="148969" y="1199446"/>
                  </a:cubicBezTo>
                  <a:cubicBezTo>
                    <a:pt x="148969" y="1199446"/>
                    <a:pt x="174567" y="1163744"/>
                    <a:pt x="216332" y="1133430"/>
                  </a:cubicBezTo>
                  <a:cubicBezTo>
                    <a:pt x="227784" y="1125346"/>
                    <a:pt x="239909" y="1111200"/>
                    <a:pt x="252034" y="1093686"/>
                  </a:cubicBezTo>
                  <a:cubicBezTo>
                    <a:pt x="251361" y="1095033"/>
                    <a:pt x="251361" y="1095707"/>
                    <a:pt x="251361" y="1096381"/>
                  </a:cubicBezTo>
                  <a:cubicBezTo>
                    <a:pt x="251361" y="1097728"/>
                    <a:pt x="250687" y="1099075"/>
                    <a:pt x="250687" y="1100422"/>
                  </a:cubicBezTo>
                  <a:cubicBezTo>
                    <a:pt x="251361" y="1098401"/>
                    <a:pt x="251361" y="1097728"/>
                    <a:pt x="251361" y="1097728"/>
                  </a:cubicBezTo>
                  <a:cubicBezTo>
                    <a:pt x="251361" y="1097728"/>
                    <a:pt x="322766" y="1216287"/>
                    <a:pt x="302557" y="1245253"/>
                  </a:cubicBezTo>
                  <a:cubicBezTo>
                    <a:pt x="290432" y="1262768"/>
                    <a:pt x="165136" y="1288366"/>
                    <a:pt x="148295" y="1282303"/>
                  </a:cubicBezTo>
                  <a:cubicBezTo>
                    <a:pt x="113266" y="1268831"/>
                    <a:pt x="128086" y="1225044"/>
                    <a:pt x="128086" y="1225044"/>
                  </a:cubicBezTo>
                  <a:cubicBezTo>
                    <a:pt x="128086" y="1225044"/>
                    <a:pt x="57355" y="1049226"/>
                    <a:pt x="47924" y="972432"/>
                  </a:cubicBezTo>
                  <a:cubicBezTo>
                    <a:pt x="45903" y="953570"/>
                    <a:pt x="45903" y="928646"/>
                    <a:pt x="47250" y="901700"/>
                  </a:cubicBezTo>
                  <a:cubicBezTo>
                    <a:pt x="48597" y="884860"/>
                    <a:pt x="51292" y="867346"/>
                    <a:pt x="53986" y="849157"/>
                  </a:cubicBezTo>
                  <a:cubicBezTo>
                    <a:pt x="75543" y="712410"/>
                    <a:pt x="122697" y="655825"/>
                    <a:pt x="150316" y="620796"/>
                  </a:cubicBezTo>
                  <a:cubicBezTo>
                    <a:pt x="183324" y="578357"/>
                    <a:pt x="173893" y="563537"/>
                    <a:pt x="173893" y="563537"/>
                  </a:cubicBezTo>
                  <a:cubicBezTo>
                    <a:pt x="173893" y="563537"/>
                    <a:pt x="143580" y="593177"/>
                    <a:pt x="89689" y="650436"/>
                  </a:cubicBezTo>
                  <a:cubicBezTo>
                    <a:pt x="76217" y="664582"/>
                    <a:pt x="66112" y="682096"/>
                    <a:pt x="58702" y="700285"/>
                  </a:cubicBezTo>
                  <a:cubicBezTo>
                    <a:pt x="58702" y="700285"/>
                    <a:pt x="58702" y="699611"/>
                    <a:pt x="58702" y="699611"/>
                  </a:cubicBezTo>
                  <a:cubicBezTo>
                    <a:pt x="33777" y="616754"/>
                    <a:pt x="11548" y="471923"/>
                    <a:pt x="2117" y="369531"/>
                  </a:cubicBezTo>
                  <a:cubicBezTo>
                    <a:pt x="-4956" y="292736"/>
                    <a:pt x="8053" y="220868"/>
                    <a:pt x="7043" y="151084"/>
                  </a:cubicBezTo>
                  <a:lnTo>
                    <a:pt x="690" y="87804"/>
                  </a:ln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41" name="Freeform: Shape 40">
              <a:extLst>
                <a:ext uri="{FF2B5EF4-FFF2-40B4-BE49-F238E27FC236}">
                  <a16:creationId xmlns:a16="http://schemas.microsoft.com/office/drawing/2014/main" id="{2A39F323-183C-35A3-F393-C888E45E5792}"/>
                </a:ext>
              </a:extLst>
            </p:cNvPr>
            <p:cNvSpPr/>
            <p:nvPr/>
          </p:nvSpPr>
          <p:spPr>
            <a:xfrm rot="19394395">
              <a:off x="694905" y="-54825"/>
              <a:ext cx="354168" cy="638032"/>
            </a:xfrm>
            <a:custGeom>
              <a:avLst/>
              <a:gdLst>
                <a:gd name="connsiteX0" fmla="*/ 191474 w 354168"/>
                <a:gd name="connsiteY0" fmla="*/ 0 h 638032"/>
                <a:gd name="connsiteX1" fmla="*/ 354168 w 354168"/>
                <a:gd name="connsiteY1" fmla="*/ 121534 h 638032"/>
                <a:gd name="connsiteX2" fmla="*/ 353651 w 354168"/>
                <a:gd name="connsiteY2" fmla="*/ 124462 h 638032"/>
                <a:gd name="connsiteX3" fmla="*/ 335326 w 354168"/>
                <a:gd name="connsiteY3" fmla="*/ 187320 h 638032"/>
                <a:gd name="connsiteX4" fmla="*/ 234955 w 354168"/>
                <a:gd name="connsiteY4" fmla="*/ 397494 h 638032"/>
                <a:gd name="connsiteX5" fmla="*/ 216766 w 354168"/>
                <a:gd name="connsiteY5" fmla="*/ 560513 h 638032"/>
                <a:gd name="connsiteX6" fmla="*/ 162876 w 354168"/>
                <a:gd name="connsiteY6" fmla="*/ 637980 h 638032"/>
                <a:gd name="connsiteX7" fmla="*/ 9961 w 354168"/>
                <a:gd name="connsiteY7" fmla="*/ 583416 h 638032"/>
                <a:gd name="connsiteX8" fmla="*/ 20065 w 354168"/>
                <a:gd name="connsiteY8" fmla="*/ 503254 h 638032"/>
                <a:gd name="connsiteX9" fmla="*/ 72609 w 354168"/>
                <a:gd name="connsiteY9" fmla="*/ 373242 h 638032"/>
                <a:gd name="connsiteX10" fmla="*/ 144688 w 354168"/>
                <a:gd name="connsiteY10" fmla="*/ 219655 h 638032"/>
                <a:gd name="connsiteX11" fmla="*/ 144688 w 354168"/>
                <a:gd name="connsiteY11" fmla="*/ 212244 h 638032"/>
                <a:gd name="connsiteX12" fmla="*/ 194537 w 354168"/>
                <a:gd name="connsiteY12" fmla="*/ 303185 h 638032"/>
                <a:gd name="connsiteX13" fmla="*/ 225524 w 354168"/>
                <a:gd name="connsiteY13" fmla="*/ 370548 h 638032"/>
                <a:gd name="connsiteX14" fmla="*/ 226871 w 354168"/>
                <a:gd name="connsiteY14" fmla="*/ 371896 h 638032"/>
                <a:gd name="connsiteX15" fmla="*/ 221482 w 354168"/>
                <a:gd name="connsiteY15" fmla="*/ 300491 h 638032"/>
                <a:gd name="connsiteX16" fmla="*/ 176348 w 354168"/>
                <a:gd name="connsiteY16" fmla="*/ 164416 h 638032"/>
                <a:gd name="connsiteX17" fmla="*/ 180390 w 354168"/>
                <a:gd name="connsiteY17" fmla="*/ 33732 h 63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68" h="638032">
                  <a:moveTo>
                    <a:pt x="191474" y="0"/>
                  </a:moveTo>
                  <a:lnTo>
                    <a:pt x="354168" y="121534"/>
                  </a:lnTo>
                  <a:lnTo>
                    <a:pt x="353651" y="124462"/>
                  </a:lnTo>
                  <a:cubicBezTo>
                    <a:pt x="349472" y="142145"/>
                    <a:pt x="343578" y="162733"/>
                    <a:pt x="335326" y="187320"/>
                  </a:cubicBezTo>
                  <a:cubicBezTo>
                    <a:pt x="317811" y="238516"/>
                    <a:pt x="286824" y="337540"/>
                    <a:pt x="234955" y="397494"/>
                  </a:cubicBezTo>
                  <a:cubicBezTo>
                    <a:pt x="234281" y="415008"/>
                    <a:pt x="232934" y="500559"/>
                    <a:pt x="216766" y="560513"/>
                  </a:cubicBezTo>
                  <a:cubicBezTo>
                    <a:pt x="199252" y="625182"/>
                    <a:pt x="188474" y="637307"/>
                    <a:pt x="162876" y="637980"/>
                  </a:cubicBezTo>
                  <a:cubicBezTo>
                    <a:pt x="129868" y="639328"/>
                    <a:pt x="30844" y="614404"/>
                    <a:pt x="9961" y="583416"/>
                  </a:cubicBezTo>
                  <a:cubicBezTo>
                    <a:pt x="-10922" y="552429"/>
                    <a:pt x="5246" y="536262"/>
                    <a:pt x="20065" y="503254"/>
                  </a:cubicBezTo>
                  <a:cubicBezTo>
                    <a:pt x="34885" y="470919"/>
                    <a:pt x="65872" y="392778"/>
                    <a:pt x="72609" y="373242"/>
                  </a:cubicBezTo>
                  <a:cubicBezTo>
                    <a:pt x="98881" y="301838"/>
                    <a:pt x="144688" y="219655"/>
                    <a:pt x="144688" y="219655"/>
                  </a:cubicBezTo>
                  <a:cubicBezTo>
                    <a:pt x="144688" y="216960"/>
                    <a:pt x="144688" y="214939"/>
                    <a:pt x="144688" y="212244"/>
                  </a:cubicBezTo>
                  <a:cubicBezTo>
                    <a:pt x="161528" y="249968"/>
                    <a:pt x="179717" y="279608"/>
                    <a:pt x="194537" y="303185"/>
                  </a:cubicBezTo>
                  <a:cubicBezTo>
                    <a:pt x="219461" y="342256"/>
                    <a:pt x="218788" y="359770"/>
                    <a:pt x="225524" y="370548"/>
                  </a:cubicBezTo>
                  <a:cubicBezTo>
                    <a:pt x="226197" y="371222"/>
                    <a:pt x="226197" y="371896"/>
                    <a:pt x="226871" y="371896"/>
                  </a:cubicBezTo>
                  <a:cubicBezTo>
                    <a:pt x="231586" y="374590"/>
                    <a:pt x="228218" y="336193"/>
                    <a:pt x="221482" y="300491"/>
                  </a:cubicBezTo>
                  <a:cubicBezTo>
                    <a:pt x="213399" y="261420"/>
                    <a:pt x="187126" y="229086"/>
                    <a:pt x="176348" y="164416"/>
                  </a:cubicBezTo>
                  <a:cubicBezTo>
                    <a:pt x="168939" y="119283"/>
                    <a:pt x="172307" y="73476"/>
                    <a:pt x="180390" y="33732"/>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grpSp>
      <p:sp>
        <p:nvSpPr>
          <p:cNvPr id="2" name="Title 1">
            <a:extLst>
              <a:ext uri="{FF2B5EF4-FFF2-40B4-BE49-F238E27FC236}">
                <a16:creationId xmlns:a16="http://schemas.microsoft.com/office/drawing/2014/main" id="{085F9FA4-5D17-F3D1-8F72-8ED9620539A2}"/>
              </a:ext>
            </a:extLst>
          </p:cNvPr>
          <p:cNvSpPr>
            <a:spLocks noGrp="1"/>
          </p:cNvSpPr>
          <p:nvPr>
            <p:ph type="title" hasCustomPrompt="1"/>
          </p:nvPr>
        </p:nvSpPr>
        <p:spPr>
          <a:xfrm>
            <a:off x="2794083" y="2967560"/>
            <a:ext cx="6603835" cy="922881"/>
          </a:xfrm>
          <a:prstGeom prst="rect">
            <a:avLst/>
          </a:prstGeom>
          <a:noFill/>
        </p:spPr>
        <p:txBody>
          <a:bodyPr wrap="square" lIns="0" tIns="0" rIns="0" bIns="0" rtlCol="0" anchor="ctr">
            <a:noAutofit/>
          </a:bodyPr>
          <a:lstStyle>
            <a:lvl1pPr algn="ctr">
              <a:lnSpc>
                <a:spcPct val="100000"/>
              </a:lnSpc>
              <a:defRPr lang="en-IN" sz="5997" b="1" i="0">
                <a:solidFill>
                  <a:srgbClr val="FEF0DC"/>
                </a:solidFill>
                <a:latin typeface="Gazpacho Light" pitchFamily="2" charset="77"/>
                <a:ea typeface="+mn-ea"/>
                <a:cs typeface="+mn-cs"/>
              </a:defRPr>
            </a:lvl1pPr>
          </a:lstStyle>
          <a:p>
            <a:pPr marL="0" lvl="0" defTabSz="913943"/>
            <a:r>
              <a:rPr lang="en-US"/>
              <a:t>Section Title</a:t>
            </a:r>
            <a:endParaRPr lang="en-IN"/>
          </a:p>
        </p:txBody>
      </p:sp>
      <p:sp>
        <p:nvSpPr>
          <p:cNvPr id="3" name="Text Placeholder 9">
            <a:extLst>
              <a:ext uri="{FF2B5EF4-FFF2-40B4-BE49-F238E27FC236}">
                <a16:creationId xmlns:a16="http://schemas.microsoft.com/office/drawing/2014/main" id="{314CF62A-83C1-626D-21DB-32673A2E4955}"/>
              </a:ext>
            </a:extLst>
          </p:cNvPr>
          <p:cNvSpPr>
            <a:spLocks noGrp="1"/>
          </p:cNvSpPr>
          <p:nvPr>
            <p:ph type="body" sz="quarter" idx="10" hasCustomPrompt="1"/>
          </p:nvPr>
        </p:nvSpPr>
        <p:spPr>
          <a:xfrm>
            <a:off x="2810125" y="3913749"/>
            <a:ext cx="6603834" cy="430887"/>
          </a:xfrm>
          <a:noFill/>
        </p:spPr>
        <p:txBody>
          <a:bodyPr wrap="square" lIns="0" tIns="0" rIns="0" bIns="0" rtlCol="0" anchor="ctr">
            <a:noAutofit/>
          </a:bodyPr>
          <a:lstStyle>
            <a:lvl1pPr marL="0" indent="0" algn="ctr">
              <a:lnSpc>
                <a:spcPct val="100000"/>
              </a:lnSpc>
              <a:buNone/>
              <a:defRPr lang="en-US" sz="2800" b="0" i="0" smtClean="0">
                <a:solidFill>
                  <a:srgbClr val="FEF0DC"/>
                </a:solidFill>
                <a:latin typeface="TT Norms Pro" panose="02000503030000020003" pitchFamily="2" charset="0"/>
                <a:cs typeface="TT Norms Pro" panose="02000503030000020003" pitchFamily="2" charset="0"/>
              </a:defRPr>
            </a:lvl1pPr>
            <a:lvl2pPr marL="380863" indent="0">
              <a:buNone/>
              <a:defRPr lang="en-US" sz="2399" smtClean="0">
                <a:latin typeface="+mn-lt"/>
              </a:defRPr>
            </a:lvl2pPr>
            <a:lvl3pPr marL="990097" indent="0">
              <a:buNone/>
              <a:defRPr lang="en-US" sz="2399" smtClean="0">
                <a:latin typeface="+mn-lt"/>
              </a:defRPr>
            </a:lvl3pPr>
            <a:lvl4pPr marL="1599330" indent="0">
              <a:buNone/>
              <a:defRPr lang="en-US" sz="2399" smtClean="0">
                <a:latin typeface="+mn-lt"/>
              </a:defRPr>
            </a:lvl4pPr>
            <a:lvl5pPr marL="2208565" indent="0">
              <a:buNone/>
              <a:defRPr lang="en-IN" sz="2399">
                <a:latin typeface="+mn-lt"/>
              </a:defRPr>
            </a:lvl5pPr>
          </a:lstStyle>
          <a:p>
            <a:pPr marL="0" lvl="0" defTabSz="913943"/>
            <a:r>
              <a:rPr lang="en-US"/>
              <a:t>Date Goes Here</a:t>
            </a:r>
            <a:endParaRPr lang="en-IN"/>
          </a:p>
        </p:txBody>
      </p:sp>
      <p:grpSp>
        <p:nvGrpSpPr>
          <p:cNvPr id="4" name="Group 3">
            <a:extLst>
              <a:ext uri="{FF2B5EF4-FFF2-40B4-BE49-F238E27FC236}">
                <a16:creationId xmlns:a16="http://schemas.microsoft.com/office/drawing/2014/main" id="{ED189A03-64D2-8B9D-38FE-CD0D545B6830}"/>
              </a:ext>
            </a:extLst>
          </p:cNvPr>
          <p:cNvGrpSpPr/>
          <p:nvPr userDrawn="1"/>
        </p:nvGrpSpPr>
        <p:grpSpPr>
          <a:xfrm>
            <a:off x="-268379" y="-235812"/>
            <a:ext cx="12709513" cy="2768410"/>
            <a:chOff x="-268379" y="-235812"/>
            <a:chExt cx="12709513" cy="2768410"/>
          </a:xfrm>
          <a:solidFill>
            <a:schemeClr val="accent5">
              <a:alpha val="25501"/>
            </a:schemeClr>
          </a:solidFill>
        </p:grpSpPr>
        <p:sp>
          <p:nvSpPr>
            <p:cNvPr id="5" name="Freeform: Shape 4">
              <a:extLst>
                <a:ext uri="{FF2B5EF4-FFF2-40B4-BE49-F238E27FC236}">
                  <a16:creationId xmlns:a16="http://schemas.microsoft.com/office/drawing/2014/main" id="{86A73D7A-3AC7-23D0-9D0F-7F4E89E98209}"/>
                </a:ext>
              </a:extLst>
            </p:cNvPr>
            <p:cNvSpPr/>
            <p:nvPr userDrawn="1"/>
          </p:nvSpPr>
          <p:spPr>
            <a:xfrm rot="20481175">
              <a:off x="7455640" y="58626"/>
              <a:ext cx="1448104" cy="1389865"/>
            </a:xfrm>
            <a:custGeom>
              <a:avLst/>
              <a:gdLst>
                <a:gd name="connsiteX0" fmla="*/ 1021496 w 1448104"/>
                <a:gd name="connsiteY0" fmla="*/ 0 h 1389865"/>
                <a:gd name="connsiteX1" fmla="*/ 1301750 w 1448104"/>
                <a:gd name="connsiteY1" fmla="*/ 94572 h 1389865"/>
                <a:gd name="connsiteX2" fmla="*/ 1300912 w 1448104"/>
                <a:gd name="connsiteY2" fmla="*/ 127519 h 1389865"/>
                <a:gd name="connsiteX3" fmla="*/ 1334529 w 1448104"/>
                <a:gd name="connsiteY3" fmla="*/ 396741 h 1389865"/>
                <a:gd name="connsiteX4" fmla="*/ 1436926 w 1448104"/>
                <a:gd name="connsiteY4" fmla="*/ 833636 h 1389865"/>
                <a:gd name="connsiteX5" fmla="*/ 980174 w 1448104"/>
                <a:gd name="connsiteY5" fmla="*/ 1353687 h 1389865"/>
                <a:gd name="connsiteX6" fmla="*/ 131865 w 1448104"/>
                <a:gd name="connsiteY6" fmla="*/ 858914 h 1389865"/>
                <a:gd name="connsiteX7" fmla="*/ 367037 w 1448104"/>
                <a:gd name="connsiteY7" fmla="*/ 209611 h 1389865"/>
                <a:gd name="connsiteX8" fmla="*/ 801214 w 1448104"/>
                <a:gd name="connsiteY8" fmla="*/ 85675 h 1389865"/>
                <a:gd name="connsiteX9" fmla="*/ 980777 w 1448104"/>
                <a:gd name="connsiteY9" fmla="*/ 19983 h 138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04" h="1389865">
                  <a:moveTo>
                    <a:pt x="1021496" y="0"/>
                  </a:moveTo>
                  <a:lnTo>
                    <a:pt x="1301750" y="94572"/>
                  </a:lnTo>
                  <a:lnTo>
                    <a:pt x="1300912" y="127519"/>
                  </a:lnTo>
                  <a:cubicBezTo>
                    <a:pt x="1301839" y="205476"/>
                    <a:pt x="1311698" y="293691"/>
                    <a:pt x="1334529" y="396741"/>
                  </a:cubicBezTo>
                  <a:cubicBezTo>
                    <a:pt x="1366264" y="540643"/>
                    <a:pt x="1411834" y="686317"/>
                    <a:pt x="1436926" y="833636"/>
                  </a:cubicBezTo>
                  <a:cubicBezTo>
                    <a:pt x="1511708" y="1273220"/>
                    <a:pt x="1194682" y="1478785"/>
                    <a:pt x="980174" y="1353687"/>
                  </a:cubicBezTo>
                  <a:lnTo>
                    <a:pt x="131865" y="858914"/>
                  </a:lnTo>
                  <a:cubicBezTo>
                    <a:pt x="-82825" y="733692"/>
                    <a:pt x="-56135" y="358765"/>
                    <a:pt x="367037" y="209611"/>
                  </a:cubicBezTo>
                  <a:cubicBezTo>
                    <a:pt x="508790" y="159611"/>
                    <a:pt x="659153" y="128230"/>
                    <a:pt x="801214" y="85675"/>
                  </a:cubicBezTo>
                  <a:cubicBezTo>
                    <a:pt x="869093" y="65451"/>
                    <a:pt x="928355" y="43426"/>
                    <a:pt x="980777" y="19983"/>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6" name="Freeform: Shape 5">
              <a:extLst>
                <a:ext uri="{FF2B5EF4-FFF2-40B4-BE49-F238E27FC236}">
                  <a16:creationId xmlns:a16="http://schemas.microsoft.com/office/drawing/2014/main" id="{958CB2AD-28D0-E576-9486-7F08BBE3718C}"/>
                </a:ext>
              </a:extLst>
            </p:cNvPr>
            <p:cNvSpPr/>
            <p:nvPr userDrawn="1"/>
          </p:nvSpPr>
          <p:spPr>
            <a:xfrm rot="3903520">
              <a:off x="11517816" y="417078"/>
              <a:ext cx="218602" cy="1274125"/>
            </a:xfrm>
            <a:custGeom>
              <a:avLst/>
              <a:gdLst>
                <a:gd name="connsiteX0" fmla="*/ 79026 w 218602"/>
                <a:gd name="connsiteY0" fmla="*/ 0 h 1274125"/>
                <a:gd name="connsiteX1" fmla="*/ 216280 w 218602"/>
                <a:gd name="connsiteY1" fmla="*/ 63832 h 1274125"/>
                <a:gd name="connsiteX2" fmla="*/ 217873 w 218602"/>
                <a:gd name="connsiteY2" fmla="*/ 80524 h 1274125"/>
                <a:gd name="connsiteX3" fmla="*/ 218602 w 218602"/>
                <a:gd name="connsiteY3" fmla="*/ 114523 h 1274125"/>
                <a:gd name="connsiteX4" fmla="*/ 216683 w 218602"/>
                <a:gd name="connsiteY4" fmla="*/ 152888 h 1274125"/>
                <a:gd name="connsiteX5" fmla="*/ 212216 w 218602"/>
                <a:gd name="connsiteY5" fmla="*/ 190901 h 1274125"/>
                <a:gd name="connsiteX6" fmla="*/ 205893 w 218602"/>
                <a:gd name="connsiteY6" fmla="*/ 223900 h 1274125"/>
                <a:gd name="connsiteX7" fmla="*/ 198113 w 218602"/>
                <a:gd name="connsiteY7" fmla="*/ 252538 h 1274125"/>
                <a:gd name="connsiteX8" fmla="*/ 189272 w 218602"/>
                <a:gd name="connsiteY8" fmla="*/ 277475 h 1274125"/>
                <a:gd name="connsiteX9" fmla="*/ 184999 w 218602"/>
                <a:gd name="connsiteY9" fmla="*/ 291369 h 1274125"/>
                <a:gd name="connsiteX10" fmla="*/ 182864 w 218602"/>
                <a:gd name="connsiteY10" fmla="*/ 305941 h 1274125"/>
                <a:gd name="connsiteX11" fmla="*/ 182890 w 218602"/>
                <a:gd name="connsiteY11" fmla="*/ 320770 h 1274125"/>
                <a:gd name="connsiteX12" fmla="*/ 185109 w 218602"/>
                <a:gd name="connsiteY12" fmla="*/ 335438 h 1274125"/>
                <a:gd name="connsiteX13" fmla="*/ 190258 w 218602"/>
                <a:gd name="connsiteY13" fmla="*/ 362044 h 1274125"/>
                <a:gd name="connsiteX14" fmla="*/ 193832 w 218602"/>
                <a:gd name="connsiteY14" fmla="*/ 392031 h 1274125"/>
                <a:gd name="connsiteX15" fmla="*/ 195350 w 218602"/>
                <a:gd name="connsiteY15" fmla="*/ 425939 h 1274125"/>
                <a:gd name="connsiteX16" fmla="*/ 194329 w 218602"/>
                <a:gd name="connsiteY16" fmla="*/ 464308 h 1274125"/>
                <a:gd name="connsiteX17" fmla="*/ 190762 w 218602"/>
                <a:gd name="connsiteY17" fmla="*/ 502424 h 1274125"/>
                <a:gd name="connsiteX18" fmla="*/ 185217 w 218602"/>
                <a:gd name="connsiteY18" fmla="*/ 535609 h 1274125"/>
                <a:gd name="connsiteX19" fmla="*/ 178106 w 218602"/>
                <a:gd name="connsiteY19" fmla="*/ 564498 h 1274125"/>
                <a:gd name="connsiteX20" fmla="*/ 169845 w 218602"/>
                <a:gd name="connsiteY20" fmla="*/ 589731 h 1274125"/>
                <a:gd name="connsiteX21" fmla="*/ 165897 w 218602"/>
                <a:gd name="connsiteY21" fmla="*/ 603763 h 1274125"/>
                <a:gd name="connsiteX22" fmla="*/ 164104 w 218602"/>
                <a:gd name="connsiteY22" fmla="*/ 618388 h 1274125"/>
                <a:gd name="connsiteX23" fmla="*/ 164477 w 218602"/>
                <a:gd name="connsiteY23" fmla="*/ 633186 h 1274125"/>
                <a:gd name="connsiteX24" fmla="*/ 167031 w 218602"/>
                <a:gd name="connsiteY24" fmla="*/ 647744 h 1274125"/>
                <a:gd name="connsiteX25" fmla="*/ 172801 w 218602"/>
                <a:gd name="connsiteY25" fmla="*/ 674109 h 1274125"/>
                <a:gd name="connsiteX26" fmla="*/ 177077 w 218602"/>
                <a:gd name="connsiteY26" fmla="*/ 703906 h 1274125"/>
                <a:gd name="connsiteX27" fmla="*/ 179387 w 218602"/>
                <a:gd name="connsiteY27" fmla="*/ 737696 h 1274125"/>
                <a:gd name="connsiteX28" fmla="*/ 179255 w 218602"/>
                <a:gd name="connsiteY28" fmla="*/ 776046 h 1274125"/>
                <a:gd name="connsiteX29" fmla="*/ 176579 w 218602"/>
                <a:gd name="connsiteY29" fmla="*/ 814234 h 1274125"/>
                <a:gd name="connsiteX30" fmla="*/ 171806 w 218602"/>
                <a:gd name="connsiteY30" fmla="*/ 847579 h 1274125"/>
                <a:gd name="connsiteX31" fmla="*/ 165368 w 218602"/>
                <a:gd name="connsiteY31" fmla="*/ 876697 h 1274125"/>
                <a:gd name="connsiteX32" fmla="*/ 157698 w 218602"/>
                <a:gd name="connsiteY32" fmla="*/ 902208 h 1274125"/>
                <a:gd name="connsiteX33" fmla="*/ 154085 w 218602"/>
                <a:gd name="connsiteY33" fmla="*/ 916369 h 1274125"/>
                <a:gd name="connsiteX34" fmla="*/ 152632 w 218602"/>
                <a:gd name="connsiteY34" fmla="*/ 931041 h 1274125"/>
                <a:gd name="connsiteX35" fmla="*/ 153346 w 218602"/>
                <a:gd name="connsiteY35" fmla="*/ 945807 h 1274125"/>
                <a:gd name="connsiteX36" fmla="*/ 156234 w 218602"/>
                <a:gd name="connsiteY36" fmla="*/ 960245 h 1274125"/>
                <a:gd name="connsiteX37" fmla="*/ 162612 w 218602"/>
                <a:gd name="connsiteY37" fmla="*/ 986341 h 1274125"/>
                <a:gd name="connsiteX38" fmla="*/ 167580 w 218602"/>
                <a:gd name="connsiteY38" fmla="*/ 1015928 h 1274125"/>
                <a:gd name="connsiteX39" fmla="*/ 170677 w 218602"/>
                <a:gd name="connsiteY39" fmla="*/ 1049584 h 1274125"/>
                <a:gd name="connsiteX40" fmla="*/ 171442 w 218602"/>
                <a:gd name="connsiteY40" fmla="*/ 1087884 h 1274125"/>
                <a:gd name="connsiteX41" fmla="*/ 169639 w 218602"/>
                <a:gd name="connsiteY41" fmla="*/ 1126120 h 1274125"/>
                <a:gd name="connsiteX42" fmla="*/ 165642 w 218602"/>
                <a:gd name="connsiteY42" fmla="*/ 1159600 h 1274125"/>
                <a:gd name="connsiteX43" fmla="*/ 159885 w 218602"/>
                <a:gd name="connsiteY43" fmla="*/ 1188929 h 1274125"/>
                <a:gd name="connsiteX44" fmla="*/ 152813 w 218602"/>
                <a:gd name="connsiteY44" fmla="*/ 1214709 h 1274125"/>
                <a:gd name="connsiteX45" fmla="*/ 149523 w 218602"/>
                <a:gd name="connsiteY45" fmla="*/ 1228992 h 1274125"/>
                <a:gd name="connsiteX46" fmla="*/ 148408 w 218602"/>
                <a:gd name="connsiteY46" fmla="*/ 1243697 h 1274125"/>
                <a:gd name="connsiteX47" fmla="*/ 149467 w 218602"/>
                <a:gd name="connsiteY47" fmla="*/ 1258412 h 1274125"/>
                <a:gd name="connsiteX48" fmla="*/ 153117 w 218602"/>
                <a:gd name="connsiteY48" fmla="*/ 1274125 h 1274125"/>
                <a:gd name="connsiteX49" fmla="*/ 19711 w 218602"/>
                <a:gd name="connsiteY49" fmla="*/ 1274125 h 1274125"/>
                <a:gd name="connsiteX50" fmla="*/ 21859 w 218602"/>
                <a:gd name="connsiteY50" fmla="*/ 1259315 h 1274125"/>
                <a:gd name="connsiteX51" fmla="*/ 20795 w 218602"/>
                <a:gd name="connsiteY51" fmla="*/ 1243912 h 1274125"/>
                <a:gd name="connsiteX52" fmla="*/ 16537 w 218602"/>
                <a:gd name="connsiteY52" fmla="*/ 1229694 h 1274125"/>
                <a:gd name="connsiteX53" fmla="*/ 9687 w 218602"/>
                <a:gd name="connsiteY53" fmla="*/ 1203366 h 1274125"/>
                <a:gd name="connsiteX54" fmla="*/ 4305 w 218602"/>
                <a:gd name="connsiteY54" fmla="*/ 1173343 h 1274125"/>
                <a:gd name="connsiteX55" fmla="*/ 904 w 218602"/>
                <a:gd name="connsiteY55" fmla="*/ 1139065 h 1274125"/>
                <a:gd name="connsiteX56" fmla="*/ 0 w 218602"/>
                <a:gd name="connsiteY56" fmla="*/ 1099964 h 1274125"/>
                <a:gd name="connsiteX57" fmla="*/ 1867 w 218602"/>
                <a:gd name="connsiteY57" fmla="*/ 1060918 h 1274125"/>
                <a:gd name="connsiteX58" fmla="*/ 6108 w 218602"/>
                <a:gd name="connsiteY58" fmla="*/ 1026790 h 1274125"/>
                <a:gd name="connsiteX59" fmla="*/ 12229 w 218602"/>
                <a:gd name="connsiteY59" fmla="*/ 996988 h 1274125"/>
                <a:gd name="connsiteX60" fmla="*/ 19731 w 218602"/>
                <a:gd name="connsiteY60" fmla="*/ 970923 h 1274125"/>
                <a:gd name="connsiteX61" fmla="*/ 23287 w 218602"/>
                <a:gd name="connsiteY61" fmla="*/ 956504 h 1274125"/>
                <a:gd name="connsiteX62" fmla="*/ 24711 w 218602"/>
                <a:gd name="connsiteY62" fmla="*/ 941598 h 1274125"/>
                <a:gd name="connsiteX63" fmla="*/ 23996 w 218602"/>
                <a:gd name="connsiteY63" fmla="*/ 926597 h 1274125"/>
                <a:gd name="connsiteX64" fmla="*/ 21138 w 218602"/>
                <a:gd name="connsiteY64" fmla="*/ 911902 h 1274125"/>
                <a:gd name="connsiteX65" fmla="*/ 14899 w 218602"/>
                <a:gd name="connsiteY65" fmla="*/ 885289 h 1274125"/>
                <a:gd name="connsiteX66" fmla="*/ 10217 w 218602"/>
                <a:gd name="connsiteY66" fmla="*/ 855051 h 1274125"/>
                <a:gd name="connsiteX67" fmla="*/ 7617 w 218602"/>
                <a:gd name="connsiteY67" fmla="*/ 820634 h 1274125"/>
                <a:gd name="connsiteX68" fmla="*/ 7622 w 218602"/>
                <a:gd name="connsiteY68" fmla="*/ 781483 h 1274125"/>
                <a:gd name="connsiteX69" fmla="*/ 10397 w 218602"/>
                <a:gd name="connsiteY69" fmla="*/ 742488 h 1274125"/>
                <a:gd name="connsiteX70" fmla="*/ 15430 w 218602"/>
                <a:gd name="connsiteY70" fmla="*/ 708507 h 1274125"/>
                <a:gd name="connsiteX71" fmla="*/ 22239 w 218602"/>
                <a:gd name="connsiteY71" fmla="*/ 678923 h 1274125"/>
                <a:gd name="connsiteX72" fmla="*/ 30338 w 218602"/>
                <a:gd name="connsiteY72" fmla="*/ 653131 h 1274125"/>
                <a:gd name="connsiteX73" fmla="*/ 34223 w 218602"/>
                <a:gd name="connsiteY73" fmla="*/ 638838 h 1274125"/>
                <a:gd name="connsiteX74" fmla="*/ 35996 w 218602"/>
                <a:gd name="connsiteY74" fmla="*/ 623975 h 1274125"/>
                <a:gd name="connsiteX75" fmla="*/ 35634 w 218602"/>
                <a:gd name="connsiteY75" fmla="*/ 608940 h 1274125"/>
                <a:gd name="connsiteX76" fmla="*/ 33113 w 218602"/>
                <a:gd name="connsiteY76" fmla="*/ 594135 h 1274125"/>
                <a:gd name="connsiteX77" fmla="*/ 27506 w 218602"/>
                <a:gd name="connsiteY77" fmla="*/ 567263 h 1274125"/>
                <a:gd name="connsiteX78" fmla="*/ 23536 w 218602"/>
                <a:gd name="connsiteY78" fmla="*/ 536817 h 1274125"/>
                <a:gd name="connsiteX79" fmla="*/ 21733 w 218602"/>
                <a:gd name="connsiteY79" fmla="*/ 502266 h 1274125"/>
                <a:gd name="connsiteX80" fmla="*/ 22639 w 218602"/>
                <a:gd name="connsiteY80" fmla="*/ 463077 h 1274125"/>
                <a:gd name="connsiteX81" fmla="*/ 26328 w 218602"/>
                <a:gd name="connsiteY81" fmla="*/ 424169 h 1274125"/>
                <a:gd name="connsiteX82" fmla="*/ 32154 w 218602"/>
                <a:gd name="connsiteY82" fmla="*/ 390359 h 1274125"/>
                <a:gd name="connsiteX83" fmla="*/ 39645 w 218602"/>
                <a:gd name="connsiteY83" fmla="*/ 361021 h 1274125"/>
                <a:gd name="connsiteX84" fmla="*/ 48339 w 218602"/>
                <a:gd name="connsiteY84" fmla="*/ 335537 h 1274125"/>
                <a:gd name="connsiteX85" fmla="*/ 52558 w 218602"/>
                <a:gd name="connsiteY85" fmla="*/ 321382 h 1274125"/>
                <a:gd name="connsiteX86" fmla="*/ 54676 w 218602"/>
                <a:gd name="connsiteY86" fmla="*/ 306570 h 1274125"/>
                <a:gd name="connsiteX87" fmla="*/ 54666 w 218602"/>
                <a:gd name="connsiteY87" fmla="*/ 291504 h 1274125"/>
                <a:gd name="connsiteX88" fmla="*/ 52502 w 218602"/>
                <a:gd name="connsiteY88" fmla="*/ 276590 h 1274125"/>
                <a:gd name="connsiteX89" fmla="*/ 47518 w 218602"/>
                <a:gd name="connsiteY89" fmla="*/ 249467 h 1274125"/>
                <a:gd name="connsiteX90" fmla="*/ 44255 w 218602"/>
                <a:gd name="connsiteY90" fmla="*/ 218837 h 1274125"/>
                <a:gd name="connsiteX91" fmla="*/ 43261 w 218602"/>
                <a:gd name="connsiteY91" fmla="*/ 184191 h 1274125"/>
                <a:gd name="connsiteX92" fmla="*/ 45089 w 218602"/>
                <a:gd name="connsiteY92" fmla="*/ 145015 h 1274125"/>
                <a:gd name="connsiteX93" fmla="*/ 49686 w 218602"/>
                <a:gd name="connsiteY93" fmla="*/ 106199 h 1274125"/>
                <a:gd name="connsiteX94" fmla="*/ 56300 w 218602"/>
                <a:gd name="connsiteY94" fmla="*/ 72579 h 1274125"/>
                <a:gd name="connsiteX95" fmla="*/ 64475 w 218602"/>
                <a:gd name="connsiteY95" fmla="*/ 43507 h 1274125"/>
                <a:gd name="connsiteX96" fmla="*/ 73755 w 218602"/>
                <a:gd name="connsiteY96" fmla="*/ 18337 h 1274125"/>
                <a:gd name="connsiteX97" fmla="*/ 78302 w 218602"/>
                <a:gd name="connsiteY97" fmla="*/ 4329 h 127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8602" h="1274125">
                  <a:moveTo>
                    <a:pt x="79026" y="0"/>
                  </a:moveTo>
                  <a:lnTo>
                    <a:pt x="216280" y="63832"/>
                  </a:lnTo>
                  <a:lnTo>
                    <a:pt x="217873" y="80524"/>
                  </a:lnTo>
                  <a:lnTo>
                    <a:pt x="218602" y="114523"/>
                  </a:lnTo>
                  <a:lnTo>
                    <a:pt x="216683" y="152888"/>
                  </a:lnTo>
                  <a:lnTo>
                    <a:pt x="212216" y="190901"/>
                  </a:lnTo>
                  <a:lnTo>
                    <a:pt x="205893" y="223900"/>
                  </a:lnTo>
                  <a:lnTo>
                    <a:pt x="198113" y="252538"/>
                  </a:lnTo>
                  <a:lnTo>
                    <a:pt x="189272" y="277475"/>
                  </a:lnTo>
                  <a:lnTo>
                    <a:pt x="184999" y="291369"/>
                  </a:lnTo>
                  <a:lnTo>
                    <a:pt x="182864" y="305941"/>
                  </a:lnTo>
                  <a:lnTo>
                    <a:pt x="182890" y="320770"/>
                  </a:lnTo>
                  <a:lnTo>
                    <a:pt x="185109" y="335438"/>
                  </a:lnTo>
                  <a:lnTo>
                    <a:pt x="190258" y="362044"/>
                  </a:lnTo>
                  <a:lnTo>
                    <a:pt x="193832" y="392031"/>
                  </a:lnTo>
                  <a:lnTo>
                    <a:pt x="195350" y="425939"/>
                  </a:lnTo>
                  <a:lnTo>
                    <a:pt x="194329" y="464308"/>
                  </a:lnTo>
                  <a:lnTo>
                    <a:pt x="190762" y="502424"/>
                  </a:lnTo>
                  <a:lnTo>
                    <a:pt x="185217" y="535609"/>
                  </a:lnTo>
                  <a:lnTo>
                    <a:pt x="178106" y="564498"/>
                  </a:lnTo>
                  <a:lnTo>
                    <a:pt x="169845" y="589731"/>
                  </a:lnTo>
                  <a:lnTo>
                    <a:pt x="165897" y="603763"/>
                  </a:lnTo>
                  <a:lnTo>
                    <a:pt x="164104" y="618388"/>
                  </a:lnTo>
                  <a:lnTo>
                    <a:pt x="164477" y="633186"/>
                  </a:lnTo>
                  <a:lnTo>
                    <a:pt x="167031" y="647744"/>
                  </a:lnTo>
                  <a:lnTo>
                    <a:pt x="172801" y="674109"/>
                  </a:lnTo>
                  <a:lnTo>
                    <a:pt x="177077" y="703906"/>
                  </a:lnTo>
                  <a:lnTo>
                    <a:pt x="179387" y="737696"/>
                  </a:lnTo>
                  <a:lnTo>
                    <a:pt x="179255" y="776046"/>
                  </a:lnTo>
                  <a:lnTo>
                    <a:pt x="176579" y="814234"/>
                  </a:lnTo>
                  <a:lnTo>
                    <a:pt x="171806" y="847579"/>
                  </a:lnTo>
                  <a:lnTo>
                    <a:pt x="165368" y="876697"/>
                  </a:lnTo>
                  <a:lnTo>
                    <a:pt x="157698" y="902208"/>
                  </a:lnTo>
                  <a:lnTo>
                    <a:pt x="154085" y="916369"/>
                  </a:lnTo>
                  <a:lnTo>
                    <a:pt x="152632" y="931041"/>
                  </a:lnTo>
                  <a:lnTo>
                    <a:pt x="153346" y="945807"/>
                  </a:lnTo>
                  <a:lnTo>
                    <a:pt x="156234" y="960245"/>
                  </a:lnTo>
                  <a:lnTo>
                    <a:pt x="162612" y="986341"/>
                  </a:lnTo>
                  <a:lnTo>
                    <a:pt x="167580" y="1015928"/>
                  </a:lnTo>
                  <a:lnTo>
                    <a:pt x="170677" y="1049584"/>
                  </a:lnTo>
                  <a:lnTo>
                    <a:pt x="171442" y="1087884"/>
                  </a:lnTo>
                  <a:lnTo>
                    <a:pt x="169639" y="1126120"/>
                  </a:lnTo>
                  <a:lnTo>
                    <a:pt x="165642" y="1159600"/>
                  </a:lnTo>
                  <a:lnTo>
                    <a:pt x="159885" y="1188929"/>
                  </a:lnTo>
                  <a:lnTo>
                    <a:pt x="152813" y="1214709"/>
                  </a:lnTo>
                  <a:lnTo>
                    <a:pt x="149523" y="1228992"/>
                  </a:lnTo>
                  <a:lnTo>
                    <a:pt x="148408" y="1243697"/>
                  </a:lnTo>
                  <a:lnTo>
                    <a:pt x="149467" y="1258412"/>
                  </a:lnTo>
                  <a:lnTo>
                    <a:pt x="153117" y="1274125"/>
                  </a:lnTo>
                  <a:lnTo>
                    <a:pt x="19711" y="1274125"/>
                  </a:lnTo>
                  <a:lnTo>
                    <a:pt x="21859" y="1259315"/>
                  </a:lnTo>
                  <a:lnTo>
                    <a:pt x="20795" y="1243912"/>
                  </a:lnTo>
                  <a:lnTo>
                    <a:pt x="16537" y="1229694"/>
                  </a:lnTo>
                  <a:lnTo>
                    <a:pt x="9687" y="1203366"/>
                  </a:lnTo>
                  <a:lnTo>
                    <a:pt x="4305" y="1173343"/>
                  </a:lnTo>
                  <a:lnTo>
                    <a:pt x="904" y="1139065"/>
                  </a:lnTo>
                  <a:lnTo>
                    <a:pt x="0" y="1099964"/>
                  </a:lnTo>
                  <a:lnTo>
                    <a:pt x="1867" y="1060918"/>
                  </a:lnTo>
                  <a:lnTo>
                    <a:pt x="6108" y="1026790"/>
                  </a:lnTo>
                  <a:lnTo>
                    <a:pt x="12229" y="996988"/>
                  </a:lnTo>
                  <a:lnTo>
                    <a:pt x="19731" y="970923"/>
                  </a:lnTo>
                  <a:lnTo>
                    <a:pt x="23287" y="956504"/>
                  </a:lnTo>
                  <a:lnTo>
                    <a:pt x="24711" y="941598"/>
                  </a:lnTo>
                  <a:lnTo>
                    <a:pt x="23996" y="926597"/>
                  </a:lnTo>
                  <a:lnTo>
                    <a:pt x="21138" y="911902"/>
                  </a:lnTo>
                  <a:lnTo>
                    <a:pt x="14899" y="885289"/>
                  </a:lnTo>
                  <a:lnTo>
                    <a:pt x="10217" y="855051"/>
                  </a:lnTo>
                  <a:lnTo>
                    <a:pt x="7617" y="820634"/>
                  </a:lnTo>
                  <a:lnTo>
                    <a:pt x="7622" y="781483"/>
                  </a:lnTo>
                  <a:lnTo>
                    <a:pt x="10397" y="742488"/>
                  </a:lnTo>
                  <a:lnTo>
                    <a:pt x="15430" y="708507"/>
                  </a:lnTo>
                  <a:lnTo>
                    <a:pt x="22239" y="678923"/>
                  </a:lnTo>
                  <a:lnTo>
                    <a:pt x="30338" y="653131"/>
                  </a:lnTo>
                  <a:lnTo>
                    <a:pt x="34223" y="638838"/>
                  </a:lnTo>
                  <a:lnTo>
                    <a:pt x="35996" y="623975"/>
                  </a:lnTo>
                  <a:lnTo>
                    <a:pt x="35634" y="608940"/>
                  </a:lnTo>
                  <a:lnTo>
                    <a:pt x="33113" y="594135"/>
                  </a:lnTo>
                  <a:lnTo>
                    <a:pt x="27506" y="567263"/>
                  </a:lnTo>
                  <a:lnTo>
                    <a:pt x="23536" y="536817"/>
                  </a:lnTo>
                  <a:lnTo>
                    <a:pt x="21733" y="502266"/>
                  </a:lnTo>
                  <a:lnTo>
                    <a:pt x="22639" y="463077"/>
                  </a:lnTo>
                  <a:lnTo>
                    <a:pt x="26328" y="424169"/>
                  </a:lnTo>
                  <a:lnTo>
                    <a:pt x="32154" y="390359"/>
                  </a:lnTo>
                  <a:lnTo>
                    <a:pt x="39645" y="361021"/>
                  </a:lnTo>
                  <a:lnTo>
                    <a:pt x="48339" y="335537"/>
                  </a:lnTo>
                  <a:lnTo>
                    <a:pt x="52558" y="321382"/>
                  </a:lnTo>
                  <a:lnTo>
                    <a:pt x="54676" y="306570"/>
                  </a:lnTo>
                  <a:lnTo>
                    <a:pt x="54666" y="291504"/>
                  </a:lnTo>
                  <a:lnTo>
                    <a:pt x="52502" y="276590"/>
                  </a:lnTo>
                  <a:lnTo>
                    <a:pt x="47518" y="249467"/>
                  </a:lnTo>
                  <a:lnTo>
                    <a:pt x="44255" y="218837"/>
                  </a:lnTo>
                  <a:lnTo>
                    <a:pt x="43261" y="184191"/>
                  </a:lnTo>
                  <a:lnTo>
                    <a:pt x="45089" y="145015"/>
                  </a:lnTo>
                  <a:lnTo>
                    <a:pt x="49686" y="106199"/>
                  </a:lnTo>
                  <a:lnTo>
                    <a:pt x="56300" y="72579"/>
                  </a:lnTo>
                  <a:lnTo>
                    <a:pt x="64475" y="43507"/>
                  </a:lnTo>
                  <a:lnTo>
                    <a:pt x="73755" y="18337"/>
                  </a:lnTo>
                  <a:lnTo>
                    <a:pt x="78302" y="4329"/>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7" name="Freeform: Shape 6">
              <a:extLst>
                <a:ext uri="{FF2B5EF4-FFF2-40B4-BE49-F238E27FC236}">
                  <a16:creationId xmlns:a16="http://schemas.microsoft.com/office/drawing/2014/main" id="{4061C33E-180F-963E-91F5-9C4A9C4827D3}"/>
                </a:ext>
              </a:extLst>
            </p:cNvPr>
            <p:cNvSpPr/>
            <p:nvPr userDrawn="1"/>
          </p:nvSpPr>
          <p:spPr>
            <a:xfrm rot="13654353">
              <a:off x="11464201" y="736041"/>
              <a:ext cx="387391" cy="1362193"/>
            </a:xfrm>
            <a:custGeom>
              <a:avLst/>
              <a:gdLst>
                <a:gd name="connsiteX0" fmla="*/ 147207 w 387391"/>
                <a:gd name="connsiteY0" fmla="*/ 1362193 h 1362193"/>
                <a:gd name="connsiteX1" fmla="*/ 0 w 387391"/>
                <a:gd name="connsiteY1" fmla="*/ 1227645 h 1362193"/>
                <a:gd name="connsiteX2" fmla="*/ 1801 w 387391"/>
                <a:gd name="connsiteY2" fmla="*/ 1216824 h 1362193"/>
                <a:gd name="connsiteX3" fmla="*/ 9982 w 387391"/>
                <a:gd name="connsiteY3" fmla="*/ 1183657 h 1362193"/>
                <a:gd name="connsiteX4" fmla="*/ 19511 w 387391"/>
                <a:gd name="connsiteY4" fmla="*/ 1155162 h 1362193"/>
                <a:gd name="connsiteX5" fmla="*/ 29965 w 387391"/>
                <a:gd name="connsiteY5" fmla="*/ 1130658 h 1362193"/>
                <a:gd name="connsiteX6" fmla="*/ 35174 w 387391"/>
                <a:gd name="connsiteY6" fmla="*/ 1116977 h 1362193"/>
                <a:gd name="connsiteX7" fmla="*/ 38332 w 387391"/>
                <a:gd name="connsiteY7" fmla="*/ 1102401 h 1362193"/>
                <a:gd name="connsiteX8" fmla="*/ 39384 w 387391"/>
                <a:gd name="connsiteY8" fmla="*/ 1087320 h 1362193"/>
                <a:gd name="connsiteX9" fmla="*/ 38273 w 387391"/>
                <a:gd name="connsiteY9" fmla="*/ 1072129 h 1362193"/>
                <a:gd name="connsiteX10" fmla="*/ 35227 w 387391"/>
                <a:gd name="connsiteY10" fmla="*/ 1044400 h 1362193"/>
                <a:gd name="connsiteX11" fmla="*/ 34146 w 387391"/>
                <a:gd name="connsiteY11" fmla="*/ 1013355 h 1362193"/>
                <a:gd name="connsiteX12" fmla="*/ 35613 w 387391"/>
                <a:gd name="connsiteY12" fmla="*/ 978542 h 1362193"/>
                <a:gd name="connsiteX13" fmla="*/ 40211 w 387391"/>
                <a:gd name="connsiteY13" fmla="*/ 939522 h 1362193"/>
                <a:gd name="connsiteX14" fmla="*/ 47532 w 387391"/>
                <a:gd name="connsiteY14" fmla="*/ 901192 h 1362193"/>
                <a:gd name="connsiteX15" fmla="*/ 56501 w 387391"/>
                <a:gd name="connsiteY15" fmla="*/ 868288 h 1362193"/>
                <a:gd name="connsiteX16" fmla="*/ 66705 w 387391"/>
                <a:gd name="connsiteY16" fmla="*/ 840114 h 1362193"/>
                <a:gd name="connsiteX17" fmla="*/ 77736 w 387391"/>
                <a:gd name="connsiteY17" fmla="*/ 815968 h 1362193"/>
                <a:gd name="connsiteX18" fmla="*/ 83263 w 387391"/>
                <a:gd name="connsiteY18" fmla="*/ 802466 h 1362193"/>
                <a:gd name="connsiteX19" fmla="*/ 86767 w 387391"/>
                <a:gd name="connsiteY19" fmla="*/ 787986 h 1362193"/>
                <a:gd name="connsiteX20" fmla="*/ 88180 w 387391"/>
                <a:gd name="connsiteY20" fmla="*/ 772917 h 1362193"/>
                <a:gd name="connsiteX21" fmla="*/ 87430 w 387391"/>
                <a:gd name="connsiteY21" fmla="*/ 757660 h 1362193"/>
                <a:gd name="connsiteX22" fmla="*/ 85045 w 387391"/>
                <a:gd name="connsiteY22" fmla="*/ 729759 h 1362193"/>
                <a:gd name="connsiteX23" fmla="*/ 84702 w 387391"/>
                <a:gd name="connsiteY23" fmla="*/ 698614 h 1362193"/>
                <a:gd name="connsiteX24" fmla="*/ 86996 w 387391"/>
                <a:gd name="connsiteY24" fmla="*/ 663797 h 1362193"/>
                <a:gd name="connsiteX25" fmla="*/ 92525 w 387391"/>
                <a:gd name="connsiteY25" fmla="*/ 624880 h 1362193"/>
                <a:gd name="connsiteX26" fmla="*/ 100755 w 387391"/>
                <a:gd name="connsiteY26" fmla="*/ 586757 h 1362193"/>
                <a:gd name="connsiteX27" fmla="*/ 110503 w 387391"/>
                <a:gd name="connsiteY27" fmla="*/ 554139 h 1362193"/>
                <a:gd name="connsiteX28" fmla="*/ 121375 w 387391"/>
                <a:gd name="connsiteY28" fmla="*/ 526301 h 1362193"/>
                <a:gd name="connsiteX29" fmla="*/ 132975 w 387391"/>
                <a:gd name="connsiteY29" fmla="*/ 502531 h 1362193"/>
                <a:gd name="connsiteX30" fmla="*/ 138829 w 387391"/>
                <a:gd name="connsiteY30" fmla="*/ 489213 h 1362193"/>
                <a:gd name="connsiteX31" fmla="*/ 142681 w 387391"/>
                <a:gd name="connsiteY31" fmla="*/ 474842 h 1362193"/>
                <a:gd name="connsiteX32" fmla="*/ 144456 w 387391"/>
                <a:gd name="connsiteY32" fmla="*/ 459803 h 1362193"/>
                <a:gd name="connsiteX33" fmla="*/ 144076 w 387391"/>
                <a:gd name="connsiteY33" fmla="*/ 444493 h 1362193"/>
                <a:gd name="connsiteX34" fmla="*/ 142357 w 387391"/>
                <a:gd name="connsiteY34" fmla="*/ 416450 h 1362193"/>
                <a:gd name="connsiteX35" fmla="*/ 142758 w 387391"/>
                <a:gd name="connsiteY35" fmla="*/ 385226 h 1362193"/>
                <a:gd name="connsiteX36" fmla="*/ 152346 w 387391"/>
                <a:gd name="connsiteY36" fmla="*/ 311639 h 1362193"/>
                <a:gd name="connsiteX37" fmla="*/ 172019 w 387391"/>
                <a:gd name="connsiteY37" fmla="*/ 241430 h 1362193"/>
                <a:gd name="connsiteX38" fmla="*/ 183555 w 387391"/>
                <a:gd name="connsiteY38" fmla="*/ 213957 h 1362193"/>
                <a:gd name="connsiteX39" fmla="*/ 195724 w 387391"/>
                <a:gd name="connsiteY39" fmla="*/ 190594 h 1362193"/>
                <a:gd name="connsiteX40" fmla="*/ 201893 w 387391"/>
                <a:gd name="connsiteY40" fmla="*/ 177476 h 1362193"/>
                <a:gd name="connsiteX41" fmla="*/ 206090 w 387391"/>
                <a:gd name="connsiteY41" fmla="*/ 163216 h 1362193"/>
                <a:gd name="connsiteX42" fmla="*/ 208224 w 387391"/>
                <a:gd name="connsiteY42" fmla="*/ 148202 h 1362193"/>
                <a:gd name="connsiteX43" fmla="*/ 208213 w 387391"/>
                <a:gd name="connsiteY43" fmla="*/ 132829 h 1362193"/>
                <a:gd name="connsiteX44" fmla="*/ 207176 w 387391"/>
                <a:gd name="connsiteY44" fmla="*/ 104665 h 1362193"/>
                <a:gd name="connsiteX45" fmla="*/ 208326 w 387391"/>
                <a:gd name="connsiteY45" fmla="*/ 73397 h 1362193"/>
                <a:gd name="connsiteX46" fmla="*/ 212288 w 387391"/>
                <a:gd name="connsiteY46" fmla="*/ 38637 h 1362193"/>
                <a:gd name="connsiteX47" fmla="*/ 219676 w 387391"/>
                <a:gd name="connsiteY47" fmla="*/ 0 h 1362193"/>
                <a:gd name="connsiteX48" fmla="*/ 287633 w 387391"/>
                <a:gd name="connsiteY48" fmla="*/ 26053 h 1362193"/>
                <a:gd name="connsiteX49" fmla="*/ 319472 w 387391"/>
                <a:gd name="connsiteY49" fmla="*/ 21526 h 1362193"/>
                <a:gd name="connsiteX50" fmla="*/ 387391 w 387391"/>
                <a:gd name="connsiteY50" fmla="*/ 47704 h 1362193"/>
                <a:gd name="connsiteX51" fmla="*/ 377580 w 387391"/>
                <a:gd name="connsiteY51" fmla="*/ 84557 h 1362193"/>
                <a:gd name="connsiteX52" fmla="*/ 366651 w 387391"/>
                <a:gd name="connsiteY52" fmla="*/ 115974 h 1362193"/>
                <a:gd name="connsiteX53" fmla="*/ 354905 w 387391"/>
                <a:gd name="connsiteY53" fmla="*/ 142708 h 1362193"/>
                <a:gd name="connsiteX54" fmla="*/ 342644 w 387391"/>
                <a:gd name="connsiteY54" fmla="*/ 165500 h 1362193"/>
                <a:gd name="connsiteX55" fmla="*/ 336471 w 387391"/>
                <a:gd name="connsiteY55" fmla="*/ 178343 h 1362193"/>
                <a:gd name="connsiteX56" fmla="*/ 332298 w 387391"/>
                <a:gd name="connsiteY56" fmla="*/ 192357 h 1362193"/>
                <a:gd name="connsiteX57" fmla="*/ 330215 w 387391"/>
                <a:gd name="connsiteY57" fmla="*/ 207132 h 1362193"/>
                <a:gd name="connsiteX58" fmla="*/ 330307 w 387391"/>
                <a:gd name="connsiteY58" fmla="*/ 222258 h 1362193"/>
                <a:gd name="connsiteX59" fmla="*/ 331589 w 387391"/>
                <a:gd name="connsiteY59" fmla="*/ 249962 h 1362193"/>
                <a:gd name="connsiteX60" fmla="*/ 327519 w 387391"/>
                <a:gd name="connsiteY60" fmla="*/ 314780 h 1362193"/>
                <a:gd name="connsiteX61" fmla="*/ 302000 w 387391"/>
                <a:gd name="connsiteY61" fmla="*/ 421596 h 1362193"/>
                <a:gd name="connsiteX62" fmla="*/ 290914 w 387391"/>
                <a:gd name="connsiteY62" fmla="*/ 448689 h 1362193"/>
                <a:gd name="connsiteX63" fmla="*/ 279212 w 387391"/>
                <a:gd name="connsiteY63" fmla="*/ 471876 h 1362193"/>
                <a:gd name="connsiteX64" fmla="*/ 273344 w 387391"/>
                <a:gd name="connsiteY64" fmla="*/ 484919 h 1362193"/>
                <a:gd name="connsiteX65" fmla="*/ 269507 w 387391"/>
                <a:gd name="connsiteY65" fmla="*/ 499050 h 1362193"/>
                <a:gd name="connsiteX66" fmla="*/ 267781 w 387391"/>
                <a:gd name="connsiteY66" fmla="*/ 513865 h 1362193"/>
                <a:gd name="connsiteX67" fmla="*/ 268244 w 387391"/>
                <a:gd name="connsiteY67" fmla="*/ 528953 h 1362193"/>
                <a:gd name="connsiteX68" fmla="*/ 270189 w 387391"/>
                <a:gd name="connsiteY68" fmla="*/ 556508 h 1362193"/>
                <a:gd name="connsiteX69" fmla="*/ 267683 w 387391"/>
                <a:gd name="connsiteY69" fmla="*/ 621274 h 1362193"/>
                <a:gd name="connsiteX70" fmla="*/ 244719 w 387391"/>
                <a:gd name="connsiteY70" fmla="*/ 728742 h 1362193"/>
                <a:gd name="connsiteX71" fmla="*/ 234282 w 387391"/>
                <a:gd name="connsiteY71" fmla="*/ 756186 h 1362193"/>
                <a:gd name="connsiteX72" fmla="*/ 223136 w 387391"/>
                <a:gd name="connsiteY72" fmla="*/ 779752 h 1362193"/>
                <a:gd name="connsiteX73" fmla="*/ 217590 w 387391"/>
                <a:gd name="connsiteY73" fmla="*/ 792993 h 1362193"/>
                <a:gd name="connsiteX74" fmla="*/ 214094 w 387391"/>
                <a:gd name="connsiteY74" fmla="*/ 807234 h 1362193"/>
                <a:gd name="connsiteX75" fmla="*/ 212719 w 387391"/>
                <a:gd name="connsiteY75" fmla="*/ 822065 h 1362193"/>
                <a:gd name="connsiteX76" fmla="*/ 213536 w 387391"/>
                <a:gd name="connsiteY76" fmla="*/ 837076 h 1362193"/>
                <a:gd name="connsiteX77" fmla="*/ 216138 w 387391"/>
                <a:gd name="connsiteY77" fmla="*/ 864486 h 1362193"/>
                <a:gd name="connsiteX78" fmla="*/ 216861 w 387391"/>
                <a:gd name="connsiteY78" fmla="*/ 895028 h 1362193"/>
                <a:gd name="connsiteX79" fmla="*/ 215178 w 387391"/>
                <a:gd name="connsiteY79" fmla="*/ 929167 h 1362193"/>
                <a:gd name="connsiteX80" fmla="*/ 210551 w 387391"/>
                <a:gd name="connsiteY80" fmla="*/ 967371 h 1362193"/>
                <a:gd name="connsiteX81" fmla="*/ 203422 w 387391"/>
                <a:gd name="connsiteY81" fmla="*/ 1004914 h 1362193"/>
                <a:gd name="connsiteX82" fmla="*/ 194788 w 387391"/>
                <a:gd name="connsiteY82" fmla="*/ 1037221 h 1362193"/>
                <a:gd name="connsiteX83" fmla="*/ 185007 w 387391"/>
                <a:gd name="connsiteY83" fmla="*/ 1064994 h 1362193"/>
                <a:gd name="connsiteX84" fmla="*/ 174434 w 387391"/>
                <a:gd name="connsiteY84" fmla="*/ 1088933 h 1362193"/>
                <a:gd name="connsiteX85" fmla="*/ 169197 w 387391"/>
                <a:gd name="connsiteY85" fmla="*/ 1102354 h 1362193"/>
                <a:gd name="connsiteX86" fmla="*/ 166041 w 387391"/>
                <a:gd name="connsiteY86" fmla="*/ 1116692 h 1362193"/>
                <a:gd name="connsiteX87" fmla="*/ 165025 w 387391"/>
                <a:gd name="connsiteY87" fmla="*/ 1131536 h 1362193"/>
                <a:gd name="connsiteX88" fmla="*/ 166203 w 387391"/>
                <a:gd name="connsiteY88" fmla="*/ 1146478 h 1362193"/>
                <a:gd name="connsiteX89" fmla="*/ 169452 w 387391"/>
                <a:gd name="connsiteY89" fmla="*/ 1173714 h 1362193"/>
                <a:gd name="connsiteX90" fmla="*/ 170899 w 387391"/>
                <a:gd name="connsiteY90" fmla="*/ 1204152 h 1362193"/>
                <a:gd name="connsiteX91" fmla="*/ 170020 w 387391"/>
                <a:gd name="connsiteY91" fmla="*/ 1238273 h 1362193"/>
                <a:gd name="connsiteX92" fmla="*/ 166299 w 387391"/>
                <a:gd name="connsiteY92" fmla="*/ 1276551 h 1362193"/>
                <a:gd name="connsiteX93" fmla="*/ 160059 w 387391"/>
                <a:gd name="connsiteY93" fmla="*/ 1314281 h 1362193"/>
                <a:gd name="connsiteX94" fmla="*/ 152194 w 387391"/>
                <a:gd name="connsiteY94" fmla="*/ 1346841 h 136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7391" h="1362193">
                  <a:moveTo>
                    <a:pt x="147207" y="1362193"/>
                  </a:moveTo>
                  <a:lnTo>
                    <a:pt x="0" y="1227645"/>
                  </a:lnTo>
                  <a:lnTo>
                    <a:pt x="1801" y="1216824"/>
                  </a:lnTo>
                  <a:lnTo>
                    <a:pt x="9982" y="1183657"/>
                  </a:lnTo>
                  <a:lnTo>
                    <a:pt x="19511" y="1155162"/>
                  </a:lnTo>
                  <a:lnTo>
                    <a:pt x="29965" y="1130658"/>
                  </a:lnTo>
                  <a:lnTo>
                    <a:pt x="35174" y="1116977"/>
                  </a:lnTo>
                  <a:lnTo>
                    <a:pt x="38332" y="1102401"/>
                  </a:lnTo>
                  <a:lnTo>
                    <a:pt x="39384" y="1087320"/>
                  </a:lnTo>
                  <a:lnTo>
                    <a:pt x="38273" y="1072129"/>
                  </a:lnTo>
                  <a:lnTo>
                    <a:pt x="35227" y="1044400"/>
                  </a:lnTo>
                  <a:lnTo>
                    <a:pt x="34146" y="1013355"/>
                  </a:lnTo>
                  <a:lnTo>
                    <a:pt x="35613" y="978542"/>
                  </a:lnTo>
                  <a:lnTo>
                    <a:pt x="40211" y="939522"/>
                  </a:lnTo>
                  <a:lnTo>
                    <a:pt x="47532" y="901192"/>
                  </a:lnTo>
                  <a:lnTo>
                    <a:pt x="56501" y="868288"/>
                  </a:lnTo>
                  <a:lnTo>
                    <a:pt x="66705" y="840114"/>
                  </a:lnTo>
                  <a:lnTo>
                    <a:pt x="77736" y="815968"/>
                  </a:lnTo>
                  <a:lnTo>
                    <a:pt x="83263" y="802466"/>
                  </a:lnTo>
                  <a:lnTo>
                    <a:pt x="86767" y="787986"/>
                  </a:lnTo>
                  <a:lnTo>
                    <a:pt x="88180" y="772917"/>
                  </a:lnTo>
                  <a:lnTo>
                    <a:pt x="87430" y="757660"/>
                  </a:lnTo>
                  <a:lnTo>
                    <a:pt x="85045" y="729759"/>
                  </a:lnTo>
                  <a:lnTo>
                    <a:pt x="84702" y="698614"/>
                  </a:lnTo>
                  <a:lnTo>
                    <a:pt x="86996" y="663797"/>
                  </a:lnTo>
                  <a:lnTo>
                    <a:pt x="92525" y="624880"/>
                  </a:lnTo>
                  <a:lnTo>
                    <a:pt x="100755" y="586757"/>
                  </a:lnTo>
                  <a:lnTo>
                    <a:pt x="110503" y="554139"/>
                  </a:lnTo>
                  <a:lnTo>
                    <a:pt x="121375" y="526301"/>
                  </a:lnTo>
                  <a:lnTo>
                    <a:pt x="132975" y="502531"/>
                  </a:lnTo>
                  <a:lnTo>
                    <a:pt x="138829" y="489213"/>
                  </a:lnTo>
                  <a:lnTo>
                    <a:pt x="142681" y="474842"/>
                  </a:lnTo>
                  <a:lnTo>
                    <a:pt x="144456" y="459803"/>
                  </a:lnTo>
                  <a:lnTo>
                    <a:pt x="144076" y="444493"/>
                  </a:lnTo>
                  <a:lnTo>
                    <a:pt x="142357" y="416450"/>
                  </a:lnTo>
                  <a:lnTo>
                    <a:pt x="142758" y="385226"/>
                  </a:lnTo>
                  <a:lnTo>
                    <a:pt x="152346" y="311639"/>
                  </a:lnTo>
                  <a:lnTo>
                    <a:pt x="172019" y="241430"/>
                  </a:lnTo>
                  <a:lnTo>
                    <a:pt x="183555" y="213957"/>
                  </a:lnTo>
                  <a:lnTo>
                    <a:pt x="195724" y="190594"/>
                  </a:lnTo>
                  <a:lnTo>
                    <a:pt x="201893" y="177476"/>
                  </a:lnTo>
                  <a:lnTo>
                    <a:pt x="206090" y="163216"/>
                  </a:lnTo>
                  <a:lnTo>
                    <a:pt x="208224" y="148202"/>
                  </a:lnTo>
                  <a:lnTo>
                    <a:pt x="208213" y="132829"/>
                  </a:lnTo>
                  <a:lnTo>
                    <a:pt x="207176" y="104665"/>
                  </a:lnTo>
                  <a:lnTo>
                    <a:pt x="208326" y="73397"/>
                  </a:lnTo>
                  <a:lnTo>
                    <a:pt x="212288" y="38637"/>
                  </a:lnTo>
                  <a:lnTo>
                    <a:pt x="219676" y="0"/>
                  </a:lnTo>
                  <a:lnTo>
                    <a:pt x="287633" y="26053"/>
                  </a:lnTo>
                  <a:lnTo>
                    <a:pt x="319472" y="21526"/>
                  </a:lnTo>
                  <a:lnTo>
                    <a:pt x="387391" y="47704"/>
                  </a:lnTo>
                  <a:lnTo>
                    <a:pt x="377580" y="84557"/>
                  </a:lnTo>
                  <a:lnTo>
                    <a:pt x="366651" y="115974"/>
                  </a:lnTo>
                  <a:lnTo>
                    <a:pt x="354905" y="142708"/>
                  </a:lnTo>
                  <a:lnTo>
                    <a:pt x="342644" y="165500"/>
                  </a:lnTo>
                  <a:lnTo>
                    <a:pt x="336471" y="178343"/>
                  </a:lnTo>
                  <a:lnTo>
                    <a:pt x="332298" y="192357"/>
                  </a:lnTo>
                  <a:lnTo>
                    <a:pt x="330215" y="207132"/>
                  </a:lnTo>
                  <a:lnTo>
                    <a:pt x="330307" y="222258"/>
                  </a:lnTo>
                  <a:lnTo>
                    <a:pt x="331589" y="249962"/>
                  </a:lnTo>
                  <a:lnTo>
                    <a:pt x="327519" y="314780"/>
                  </a:lnTo>
                  <a:lnTo>
                    <a:pt x="302000" y="421596"/>
                  </a:lnTo>
                  <a:lnTo>
                    <a:pt x="290914" y="448689"/>
                  </a:lnTo>
                  <a:lnTo>
                    <a:pt x="279212" y="471876"/>
                  </a:lnTo>
                  <a:lnTo>
                    <a:pt x="273344" y="484919"/>
                  </a:lnTo>
                  <a:lnTo>
                    <a:pt x="269507" y="499050"/>
                  </a:lnTo>
                  <a:lnTo>
                    <a:pt x="267781" y="513865"/>
                  </a:lnTo>
                  <a:lnTo>
                    <a:pt x="268244" y="528953"/>
                  </a:lnTo>
                  <a:lnTo>
                    <a:pt x="270189" y="556508"/>
                  </a:lnTo>
                  <a:lnTo>
                    <a:pt x="267683" y="621274"/>
                  </a:lnTo>
                  <a:lnTo>
                    <a:pt x="244719" y="728742"/>
                  </a:lnTo>
                  <a:lnTo>
                    <a:pt x="234282" y="756186"/>
                  </a:lnTo>
                  <a:lnTo>
                    <a:pt x="223136" y="779752"/>
                  </a:lnTo>
                  <a:lnTo>
                    <a:pt x="217590" y="792993"/>
                  </a:lnTo>
                  <a:lnTo>
                    <a:pt x="214094" y="807234"/>
                  </a:lnTo>
                  <a:lnTo>
                    <a:pt x="212719" y="822065"/>
                  </a:lnTo>
                  <a:lnTo>
                    <a:pt x="213536" y="837076"/>
                  </a:lnTo>
                  <a:lnTo>
                    <a:pt x="216138" y="864486"/>
                  </a:lnTo>
                  <a:lnTo>
                    <a:pt x="216861" y="895028"/>
                  </a:lnTo>
                  <a:lnTo>
                    <a:pt x="215178" y="929167"/>
                  </a:lnTo>
                  <a:lnTo>
                    <a:pt x="210551" y="967371"/>
                  </a:lnTo>
                  <a:lnTo>
                    <a:pt x="203422" y="1004914"/>
                  </a:lnTo>
                  <a:lnTo>
                    <a:pt x="194788" y="1037221"/>
                  </a:lnTo>
                  <a:lnTo>
                    <a:pt x="185007" y="1064994"/>
                  </a:lnTo>
                  <a:lnTo>
                    <a:pt x="174434" y="1088933"/>
                  </a:lnTo>
                  <a:lnTo>
                    <a:pt x="169197" y="1102354"/>
                  </a:lnTo>
                  <a:lnTo>
                    <a:pt x="166041" y="1116692"/>
                  </a:lnTo>
                  <a:lnTo>
                    <a:pt x="165025" y="1131536"/>
                  </a:lnTo>
                  <a:lnTo>
                    <a:pt x="166203" y="1146478"/>
                  </a:lnTo>
                  <a:lnTo>
                    <a:pt x="169452" y="1173714"/>
                  </a:lnTo>
                  <a:lnTo>
                    <a:pt x="170899" y="1204152"/>
                  </a:lnTo>
                  <a:lnTo>
                    <a:pt x="170020" y="1238273"/>
                  </a:lnTo>
                  <a:lnTo>
                    <a:pt x="166299" y="1276551"/>
                  </a:lnTo>
                  <a:lnTo>
                    <a:pt x="160059" y="1314281"/>
                  </a:lnTo>
                  <a:lnTo>
                    <a:pt x="152194" y="1346841"/>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8" name="Freeform: Shape 7">
              <a:extLst>
                <a:ext uri="{FF2B5EF4-FFF2-40B4-BE49-F238E27FC236}">
                  <a16:creationId xmlns:a16="http://schemas.microsoft.com/office/drawing/2014/main" id="{FAC22719-7D46-F812-1EA5-12DE56E9E883}"/>
                </a:ext>
              </a:extLst>
            </p:cNvPr>
            <p:cNvSpPr/>
            <p:nvPr userDrawn="1"/>
          </p:nvSpPr>
          <p:spPr>
            <a:xfrm rot="14016479" flipH="1">
              <a:off x="11562598" y="1072719"/>
              <a:ext cx="396316" cy="1360756"/>
            </a:xfrm>
            <a:custGeom>
              <a:avLst/>
              <a:gdLst>
                <a:gd name="connsiteX0" fmla="*/ 1895 w 396316"/>
                <a:gd name="connsiteY0" fmla="*/ 1360756 h 1360756"/>
                <a:gd name="connsiteX1" fmla="*/ 179155 w 396316"/>
                <a:gd name="connsiteY1" fmla="*/ 1230107 h 1360756"/>
                <a:gd name="connsiteX2" fmla="*/ 179823 w 396316"/>
                <a:gd name="connsiteY2" fmla="*/ 1204153 h 1360756"/>
                <a:gd name="connsiteX3" fmla="*/ 178378 w 396316"/>
                <a:gd name="connsiteY3" fmla="*/ 1173715 h 1360756"/>
                <a:gd name="connsiteX4" fmla="*/ 175128 w 396316"/>
                <a:gd name="connsiteY4" fmla="*/ 1146478 h 1360756"/>
                <a:gd name="connsiteX5" fmla="*/ 173950 w 396316"/>
                <a:gd name="connsiteY5" fmla="*/ 1131536 h 1360756"/>
                <a:gd name="connsiteX6" fmla="*/ 174966 w 396316"/>
                <a:gd name="connsiteY6" fmla="*/ 1116691 h 1360756"/>
                <a:gd name="connsiteX7" fmla="*/ 178122 w 396316"/>
                <a:gd name="connsiteY7" fmla="*/ 1102354 h 1360756"/>
                <a:gd name="connsiteX8" fmla="*/ 183359 w 396316"/>
                <a:gd name="connsiteY8" fmla="*/ 1088934 h 1360756"/>
                <a:gd name="connsiteX9" fmla="*/ 193932 w 396316"/>
                <a:gd name="connsiteY9" fmla="*/ 1064996 h 1360756"/>
                <a:gd name="connsiteX10" fmla="*/ 203713 w 396316"/>
                <a:gd name="connsiteY10" fmla="*/ 1037221 h 1360756"/>
                <a:gd name="connsiteX11" fmla="*/ 212347 w 396316"/>
                <a:gd name="connsiteY11" fmla="*/ 1004914 h 1360756"/>
                <a:gd name="connsiteX12" fmla="*/ 219475 w 396316"/>
                <a:gd name="connsiteY12" fmla="*/ 967371 h 1360756"/>
                <a:gd name="connsiteX13" fmla="*/ 224102 w 396316"/>
                <a:gd name="connsiteY13" fmla="*/ 929167 h 1360756"/>
                <a:gd name="connsiteX14" fmla="*/ 225786 w 396316"/>
                <a:gd name="connsiteY14" fmla="*/ 895028 h 1360756"/>
                <a:gd name="connsiteX15" fmla="*/ 225064 w 396316"/>
                <a:gd name="connsiteY15" fmla="*/ 864486 h 1360756"/>
                <a:gd name="connsiteX16" fmla="*/ 222460 w 396316"/>
                <a:gd name="connsiteY16" fmla="*/ 837076 h 1360756"/>
                <a:gd name="connsiteX17" fmla="*/ 221643 w 396316"/>
                <a:gd name="connsiteY17" fmla="*/ 822065 h 1360756"/>
                <a:gd name="connsiteX18" fmla="*/ 223019 w 396316"/>
                <a:gd name="connsiteY18" fmla="*/ 807234 h 1360756"/>
                <a:gd name="connsiteX19" fmla="*/ 226515 w 396316"/>
                <a:gd name="connsiteY19" fmla="*/ 792993 h 1360756"/>
                <a:gd name="connsiteX20" fmla="*/ 232061 w 396316"/>
                <a:gd name="connsiteY20" fmla="*/ 779753 h 1360756"/>
                <a:gd name="connsiteX21" fmla="*/ 243207 w 396316"/>
                <a:gd name="connsiteY21" fmla="*/ 756187 h 1360756"/>
                <a:gd name="connsiteX22" fmla="*/ 253644 w 396316"/>
                <a:gd name="connsiteY22" fmla="*/ 728742 h 1360756"/>
                <a:gd name="connsiteX23" fmla="*/ 276608 w 396316"/>
                <a:gd name="connsiteY23" fmla="*/ 621274 h 1360756"/>
                <a:gd name="connsiteX24" fmla="*/ 279113 w 396316"/>
                <a:gd name="connsiteY24" fmla="*/ 556509 h 1360756"/>
                <a:gd name="connsiteX25" fmla="*/ 277169 w 396316"/>
                <a:gd name="connsiteY25" fmla="*/ 528954 h 1360756"/>
                <a:gd name="connsiteX26" fmla="*/ 276706 w 396316"/>
                <a:gd name="connsiteY26" fmla="*/ 513865 h 1360756"/>
                <a:gd name="connsiteX27" fmla="*/ 278432 w 396316"/>
                <a:gd name="connsiteY27" fmla="*/ 499051 h 1360756"/>
                <a:gd name="connsiteX28" fmla="*/ 282268 w 396316"/>
                <a:gd name="connsiteY28" fmla="*/ 484919 h 1360756"/>
                <a:gd name="connsiteX29" fmla="*/ 288136 w 396316"/>
                <a:gd name="connsiteY29" fmla="*/ 471875 h 1360756"/>
                <a:gd name="connsiteX30" fmla="*/ 299838 w 396316"/>
                <a:gd name="connsiteY30" fmla="*/ 448689 h 1360756"/>
                <a:gd name="connsiteX31" fmla="*/ 310926 w 396316"/>
                <a:gd name="connsiteY31" fmla="*/ 421596 h 1360756"/>
                <a:gd name="connsiteX32" fmla="*/ 336445 w 396316"/>
                <a:gd name="connsiteY32" fmla="*/ 314779 h 1360756"/>
                <a:gd name="connsiteX33" fmla="*/ 340514 w 396316"/>
                <a:gd name="connsiteY33" fmla="*/ 249962 h 1360756"/>
                <a:gd name="connsiteX34" fmla="*/ 339232 w 396316"/>
                <a:gd name="connsiteY34" fmla="*/ 222259 h 1360756"/>
                <a:gd name="connsiteX35" fmla="*/ 339139 w 396316"/>
                <a:gd name="connsiteY35" fmla="*/ 207132 h 1360756"/>
                <a:gd name="connsiteX36" fmla="*/ 341223 w 396316"/>
                <a:gd name="connsiteY36" fmla="*/ 192357 h 1360756"/>
                <a:gd name="connsiteX37" fmla="*/ 345396 w 396316"/>
                <a:gd name="connsiteY37" fmla="*/ 178344 h 1360756"/>
                <a:gd name="connsiteX38" fmla="*/ 351569 w 396316"/>
                <a:gd name="connsiteY38" fmla="*/ 165499 h 1360756"/>
                <a:gd name="connsiteX39" fmla="*/ 363830 w 396316"/>
                <a:gd name="connsiteY39" fmla="*/ 142708 h 1360756"/>
                <a:gd name="connsiteX40" fmla="*/ 375575 w 396316"/>
                <a:gd name="connsiteY40" fmla="*/ 115974 h 1360756"/>
                <a:gd name="connsiteX41" fmla="*/ 386505 w 396316"/>
                <a:gd name="connsiteY41" fmla="*/ 84557 h 1360756"/>
                <a:gd name="connsiteX42" fmla="*/ 396316 w 396316"/>
                <a:gd name="connsiteY42" fmla="*/ 47704 h 1360756"/>
                <a:gd name="connsiteX43" fmla="*/ 328398 w 396316"/>
                <a:gd name="connsiteY43" fmla="*/ 21526 h 1360756"/>
                <a:gd name="connsiteX44" fmla="*/ 296558 w 396316"/>
                <a:gd name="connsiteY44" fmla="*/ 26054 h 1360756"/>
                <a:gd name="connsiteX45" fmla="*/ 228600 w 396316"/>
                <a:gd name="connsiteY45" fmla="*/ 0 h 1360756"/>
                <a:gd name="connsiteX46" fmla="*/ 221212 w 396316"/>
                <a:gd name="connsiteY46" fmla="*/ 38637 h 1360756"/>
                <a:gd name="connsiteX47" fmla="*/ 217251 w 396316"/>
                <a:gd name="connsiteY47" fmla="*/ 73398 h 1360756"/>
                <a:gd name="connsiteX48" fmla="*/ 216101 w 396316"/>
                <a:gd name="connsiteY48" fmla="*/ 104666 h 1360756"/>
                <a:gd name="connsiteX49" fmla="*/ 217137 w 396316"/>
                <a:gd name="connsiteY49" fmla="*/ 132829 h 1360756"/>
                <a:gd name="connsiteX50" fmla="*/ 217148 w 396316"/>
                <a:gd name="connsiteY50" fmla="*/ 148202 h 1360756"/>
                <a:gd name="connsiteX51" fmla="*/ 215014 w 396316"/>
                <a:gd name="connsiteY51" fmla="*/ 163216 h 1360756"/>
                <a:gd name="connsiteX52" fmla="*/ 210819 w 396316"/>
                <a:gd name="connsiteY52" fmla="*/ 177476 h 1360756"/>
                <a:gd name="connsiteX53" fmla="*/ 204649 w 396316"/>
                <a:gd name="connsiteY53" fmla="*/ 190595 h 1360756"/>
                <a:gd name="connsiteX54" fmla="*/ 192480 w 396316"/>
                <a:gd name="connsiteY54" fmla="*/ 213957 h 1360756"/>
                <a:gd name="connsiteX55" fmla="*/ 180943 w 396316"/>
                <a:gd name="connsiteY55" fmla="*/ 241431 h 1360756"/>
                <a:gd name="connsiteX56" fmla="*/ 161271 w 396316"/>
                <a:gd name="connsiteY56" fmla="*/ 311640 h 1360756"/>
                <a:gd name="connsiteX57" fmla="*/ 151682 w 396316"/>
                <a:gd name="connsiteY57" fmla="*/ 385226 h 1360756"/>
                <a:gd name="connsiteX58" fmla="*/ 151281 w 396316"/>
                <a:gd name="connsiteY58" fmla="*/ 416450 h 1360756"/>
                <a:gd name="connsiteX59" fmla="*/ 153002 w 396316"/>
                <a:gd name="connsiteY59" fmla="*/ 444494 h 1360756"/>
                <a:gd name="connsiteX60" fmla="*/ 153382 w 396316"/>
                <a:gd name="connsiteY60" fmla="*/ 459803 h 1360756"/>
                <a:gd name="connsiteX61" fmla="*/ 151607 w 396316"/>
                <a:gd name="connsiteY61" fmla="*/ 474842 h 1360756"/>
                <a:gd name="connsiteX62" fmla="*/ 147754 w 396316"/>
                <a:gd name="connsiteY62" fmla="*/ 489214 h 1360756"/>
                <a:gd name="connsiteX63" fmla="*/ 141899 w 396316"/>
                <a:gd name="connsiteY63" fmla="*/ 502531 h 1360756"/>
                <a:gd name="connsiteX64" fmla="*/ 130300 w 396316"/>
                <a:gd name="connsiteY64" fmla="*/ 526301 h 1360756"/>
                <a:gd name="connsiteX65" fmla="*/ 119429 w 396316"/>
                <a:gd name="connsiteY65" fmla="*/ 554139 h 1360756"/>
                <a:gd name="connsiteX66" fmla="*/ 109680 w 396316"/>
                <a:gd name="connsiteY66" fmla="*/ 586758 h 1360756"/>
                <a:gd name="connsiteX67" fmla="*/ 101449 w 396316"/>
                <a:gd name="connsiteY67" fmla="*/ 624880 h 1360756"/>
                <a:gd name="connsiteX68" fmla="*/ 95922 w 396316"/>
                <a:gd name="connsiteY68" fmla="*/ 663796 h 1360756"/>
                <a:gd name="connsiteX69" fmla="*/ 93627 w 396316"/>
                <a:gd name="connsiteY69" fmla="*/ 698615 h 1360756"/>
                <a:gd name="connsiteX70" fmla="*/ 93970 w 396316"/>
                <a:gd name="connsiteY70" fmla="*/ 729759 h 1360756"/>
                <a:gd name="connsiteX71" fmla="*/ 96355 w 396316"/>
                <a:gd name="connsiteY71" fmla="*/ 757660 h 1360756"/>
                <a:gd name="connsiteX72" fmla="*/ 97105 w 396316"/>
                <a:gd name="connsiteY72" fmla="*/ 772918 h 1360756"/>
                <a:gd name="connsiteX73" fmla="*/ 95692 w 396316"/>
                <a:gd name="connsiteY73" fmla="*/ 787986 h 1360756"/>
                <a:gd name="connsiteX74" fmla="*/ 92188 w 396316"/>
                <a:gd name="connsiteY74" fmla="*/ 802466 h 1360756"/>
                <a:gd name="connsiteX75" fmla="*/ 86660 w 396316"/>
                <a:gd name="connsiteY75" fmla="*/ 815968 h 1360756"/>
                <a:gd name="connsiteX76" fmla="*/ 75630 w 396316"/>
                <a:gd name="connsiteY76" fmla="*/ 840114 h 1360756"/>
                <a:gd name="connsiteX77" fmla="*/ 65425 w 396316"/>
                <a:gd name="connsiteY77" fmla="*/ 868288 h 1360756"/>
                <a:gd name="connsiteX78" fmla="*/ 56457 w 396316"/>
                <a:gd name="connsiteY78" fmla="*/ 901192 h 1360756"/>
                <a:gd name="connsiteX79" fmla="*/ 49136 w 396316"/>
                <a:gd name="connsiteY79" fmla="*/ 939522 h 1360756"/>
                <a:gd name="connsiteX80" fmla="*/ 44538 w 396316"/>
                <a:gd name="connsiteY80" fmla="*/ 978543 h 1360756"/>
                <a:gd name="connsiteX81" fmla="*/ 43071 w 396316"/>
                <a:gd name="connsiteY81" fmla="*/ 1013355 h 1360756"/>
                <a:gd name="connsiteX82" fmla="*/ 44152 w 396316"/>
                <a:gd name="connsiteY82" fmla="*/ 1044400 h 1360756"/>
                <a:gd name="connsiteX83" fmla="*/ 47198 w 396316"/>
                <a:gd name="connsiteY83" fmla="*/ 1072130 h 1360756"/>
                <a:gd name="connsiteX84" fmla="*/ 48308 w 396316"/>
                <a:gd name="connsiteY84" fmla="*/ 1087319 h 1360756"/>
                <a:gd name="connsiteX85" fmla="*/ 47258 w 396316"/>
                <a:gd name="connsiteY85" fmla="*/ 1102401 h 1360756"/>
                <a:gd name="connsiteX86" fmla="*/ 44099 w 396316"/>
                <a:gd name="connsiteY86" fmla="*/ 1116978 h 1360756"/>
                <a:gd name="connsiteX87" fmla="*/ 38890 w 396316"/>
                <a:gd name="connsiteY87" fmla="*/ 1130659 h 1360756"/>
                <a:gd name="connsiteX88" fmla="*/ 28435 w 396316"/>
                <a:gd name="connsiteY88" fmla="*/ 1155163 h 1360756"/>
                <a:gd name="connsiteX89" fmla="*/ 18907 w 396316"/>
                <a:gd name="connsiteY89" fmla="*/ 1183657 h 1360756"/>
                <a:gd name="connsiteX90" fmla="*/ 10725 w 396316"/>
                <a:gd name="connsiteY90" fmla="*/ 1216824 h 1360756"/>
                <a:gd name="connsiteX91" fmla="*/ 4314 w 396316"/>
                <a:gd name="connsiteY91" fmla="*/ 1255345 h 1360756"/>
                <a:gd name="connsiteX92" fmla="*/ 643 w 396316"/>
                <a:gd name="connsiteY92" fmla="*/ 1294449 h 1360756"/>
                <a:gd name="connsiteX93" fmla="*/ 0 w 396316"/>
                <a:gd name="connsiteY93" fmla="*/ 1329231 h 1360756"/>
                <a:gd name="connsiteX94" fmla="*/ 1814 w 396316"/>
                <a:gd name="connsiteY94" fmla="*/ 1360158 h 136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96316" h="1360756">
                  <a:moveTo>
                    <a:pt x="1895" y="1360756"/>
                  </a:moveTo>
                  <a:lnTo>
                    <a:pt x="179155" y="1230107"/>
                  </a:lnTo>
                  <a:lnTo>
                    <a:pt x="179823" y="1204153"/>
                  </a:lnTo>
                  <a:lnTo>
                    <a:pt x="178378" y="1173715"/>
                  </a:lnTo>
                  <a:lnTo>
                    <a:pt x="175128" y="1146478"/>
                  </a:lnTo>
                  <a:lnTo>
                    <a:pt x="173950" y="1131536"/>
                  </a:lnTo>
                  <a:lnTo>
                    <a:pt x="174966" y="1116691"/>
                  </a:lnTo>
                  <a:lnTo>
                    <a:pt x="178122" y="1102354"/>
                  </a:lnTo>
                  <a:lnTo>
                    <a:pt x="183359" y="1088934"/>
                  </a:lnTo>
                  <a:lnTo>
                    <a:pt x="193932" y="1064996"/>
                  </a:lnTo>
                  <a:lnTo>
                    <a:pt x="203713" y="1037221"/>
                  </a:lnTo>
                  <a:lnTo>
                    <a:pt x="212347" y="1004914"/>
                  </a:lnTo>
                  <a:lnTo>
                    <a:pt x="219475" y="967371"/>
                  </a:lnTo>
                  <a:lnTo>
                    <a:pt x="224102" y="929167"/>
                  </a:lnTo>
                  <a:lnTo>
                    <a:pt x="225786" y="895028"/>
                  </a:lnTo>
                  <a:lnTo>
                    <a:pt x="225064" y="864486"/>
                  </a:lnTo>
                  <a:lnTo>
                    <a:pt x="222460" y="837076"/>
                  </a:lnTo>
                  <a:lnTo>
                    <a:pt x="221643" y="822065"/>
                  </a:lnTo>
                  <a:lnTo>
                    <a:pt x="223019" y="807234"/>
                  </a:lnTo>
                  <a:lnTo>
                    <a:pt x="226515" y="792993"/>
                  </a:lnTo>
                  <a:lnTo>
                    <a:pt x="232061" y="779753"/>
                  </a:lnTo>
                  <a:lnTo>
                    <a:pt x="243207" y="756187"/>
                  </a:lnTo>
                  <a:lnTo>
                    <a:pt x="253644" y="728742"/>
                  </a:lnTo>
                  <a:lnTo>
                    <a:pt x="276608" y="621274"/>
                  </a:lnTo>
                  <a:lnTo>
                    <a:pt x="279113" y="556509"/>
                  </a:lnTo>
                  <a:lnTo>
                    <a:pt x="277169" y="528954"/>
                  </a:lnTo>
                  <a:lnTo>
                    <a:pt x="276706" y="513865"/>
                  </a:lnTo>
                  <a:lnTo>
                    <a:pt x="278432" y="499051"/>
                  </a:lnTo>
                  <a:lnTo>
                    <a:pt x="282268" y="484919"/>
                  </a:lnTo>
                  <a:lnTo>
                    <a:pt x="288136" y="471875"/>
                  </a:lnTo>
                  <a:lnTo>
                    <a:pt x="299838" y="448689"/>
                  </a:lnTo>
                  <a:lnTo>
                    <a:pt x="310926" y="421596"/>
                  </a:lnTo>
                  <a:lnTo>
                    <a:pt x="336445" y="314779"/>
                  </a:lnTo>
                  <a:lnTo>
                    <a:pt x="340514" y="249962"/>
                  </a:lnTo>
                  <a:lnTo>
                    <a:pt x="339232" y="222259"/>
                  </a:lnTo>
                  <a:lnTo>
                    <a:pt x="339139" y="207132"/>
                  </a:lnTo>
                  <a:lnTo>
                    <a:pt x="341223" y="192357"/>
                  </a:lnTo>
                  <a:lnTo>
                    <a:pt x="345396" y="178344"/>
                  </a:lnTo>
                  <a:lnTo>
                    <a:pt x="351569" y="165499"/>
                  </a:lnTo>
                  <a:lnTo>
                    <a:pt x="363830" y="142708"/>
                  </a:lnTo>
                  <a:lnTo>
                    <a:pt x="375575" y="115974"/>
                  </a:lnTo>
                  <a:lnTo>
                    <a:pt x="386505" y="84557"/>
                  </a:lnTo>
                  <a:lnTo>
                    <a:pt x="396316" y="47704"/>
                  </a:lnTo>
                  <a:lnTo>
                    <a:pt x="328398" y="21526"/>
                  </a:lnTo>
                  <a:lnTo>
                    <a:pt x="296558" y="26054"/>
                  </a:lnTo>
                  <a:lnTo>
                    <a:pt x="228600" y="0"/>
                  </a:lnTo>
                  <a:lnTo>
                    <a:pt x="221212" y="38637"/>
                  </a:lnTo>
                  <a:lnTo>
                    <a:pt x="217251" y="73398"/>
                  </a:lnTo>
                  <a:lnTo>
                    <a:pt x="216101" y="104666"/>
                  </a:lnTo>
                  <a:lnTo>
                    <a:pt x="217137" y="132829"/>
                  </a:lnTo>
                  <a:lnTo>
                    <a:pt x="217148" y="148202"/>
                  </a:lnTo>
                  <a:lnTo>
                    <a:pt x="215014" y="163216"/>
                  </a:lnTo>
                  <a:lnTo>
                    <a:pt x="210819" y="177476"/>
                  </a:lnTo>
                  <a:lnTo>
                    <a:pt x="204649" y="190595"/>
                  </a:lnTo>
                  <a:lnTo>
                    <a:pt x="192480" y="213957"/>
                  </a:lnTo>
                  <a:lnTo>
                    <a:pt x="180943" y="241431"/>
                  </a:lnTo>
                  <a:lnTo>
                    <a:pt x="161271" y="311640"/>
                  </a:lnTo>
                  <a:lnTo>
                    <a:pt x="151682" y="385226"/>
                  </a:lnTo>
                  <a:lnTo>
                    <a:pt x="151281" y="416450"/>
                  </a:lnTo>
                  <a:lnTo>
                    <a:pt x="153002" y="444494"/>
                  </a:lnTo>
                  <a:lnTo>
                    <a:pt x="153382" y="459803"/>
                  </a:lnTo>
                  <a:lnTo>
                    <a:pt x="151607" y="474842"/>
                  </a:lnTo>
                  <a:lnTo>
                    <a:pt x="147754" y="489214"/>
                  </a:lnTo>
                  <a:lnTo>
                    <a:pt x="141899" y="502531"/>
                  </a:lnTo>
                  <a:lnTo>
                    <a:pt x="130300" y="526301"/>
                  </a:lnTo>
                  <a:lnTo>
                    <a:pt x="119429" y="554139"/>
                  </a:lnTo>
                  <a:lnTo>
                    <a:pt x="109680" y="586758"/>
                  </a:lnTo>
                  <a:lnTo>
                    <a:pt x="101449" y="624880"/>
                  </a:lnTo>
                  <a:lnTo>
                    <a:pt x="95922" y="663796"/>
                  </a:lnTo>
                  <a:lnTo>
                    <a:pt x="93627" y="698615"/>
                  </a:lnTo>
                  <a:lnTo>
                    <a:pt x="93970" y="729759"/>
                  </a:lnTo>
                  <a:lnTo>
                    <a:pt x="96355" y="757660"/>
                  </a:lnTo>
                  <a:lnTo>
                    <a:pt x="97105" y="772918"/>
                  </a:lnTo>
                  <a:lnTo>
                    <a:pt x="95692" y="787986"/>
                  </a:lnTo>
                  <a:lnTo>
                    <a:pt x="92188" y="802466"/>
                  </a:lnTo>
                  <a:lnTo>
                    <a:pt x="86660" y="815968"/>
                  </a:lnTo>
                  <a:lnTo>
                    <a:pt x="75630" y="840114"/>
                  </a:lnTo>
                  <a:lnTo>
                    <a:pt x="65425" y="868288"/>
                  </a:lnTo>
                  <a:lnTo>
                    <a:pt x="56457" y="901192"/>
                  </a:lnTo>
                  <a:lnTo>
                    <a:pt x="49136" y="939522"/>
                  </a:lnTo>
                  <a:lnTo>
                    <a:pt x="44538" y="978543"/>
                  </a:lnTo>
                  <a:lnTo>
                    <a:pt x="43071" y="1013355"/>
                  </a:lnTo>
                  <a:lnTo>
                    <a:pt x="44152" y="1044400"/>
                  </a:lnTo>
                  <a:lnTo>
                    <a:pt x="47198" y="1072130"/>
                  </a:lnTo>
                  <a:lnTo>
                    <a:pt x="48308" y="1087319"/>
                  </a:lnTo>
                  <a:lnTo>
                    <a:pt x="47258" y="1102401"/>
                  </a:lnTo>
                  <a:lnTo>
                    <a:pt x="44099" y="1116978"/>
                  </a:lnTo>
                  <a:lnTo>
                    <a:pt x="38890" y="1130659"/>
                  </a:lnTo>
                  <a:lnTo>
                    <a:pt x="28435" y="1155163"/>
                  </a:lnTo>
                  <a:lnTo>
                    <a:pt x="18907" y="1183657"/>
                  </a:lnTo>
                  <a:lnTo>
                    <a:pt x="10725" y="1216824"/>
                  </a:lnTo>
                  <a:lnTo>
                    <a:pt x="4314" y="1255345"/>
                  </a:lnTo>
                  <a:lnTo>
                    <a:pt x="643" y="1294449"/>
                  </a:lnTo>
                  <a:lnTo>
                    <a:pt x="0" y="1329231"/>
                  </a:lnTo>
                  <a:lnTo>
                    <a:pt x="1814" y="1360158"/>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Shape 9">
              <a:extLst>
                <a:ext uri="{FF2B5EF4-FFF2-40B4-BE49-F238E27FC236}">
                  <a16:creationId xmlns:a16="http://schemas.microsoft.com/office/drawing/2014/main" id="{2E6F44A2-6B15-B24B-7A42-D22EFBA47386}"/>
                </a:ext>
              </a:extLst>
            </p:cNvPr>
            <p:cNvSpPr/>
            <p:nvPr/>
          </p:nvSpPr>
          <p:spPr>
            <a:xfrm rot="2178052">
              <a:off x="3337106" y="-195329"/>
              <a:ext cx="824420" cy="956250"/>
            </a:xfrm>
            <a:custGeom>
              <a:avLst/>
              <a:gdLst>
                <a:gd name="connsiteX0" fmla="*/ 7604 w 824420"/>
                <a:gd name="connsiteY0" fmla="*/ 424448 h 956250"/>
                <a:gd name="connsiteX1" fmla="*/ 585403 w 824420"/>
                <a:gd name="connsiteY1" fmla="*/ 0 h 956250"/>
                <a:gd name="connsiteX2" fmla="*/ 586429 w 824420"/>
                <a:gd name="connsiteY2" fmla="*/ 500 h 956250"/>
                <a:gd name="connsiteX3" fmla="*/ 608584 w 824420"/>
                <a:gd name="connsiteY3" fmla="*/ 15155 h 956250"/>
                <a:gd name="connsiteX4" fmla="*/ 665559 w 824420"/>
                <a:gd name="connsiteY4" fmla="*/ 46054 h 956250"/>
                <a:gd name="connsiteX5" fmla="*/ 696328 w 824420"/>
                <a:gd name="connsiteY5" fmla="*/ 82429 h 956250"/>
                <a:gd name="connsiteX6" fmla="*/ 763602 w 824420"/>
                <a:gd name="connsiteY6" fmla="*/ 138099 h 956250"/>
                <a:gd name="connsiteX7" fmla="*/ 824357 w 824420"/>
                <a:gd name="connsiteY7" fmla="*/ 267302 h 956250"/>
                <a:gd name="connsiteX8" fmla="*/ 779769 w 824420"/>
                <a:gd name="connsiteY8" fmla="*/ 384118 h 956250"/>
                <a:gd name="connsiteX9" fmla="*/ 654868 w 824420"/>
                <a:gd name="connsiteY9" fmla="*/ 444613 h 956250"/>
                <a:gd name="connsiteX10" fmla="*/ 515887 w 824420"/>
                <a:gd name="connsiteY10" fmla="*/ 439007 h 956250"/>
                <a:gd name="connsiteX11" fmla="*/ 445614 w 824420"/>
                <a:gd name="connsiteY11" fmla="*/ 369386 h 956250"/>
                <a:gd name="connsiteX12" fmla="*/ 419669 w 824420"/>
                <a:gd name="connsiteY12" fmla="*/ 372254 h 956250"/>
                <a:gd name="connsiteX13" fmla="*/ 385510 w 824420"/>
                <a:gd name="connsiteY13" fmla="*/ 384640 h 956250"/>
                <a:gd name="connsiteX14" fmla="*/ 386684 w 824420"/>
                <a:gd name="connsiteY14" fmla="*/ 412280 h 956250"/>
                <a:gd name="connsiteX15" fmla="*/ 364520 w 824420"/>
                <a:gd name="connsiteY15" fmla="*/ 460128 h 956250"/>
                <a:gd name="connsiteX16" fmla="*/ 412759 w 824420"/>
                <a:gd name="connsiteY16" fmla="*/ 484769 h 956250"/>
                <a:gd name="connsiteX17" fmla="*/ 429838 w 824420"/>
                <a:gd name="connsiteY17" fmla="*/ 512017 h 956250"/>
                <a:gd name="connsiteX18" fmla="*/ 564256 w 824420"/>
                <a:gd name="connsiteY18" fmla="*/ 492070 h 956250"/>
                <a:gd name="connsiteX19" fmla="*/ 722143 w 824420"/>
                <a:gd name="connsiteY19" fmla="*/ 609930 h 956250"/>
                <a:gd name="connsiteX20" fmla="*/ 716666 w 824420"/>
                <a:gd name="connsiteY20" fmla="*/ 832612 h 956250"/>
                <a:gd name="connsiteX21" fmla="*/ 606889 w 824420"/>
                <a:gd name="connsiteY21" fmla="*/ 916574 h 956250"/>
                <a:gd name="connsiteX22" fmla="*/ 531662 w 824420"/>
                <a:gd name="connsiteY22" fmla="*/ 956078 h 956250"/>
                <a:gd name="connsiteX23" fmla="*/ 402720 w 824420"/>
                <a:gd name="connsiteY23" fmla="*/ 906535 h 956250"/>
                <a:gd name="connsiteX24" fmla="*/ 314586 w 824420"/>
                <a:gd name="connsiteY24" fmla="*/ 887761 h 956250"/>
                <a:gd name="connsiteX25" fmla="*/ 267781 w 824420"/>
                <a:gd name="connsiteY25" fmla="*/ 855819 h 956250"/>
                <a:gd name="connsiteX26" fmla="*/ 174822 w 824420"/>
                <a:gd name="connsiteY26" fmla="*/ 807189 h 956250"/>
                <a:gd name="connsiteX27" fmla="*/ 107027 w 824420"/>
                <a:gd name="connsiteY27" fmla="*/ 730919 h 956250"/>
                <a:gd name="connsiteX28" fmla="*/ 37014 w 824420"/>
                <a:gd name="connsiteY28" fmla="*/ 609148 h 956250"/>
                <a:gd name="connsiteX29" fmla="*/ 2204 w 824420"/>
                <a:gd name="connsiteY29" fmla="*/ 524012 h 956250"/>
                <a:gd name="connsiteX30" fmla="*/ 14590 w 824420"/>
                <a:gd name="connsiteY30" fmla="*/ 457520 h 956250"/>
                <a:gd name="connsiteX31" fmla="*/ 9880 w 824420"/>
                <a:gd name="connsiteY31" fmla="*/ 431771 h 9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420" h="956250">
                  <a:moveTo>
                    <a:pt x="7604" y="424448"/>
                  </a:moveTo>
                  <a:lnTo>
                    <a:pt x="585403" y="0"/>
                  </a:lnTo>
                  <a:lnTo>
                    <a:pt x="586429" y="500"/>
                  </a:lnTo>
                  <a:cubicBezTo>
                    <a:pt x="595172" y="5792"/>
                    <a:pt x="602457" y="11015"/>
                    <a:pt x="608584" y="15155"/>
                  </a:cubicBezTo>
                  <a:cubicBezTo>
                    <a:pt x="633095" y="31712"/>
                    <a:pt x="642091" y="30278"/>
                    <a:pt x="665559" y="46054"/>
                  </a:cubicBezTo>
                  <a:cubicBezTo>
                    <a:pt x="674033" y="51790"/>
                    <a:pt x="688375" y="63002"/>
                    <a:pt x="696328" y="82429"/>
                  </a:cubicBezTo>
                  <a:cubicBezTo>
                    <a:pt x="704281" y="101855"/>
                    <a:pt x="723446" y="108634"/>
                    <a:pt x="763602" y="138099"/>
                  </a:cubicBezTo>
                  <a:cubicBezTo>
                    <a:pt x="803627" y="167564"/>
                    <a:pt x="824357" y="267302"/>
                    <a:pt x="824357" y="267302"/>
                  </a:cubicBezTo>
                  <a:cubicBezTo>
                    <a:pt x="824357" y="267302"/>
                    <a:pt x="828008" y="308631"/>
                    <a:pt x="779769" y="384118"/>
                  </a:cubicBezTo>
                  <a:cubicBezTo>
                    <a:pt x="731660" y="459607"/>
                    <a:pt x="683681" y="448785"/>
                    <a:pt x="654868" y="444613"/>
                  </a:cubicBezTo>
                  <a:cubicBezTo>
                    <a:pt x="626055" y="440441"/>
                    <a:pt x="591505" y="465604"/>
                    <a:pt x="515887" y="439007"/>
                  </a:cubicBezTo>
                  <a:cubicBezTo>
                    <a:pt x="440269" y="412410"/>
                    <a:pt x="445614" y="369386"/>
                    <a:pt x="445614" y="369386"/>
                  </a:cubicBezTo>
                  <a:cubicBezTo>
                    <a:pt x="445614" y="369386"/>
                    <a:pt x="445614" y="369386"/>
                    <a:pt x="419669" y="372254"/>
                  </a:cubicBezTo>
                  <a:cubicBezTo>
                    <a:pt x="405589" y="373819"/>
                    <a:pt x="393724" y="379686"/>
                    <a:pt x="385510" y="384640"/>
                  </a:cubicBezTo>
                  <a:cubicBezTo>
                    <a:pt x="387205" y="394418"/>
                    <a:pt x="387988" y="403936"/>
                    <a:pt x="386684" y="412280"/>
                  </a:cubicBezTo>
                  <a:cubicBezTo>
                    <a:pt x="381730" y="444091"/>
                    <a:pt x="364520" y="460128"/>
                    <a:pt x="364520" y="460128"/>
                  </a:cubicBezTo>
                  <a:cubicBezTo>
                    <a:pt x="364520" y="460128"/>
                    <a:pt x="400634" y="468863"/>
                    <a:pt x="412759" y="484769"/>
                  </a:cubicBezTo>
                  <a:cubicBezTo>
                    <a:pt x="425015" y="500675"/>
                    <a:pt x="429838" y="512017"/>
                    <a:pt x="429838" y="512017"/>
                  </a:cubicBezTo>
                  <a:cubicBezTo>
                    <a:pt x="429838" y="512017"/>
                    <a:pt x="483423" y="465212"/>
                    <a:pt x="564256" y="492070"/>
                  </a:cubicBezTo>
                  <a:cubicBezTo>
                    <a:pt x="645090" y="518928"/>
                    <a:pt x="694894" y="545784"/>
                    <a:pt x="722143" y="609930"/>
                  </a:cubicBezTo>
                  <a:cubicBezTo>
                    <a:pt x="749391" y="674205"/>
                    <a:pt x="770512" y="753865"/>
                    <a:pt x="716666" y="832612"/>
                  </a:cubicBezTo>
                  <a:cubicBezTo>
                    <a:pt x="662561" y="911489"/>
                    <a:pt x="634790" y="907969"/>
                    <a:pt x="606889" y="916574"/>
                  </a:cubicBezTo>
                  <a:cubicBezTo>
                    <a:pt x="578990" y="925179"/>
                    <a:pt x="573383" y="958946"/>
                    <a:pt x="531662" y="956078"/>
                  </a:cubicBezTo>
                  <a:cubicBezTo>
                    <a:pt x="489942" y="953209"/>
                    <a:pt x="421625" y="918530"/>
                    <a:pt x="402720" y="906535"/>
                  </a:cubicBezTo>
                  <a:cubicBezTo>
                    <a:pt x="383815" y="894541"/>
                    <a:pt x="341313" y="900277"/>
                    <a:pt x="314586" y="887761"/>
                  </a:cubicBezTo>
                  <a:cubicBezTo>
                    <a:pt x="287859" y="875375"/>
                    <a:pt x="267781" y="855819"/>
                    <a:pt x="267781" y="855819"/>
                  </a:cubicBezTo>
                  <a:cubicBezTo>
                    <a:pt x="267781" y="855819"/>
                    <a:pt x="211980" y="853993"/>
                    <a:pt x="174822" y="807189"/>
                  </a:cubicBezTo>
                  <a:cubicBezTo>
                    <a:pt x="137665" y="760514"/>
                    <a:pt x="136491" y="752952"/>
                    <a:pt x="107027" y="730919"/>
                  </a:cubicBezTo>
                  <a:cubicBezTo>
                    <a:pt x="77561" y="708755"/>
                    <a:pt x="47836" y="648260"/>
                    <a:pt x="37014" y="609148"/>
                  </a:cubicBezTo>
                  <a:cubicBezTo>
                    <a:pt x="26193" y="570035"/>
                    <a:pt x="9896" y="567688"/>
                    <a:pt x="2204" y="524012"/>
                  </a:cubicBezTo>
                  <a:cubicBezTo>
                    <a:pt x="-5619" y="480336"/>
                    <a:pt x="9505" y="474469"/>
                    <a:pt x="14590" y="457520"/>
                  </a:cubicBezTo>
                  <a:cubicBezTo>
                    <a:pt x="17132" y="449046"/>
                    <a:pt x="13253" y="440213"/>
                    <a:pt x="9880" y="431771"/>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1" name="Freeform: Shape 38">
              <a:extLst>
                <a:ext uri="{FF2B5EF4-FFF2-40B4-BE49-F238E27FC236}">
                  <a16:creationId xmlns:a16="http://schemas.microsoft.com/office/drawing/2014/main" id="{C24C5743-D77D-9F17-CCAB-CA6B8802C737}"/>
                </a:ext>
              </a:extLst>
            </p:cNvPr>
            <p:cNvSpPr/>
            <p:nvPr/>
          </p:nvSpPr>
          <p:spPr>
            <a:xfrm rot="2178052">
              <a:off x="4018658" y="599530"/>
              <a:ext cx="811337" cy="846750"/>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2" name="Freeform: Shape 11">
              <a:extLst>
                <a:ext uri="{FF2B5EF4-FFF2-40B4-BE49-F238E27FC236}">
                  <a16:creationId xmlns:a16="http://schemas.microsoft.com/office/drawing/2014/main" id="{F9A62C99-371E-46F8-6EDE-DC8C92A912A7}"/>
                </a:ext>
              </a:extLst>
            </p:cNvPr>
            <p:cNvSpPr/>
            <p:nvPr/>
          </p:nvSpPr>
          <p:spPr>
            <a:xfrm rot="2178052">
              <a:off x="4437060" y="-235812"/>
              <a:ext cx="896460" cy="864605"/>
            </a:xfrm>
            <a:custGeom>
              <a:avLst/>
              <a:gdLst>
                <a:gd name="connsiteX0" fmla="*/ 0 w 896460"/>
                <a:gd name="connsiteY0" fmla="*/ 517761 h 864605"/>
                <a:gd name="connsiteX1" fmla="*/ 341535 w 896460"/>
                <a:gd name="connsiteY1" fmla="*/ 266871 h 864605"/>
                <a:gd name="connsiteX2" fmla="*/ 348784 w 896460"/>
                <a:gd name="connsiteY2" fmla="*/ 284936 h 864605"/>
                <a:gd name="connsiteX3" fmla="*/ 355026 w 896460"/>
                <a:gd name="connsiteY3" fmla="*/ 317547 h 864605"/>
                <a:gd name="connsiteX4" fmla="*/ 346682 w 896460"/>
                <a:gd name="connsiteY4" fmla="*/ 367220 h 864605"/>
                <a:gd name="connsiteX5" fmla="*/ 347464 w 896460"/>
                <a:gd name="connsiteY5" fmla="*/ 368654 h 864605"/>
                <a:gd name="connsiteX6" fmla="*/ 364283 w 896460"/>
                <a:gd name="connsiteY6" fmla="*/ 417285 h 864605"/>
                <a:gd name="connsiteX7" fmla="*/ 406394 w 896460"/>
                <a:gd name="connsiteY7" fmla="*/ 437623 h 864605"/>
                <a:gd name="connsiteX8" fmla="*/ 428819 w 896460"/>
                <a:gd name="connsiteY8" fmla="*/ 460048 h 864605"/>
                <a:gd name="connsiteX9" fmla="*/ 449418 w 896460"/>
                <a:gd name="connsiteY9" fmla="*/ 454442 h 864605"/>
                <a:gd name="connsiteX10" fmla="*/ 463368 w 896460"/>
                <a:gd name="connsiteY10" fmla="*/ 442578 h 864605"/>
                <a:gd name="connsiteX11" fmla="*/ 503785 w 896460"/>
                <a:gd name="connsiteY11" fmla="*/ 420674 h 864605"/>
                <a:gd name="connsiteX12" fmla="*/ 481360 w 896460"/>
                <a:gd name="connsiteY12" fmla="*/ 378041 h 864605"/>
                <a:gd name="connsiteX13" fmla="*/ 471451 w 896460"/>
                <a:gd name="connsiteY13" fmla="*/ 303727 h 864605"/>
                <a:gd name="connsiteX14" fmla="*/ 403917 w 896460"/>
                <a:gd name="connsiteY14" fmla="*/ 228892 h 864605"/>
                <a:gd name="connsiteX15" fmla="*/ 401186 w 896460"/>
                <a:gd name="connsiteY15" fmla="*/ 223052 h 864605"/>
                <a:gd name="connsiteX16" fmla="*/ 704824 w 896460"/>
                <a:gd name="connsiteY16" fmla="*/ 0 h 864605"/>
                <a:gd name="connsiteX17" fmla="*/ 720340 w 896460"/>
                <a:gd name="connsiteY17" fmla="*/ 17422 h 864605"/>
                <a:gd name="connsiteX18" fmla="*/ 738593 w 896460"/>
                <a:gd name="connsiteY18" fmla="*/ 29155 h 864605"/>
                <a:gd name="connsiteX19" fmla="*/ 828553 w 896460"/>
                <a:gd name="connsiteY19" fmla="*/ 103861 h 864605"/>
                <a:gd name="connsiteX20" fmla="*/ 862320 w 896460"/>
                <a:gd name="connsiteY20" fmla="*/ 222112 h 864605"/>
                <a:gd name="connsiteX21" fmla="*/ 864015 w 896460"/>
                <a:gd name="connsiteY21" fmla="*/ 246493 h 864605"/>
                <a:gd name="connsiteX22" fmla="*/ 867927 w 896460"/>
                <a:gd name="connsiteY22" fmla="*/ 265136 h 864605"/>
                <a:gd name="connsiteX23" fmla="*/ 878617 w 896460"/>
                <a:gd name="connsiteY23" fmla="*/ 314418 h 864605"/>
                <a:gd name="connsiteX24" fmla="*/ 895957 w 896460"/>
                <a:gd name="connsiteY24" fmla="*/ 402943 h 864605"/>
                <a:gd name="connsiteX25" fmla="*/ 871838 w 896460"/>
                <a:gd name="connsiteY25" fmla="*/ 465394 h 864605"/>
                <a:gd name="connsiteX26" fmla="*/ 843285 w 896460"/>
                <a:gd name="connsiteY26" fmla="*/ 575692 h 864605"/>
                <a:gd name="connsiteX27" fmla="*/ 836114 w 896460"/>
                <a:gd name="connsiteY27" fmla="*/ 586122 h 864605"/>
                <a:gd name="connsiteX28" fmla="*/ 818513 w 896460"/>
                <a:gd name="connsiteY28" fmla="*/ 616499 h 864605"/>
                <a:gd name="connsiteX29" fmla="*/ 808214 w 896460"/>
                <a:gd name="connsiteY29" fmla="*/ 639836 h 864605"/>
                <a:gd name="connsiteX30" fmla="*/ 728163 w 896460"/>
                <a:gd name="connsiteY30" fmla="*/ 712717 h 864605"/>
                <a:gd name="connsiteX31" fmla="*/ 671449 w 896460"/>
                <a:gd name="connsiteY31" fmla="*/ 762520 h 864605"/>
                <a:gd name="connsiteX32" fmla="*/ 590615 w 896460"/>
                <a:gd name="connsiteY32" fmla="*/ 787422 h 864605"/>
                <a:gd name="connsiteX33" fmla="*/ 541594 w 896460"/>
                <a:gd name="connsiteY33" fmla="*/ 814932 h 864605"/>
                <a:gd name="connsiteX34" fmla="*/ 509522 w 896460"/>
                <a:gd name="connsiteY34" fmla="*/ 818322 h 864605"/>
                <a:gd name="connsiteX35" fmla="*/ 426472 w 896460"/>
                <a:gd name="connsiteY35" fmla="*/ 862518 h 864605"/>
                <a:gd name="connsiteX36" fmla="*/ 407307 w 896460"/>
                <a:gd name="connsiteY36" fmla="*/ 864605 h 864605"/>
                <a:gd name="connsiteX37" fmla="*/ 341075 w 896460"/>
                <a:gd name="connsiteY37" fmla="*/ 843354 h 864605"/>
                <a:gd name="connsiteX38" fmla="*/ 326212 w 896460"/>
                <a:gd name="connsiteY38" fmla="*/ 836052 h 864605"/>
                <a:gd name="connsiteX39" fmla="*/ 288534 w 896460"/>
                <a:gd name="connsiteY39" fmla="*/ 832011 h 864605"/>
                <a:gd name="connsiteX40" fmla="*/ 207440 w 896460"/>
                <a:gd name="connsiteY40" fmla="*/ 819233 h 864605"/>
                <a:gd name="connsiteX41" fmla="*/ 78497 w 896460"/>
                <a:gd name="connsiteY41" fmla="*/ 701374 h 864605"/>
                <a:gd name="connsiteX42" fmla="*/ 46164 w 896460"/>
                <a:gd name="connsiteY42" fmla="*/ 607373 h 864605"/>
                <a:gd name="connsiteX43" fmla="*/ 43034 w 896460"/>
                <a:gd name="connsiteY43" fmla="*/ 582471 h 864605"/>
                <a:gd name="connsiteX44" fmla="*/ 40688 w 896460"/>
                <a:gd name="connsiteY44" fmla="*/ 579473 h 864605"/>
                <a:gd name="connsiteX45" fmla="*/ 8697 w 896460"/>
                <a:gd name="connsiteY45" fmla="*/ 534656 h 86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96460" h="864605">
                  <a:moveTo>
                    <a:pt x="0" y="517761"/>
                  </a:moveTo>
                  <a:lnTo>
                    <a:pt x="341535" y="266871"/>
                  </a:lnTo>
                  <a:lnTo>
                    <a:pt x="348784" y="284936"/>
                  </a:lnTo>
                  <a:cubicBezTo>
                    <a:pt x="351277" y="293297"/>
                    <a:pt x="353592" y="304053"/>
                    <a:pt x="355026" y="317547"/>
                  </a:cubicBezTo>
                  <a:cubicBezTo>
                    <a:pt x="357633" y="343231"/>
                    <a:pt x="352157" y="358615"/>
                    <a:pt x="346682" y="367220"/>
                  </a:cubicBezTo>
                  <a:lnTo>
                    <a:pt x="347464" y="368654"/>
                  </a:lnTo>
                  <a:cubicBezTo>
                    <a:pt x="352418" y="377650"/>
                    <a:pt x="359589" y="400858"/>
                    <a:pt x="364283" y="417285"/>
                  </a:cubicBezTo>
                  <a:cubicBezTo>
                    <a:pt x="378233" y="420805"/>
                    <a:pt x="394790" y="426933"/>
                    <a:pt x="406394" y="437623"/>
                  </a:cubicBezTo>
                  <a:cubicBezTo>
                    <a:pt x="416694" y="447010"/>
                    <a:pt x="423995" y="454702"/>
                    <a:pt x="428819" y="460048"/>
                  </a:cubicBezTo>
                  <a:cubicBezTo>
                    <a:pt x="434816" y="457571"/>
                    <a:pt x="442508" y="454963"/>
                    <a:pt x="449418" y="454442"/>
                  </a:cubicBezTo>
                  <a:cubicBezTo>
                    <a:pt x="454503" y="449879"/>
                    <a:pt x="459066" y="445967"/>
                    <a:pt x="463368" y="442578"/>
                  </a:cubicBezTo>
                  <a:cubicBezTo>
                    <a:pt x="473407" y="434625"/>
                    <a:pt x="486966" y="427193"/>
                    <a:pt x="503785" y="420674"/>
                  </a:cubicBezTo>
                  <a:cubicBezTo>
                    <a:pt x="495571" y="407116"/>
                    <a:pt x="486966" y="391471"/>
                    <a:pt x="481360" y="378041"/>
                  </a:cubicBezTo>
                  <a:cubicBezTo>
                    <a:pt x="471191" y="353922"/>
                    <a:pt x="471060" y="318720"/>
                    <a:pt x="471451" y="303727"/>
                  </a:cubicBezTo>
                  <a:cubicBezTo>
                    <a:pt x="458805" y="293558"/>
                    <a:pt x="427775" y="266831"/>
                    <a:pt x="403917" y="228892"/>
                  </a:cubicBezTo>
                  <a:lnTo>
                    <a:pt x="401186" y="223052"/>
                  </a:lnTo>
                  <a:lnTo>
                    <a:pt x="704824" y="0"/>
                  </a:lnTo>
                  <a:lnTo>
                    <a:pt x="720340" y="17422"/>
                  </a:lnTo>
                  <a:cubicBezTo>
                    <a:pt x="722036" y="19638"/>
                    <a:pt x="731162" y="24853"/>
                    <a:pt x="738593" y="29155"/>
                  </a:cubicBezTo>
                  <a:cubicBezTo>
                    <a:pt x="762061" y="42584"/>
                    <a:pt x="797523" y="63053"/>
                    <a:pt x="828553" y="103861"/>
                  </a:cubicBezTo>
                  <a:cubicBezTo>
                    <a:pt x="854106" y="137367"/>
                    <a:pt x="856844" y="165659"/>
                    <a:pt x="862320" y="222112"/>
                  </a:cubicBezTo>
                  <a:cubicBezTo>
                    <a:pt x="863363" y="232803"/>
                    <a:pt x="863754" y="240495"/>
                    <a:pt x="864015" y="246493"/>
                  </a:cubicBezTo>
                  <a:cubicBezTo>
                    <a:pt x="864537" y="258356"/>
                    <a:pt x="864797" y="260051"/>
                    <a:pt x="867927" y="265136"/>
                  </a:cubicBezTo>
                  <a:cubicBezTo>
                    <a:pt x="878095" y="281303"/>
                    <a:pt x="878748" y="305422"/>
                    <a:pt x="878617" y="314418"/>
                  </a:cubicBezTo>
                  <a:cubicBezTo>
                    <a:pt x="883572" y="325630"/>
                    <a:pt x="899477" y="365656"/>
                    <a:pt x="895957" y="402943"/>
                  </a:cubicBezTo>
                  <a:cubicBezTo>
                    <a:pt x="892698" y="436319"/>
                    <a:pt x="878878" y="456919"/>
                    <a:pt x="871838" y="465394"/>
                  </a:cubicBezTo>
                  <a:cubicBezTo>
                    <a:pt x="871447" y="482864"/>
                    <a:pt x="868057" y="539577"/>
                    <a:pt x="843285" y="575692"/>
                  </a:cubicBezTo>
                  <a:lnTo>
                    <a:pt x="836114" y="586122"/>
                  </a:lnTo>
                  <a:cubicBezTo>
                    <a:pt x="823859" y="603984"/>
                    <a:pt x="823859" y="603984"/>
                    <a:pt x="818513" y="616499"/>
                  </a:cubicBezTo>
                  <a:cubicBezTo>
                    <a:pt x="816297" y="621715"/>
                    <a:pt x="813168" y="628885"/>
                    <a:pt x="808214" y="639836"/>
                  </a:cubicBezTo>
                  <a:cubicBezTo>
                    <a:pt x="789049" y="682208"/>
                    <a:pt x="741201" y="706720"/>
                    <a:pt x="728163" y="712717"/>
                  </a:cubicBezTo>
                  <a:cubicBezTo>
                    <a:pt x="722035" y="720279"/>
                    <a:pt x="703913" y="740748"/>
                    <a:pt x="671449" y="762520"/>
                  </a:cubicBezTo>
                  <a:cubicBezTo>
                    <a:pt x="638203" y="785075"/>
                    <a:pt x="603262" y="787422"/>
                    <a:pt x="590615" y="787422"/>
                  </a:cubicBezTo>
                  <a:cubicBezTo>
                    <a:pt x="581750" y="793550"/>
                    <a:pt x="558152" y="809065"/>
                    <a:pt x="541594" y="814932"/>
                  </a:cubicBezTo>
                  <a:cubicBezTo>
                    <a:pt x="529469" y="819103"/>
                    <a:pt x="518257" y="818843"/>
                    <a:pt x="509522" y="818322"/>
                  </a:cubicBezTo>
                  <a:cubicBezTo>
                    <a:pt x="482143" y="842180"/>
                    <a:pt x="447723" y="857825"/>
                    <a:pt x="426472" y="862518"/>
                  </a:cubicBezTo>
                  <a:cubicBezTo>
                    <a:pt x="419953" y="863953"/>
                    <a:pt x="413434" y="864605"/>
                    <a:pt x="407307" y="864605"/>
                  </a:cubicBezTo>
                  <a:cubicBezTo>
                    <a:pt x="379928" y="864605"/>
                    <a:pt x="357112" y="852219"/>
                    <a:pt x="341075" y="843354"/>
                  </a:cubicBezTo>
                  <a:cubicBezTo>
                    <a:pt x="335208" y="840094"/>
                    <a:pt x="329603" y="837095"/>
                    <a:pt x="326212" y="836052"/>
                  </a:cubicBezTo>
                  <a:cubicBezTo>
                    <a:pt x="318520" y="833706"/>
                    <a:pt x="303918" y="832924"/>
                    <a:pt x="288534" y="832011"/>
                  </a:cubicBezTo>
                  <a:cubicBezTo>
                    <a:pt x="263371" y="830577"/>
                    <a:pt x="232080" y="828882"/>
                    <a:pt x="207440" y="819233"/>
                  </a:cubicBezTo>
                  <a:cubicBezTo>
                    <a:pt x="159591" y="800590"/>
                    <a:pt x="121130" y="765389"/>
                    <a:pt x="78497" y="701374"/>
                  </a:cubicBezTo>
                  <a:cubicBezTo>
                    <a:pt x="51248" y="660306"/>
                    <a:pt x="48641" y="633448"/>
                    <a:pt x="46164" y="607373"/>
                  </a:cubicBezTo>
                  <a:cubicBezTo>
                    <a:pt x="45382" y="598898"/>
                    <a:pt x="44599" y="590945"/>
                    <a:pt x="43034" y="582471"/>
                  </a:cubicBezTo>
                  <a:lnTo>
                    <a:pt x="40688" y="579473"/>
                  </a:lnTo>
                  <a:cubicBezTo>
                    <a:pt x="32344" y="569042"/>
                    <a:pt x="20382" y="554147"/>
                    <a:pt x="8697" y="534656"/>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4" name="Freeform 804">
              <a:extLst>
                <a:ext uri="{FF2B5EF4-FFF2-40B4-BE49-F238E27FC236}">
                  <a16:creationId xmlns:a16="http://schemas.microsoft.com/office/drawing/2014/main" id="{5BAE82E4-69B4-1E88-95F2-365D6F87DB78}"/>
                </a:ext>
              </a:extLst>
            </p:cNvPr>
            <p:cNvSpPr/>
            <p:nvPr userDrawn="1"/>
          </p:nvSpPr>
          <p:spPr>
            <a:xfrm rot="2446866">
              <a:off x="1632046" y="308867"/>
              <a:ext cx="1252773" cy="581372"/>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grp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5" name="Freeform: Shape 14">
              <a:extLst>
                <a:ext uri="{FF2B5EF4-FFF2-40B4-BE49-F238E27FC236}">
                  <a16:creationId xmlns:a16="http://schemas.microsoft.com/office/drawing/2014/main" id="{C29090E9-F80A-7C5D-B4DB-2A115CA4B361}"/>
                </a:ext>
              </a:extLst>
            </p:cNvPr>
            <p:cNvSpPr/>
            <p:nvPr userDrawn="1"/>
          </p:nvSpPr>
          <p:spPr>
            <a:xfrm rot="7810828">
              <a:off x="6121498" y="55300"/>
              <a:ext cx="830632" cy="452973"/>
            </a:xfrm>
            <a:custGeom>
              <a:avLst/>
              <a:gdLst>
                <a:gd name="connsiteX0" fmla="*/ 237757 w 830632"/>
                <a:gd name="connsiteY0" fmla="*/ 452973 h 452973"/>
                <a:gd name="connsiteX1" fmla="*/ 0 w 830632"/>
                <a:gd name="connsiteY1" fmla="*/ 171431 h 452973"/>
                <a:gd name="connsiteX2" fmla="*/ 400522 w 830632"/>
                <a:gd name="connsiteY2" fmla="*/ 91373 h 452973"/>
                <a:gd name="connsiteX3" fmla="*/ 447867 w 830632"/>
                <a:gd name="connsiteY3" fmla="*/ 116410 h 452973"/>
                <a:gd name="connsiteX4" fmla="*/ 483002 w 830632"/>
                <a:gd name="connsiteY4" fmla="*/ 208749 h 452973"/>
                <a:gd name="connsiteX5" fmla="*/ 599632 w 830632"/>
                <a:gd name="connsiteY5" fmla="*/ 95808 h 452973"/>
                <a:gd name="connsiteX6" fmla="*/ 751650 w 830632"/>
                <a:gd name="connsiteY6" fmla="*/ 0 h 452973"/>
                <a:gd name="connsiteX7" fmla="*/ 830632 w 830632"/>
                <a:gd name="connsiteY7" fmla="*/ 355627 h 452973"/>
                <a:gd name="connsiteX8" fmla="*/ 650793 w 830632"/>
                <a:gd name="connsiteY8" fmla="*/ 326186 h 452973"/>
                <a:gd name="connsiteX9" fmla="*/ 496038 w 830632"/>
                <a:gd name="connsiteY9" fmla="*/ 267513 h 452973"/>
                <a:gd name="connsiteX10" fmla="*/ 503162 w 830632"/>
                <a:gd name="connsiteY10" fmla="*/ 365431 h 452973"/>
                <a:gd name="connsiteX11" fmla="*/ 470474 w 830632"/>
                <a:gd name="connsiteY11" fmla="*/ 406457 h 45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632" h="452973">
                  <a:moveTo>
                    <a:pt x="237757" y="452973"/>
                  </a:moveTo>
                  <a:lnTo>
                    <a:pt x="0" y="171431"/>
                  </a:lnTo>
                  <a:lnTo>
                    <a:pt x="400522" y="91373"/>
                  </a:lnTo>
                  <a:cubicBezTo>
                    <a:pt x="420682" y="87361"/>
                    <a:pt x="440872" y="98040"/>
                    <a:pt x="447867" y="116410"/>
                  </a:cubicBezTo>
                  <a:lnTo>
                    <a:pt x="483002" y="208749"/>
                  </a:lnTo>
                  <a:cubicBezTo>
                    <a:pt x="538742" y="197376"/>
                    <a:pt x="553463" y="147632"/>
                    <a:pt x="599632" y="95808"/>
                  </a:cubicBezTo>
                  <a:cubicBezTo>
                    <a:pt x="631524" y="60030"/>
                    <a:pt x="682556" y="13815"/>
                    <a:pt x="751650" y="0"/>
                  </a:cubicBezTo>
                  <a:cubicBezTo>
                    <a:pt x="836197" y="82746"/>
                    <a:pt x="747517" y="282505"/>
                    <a:pt x="830632" y="355627"/>
                  </a:cubicBezTo>
                  <a:cubicBezTo>
                    <a:pt x="761539" y="369444"/>
                    <a:pt x="695180" y="346699"/>
                    <a:pt x="650793" y="326186"/>
                  </a:cubicBezTo>
                  <a:cubicBezTo>
                    <a:pt x="586500" y="296471"/>
                    <a:pt x="551874" y="256592"/>
                    <a:pt x="496038" y="267513"/>
                  </a:cubicBezTo>
                  <a:lnTo>
                    <a:pt x="503162" y="365431"/>
                  </a:lnTo>
                  <a:cubicBezTo>
                    <a:pt x="504592" y="384918"/>
                    <a:pt x="490634" y="402415"/>
                    <a:pt x="470474" y="406457"/>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6" name="Freeform: Shape 15">
              <a:extLst>
                <a:ext uri="{FF2B5EF4-FFF2-40B4-BE49-F238E27FC236}">
                  <a16:creationId xmlns:a16="http://schemas.microsoft.com/office/drawing/2014/main" id="{04ED7998-F59B-ADF7-1E0C-B06BF58AE8D6}"/>
                </a:ext>
              </a:extLst>
            </p:cNvPr>
            <p:cNvSpPr>
              <a:spLocks noChangeAspect="1"/>
            </p:cNvSpPr>
            <p:nvPr userDrawn="1"/>
          </p:nvSpPr>
          <p:spPr>
            <a:xfrm rot="4135771">
              <a:off x="-471911" y="1291003"/>
              <a:ext cx="1445127" cy="1038064"/>
            </a:xfrm>
            <a:custGeom>
              <a:avLst/>
              <a:gdLst>
                <a:gd name="connsiteX0" fmla="*/ 27721 w 1445127"/>
                <a:gd name="connsiteY0" fmla="*/ 428157 h 1038064"/>
                <a:gd name="connsiteX1" fmla="*/ 81240 w 1445127"/>
                <a:gd name="connsiteY1" fmla="*/ 403987 h 1038064"/>
                <a:gd name="connsiteX2" fmla="*/ 72608 w 1445127"/>
                <a:gd name="connsiteY2" fmla="*/ 347014 h 1038064"/>
                <a:gd name="connsiteX3" fmla="*/ 127854 w 1445127"/>
                <a:gd name="connsiteY3" fmla="*/ 329750 h 1038064"/>
                <a:gd name="connsiteX4" fmla="*/ 127854 w 1445127"/>
                <a:gd name="connsiteY4" fmla="*/ 271051 h 1038064"/>
                <a:gd name="connsiteX5" fmla="*/ 184827 w 1445127"/>
                <a:gd name="connsiteY5" fmla="*/ 260692 h 1038064"/>
                <a:gd name="connsiteX6" fmla="*/ 191732 w 1445127"/>
                <a:gd name="connsiteY6" fmla="*/ 201994 h 1038064"/>
                <a:gd name="connsiteX7" fmla="*/ 250432 w 1445127"/>
                <a:gd name="connsiteY7" fmla="*/ 198540 h 1038064"/>
                <a:gd name="connsiteX8" fmla="*/ 264243 w 1445127"/>
                <a:gd name="connsiteY8" fmla="*/ 141568 h 1038064"/>
                <a:gd name="connsiteX9" fmla="*/ 322942 w 1445127"/>
                <a:gd name="connsiteY9" fmla="*/ 146747 h 1038064"/>
                <a:gd name="connsiteX10" fmla="*/ 343659 w 1445127"/>
                <a:gd name="connsiteY10" fmla="*/ 91502 h 1038064"/>
                <a:gd name="connsiteX11" fmla="*/ 400631 w 1445127"/>
                <a:gd name="connsiteY11" fmla="*/ 103586 h 1038064"/>
                <a:gd name="connsiteX12" fmla="*/ 428255 w 1445127"/>
                <a:gd name="connsiteY12" fmla="*/ 51793 h 1038064"/>
                <a:gd name="connsiteX13" fmla="*/ 481774 w 1445127"/>
                <a:gd name="connsiteY13" fmla="*/ 70784 h 1038064"/>
                <a:gd name="connsiteX14" fmla="*/ 516303 w 1445127"/>
                <a:gd name="connsiteY14" fmla="*/ 22444 h 1038064"/>
                <a:gd name="connsiteX15" fmla="*/ 568096 w 1445127"/>
                <a:gd name="connsiteY15" fmla="*/ 48340 h 1038064"/>
                <a:gd name="connsiteX16" fmla="*/ 607804 w 1445127"/>
                <a:gd name="connsiteY16" fmla="*/ 5179 h 1038064"/>
                <a:gd name="connsiteX17" fmla="*/ 656145 w 1445127"/>
                <a:gd name="connsiteY17" fmla="*/ 37982 h 1038064"/>
                <a:gd name="connsiteX18" fmla="*/ 701032 w 1445127"/>
                <a:gd name="connsiteY18" fmla="*/ 0 h 1038064"/>
                <a:gd name="connsiteX19" fmla="*/ 745919 w 1445127"/>
                <a:gd name="connsiteY19" fmla="*/ 37982 h 1038064"/>
                <a:gd name="connsiteX20" fmla="*/ 794259 w 1445127"/>
                <a:gd name="connsiteY20" fmla="*/ 5179 h 1038064"/>
                <a:gd name="connsiteX21" fmla="*/ 833968 w 1445127"/>
                <a:gd name="connsiteY21" fmla="*/ 48340 h 1038064"/>
                <a:gd name="connsiteX22" fmla="*/ 885761 w 1445127"/>
                <a:gd name="connsiteY22" fmla="*/ 22444 h 1038064"/>
                <a:gd name="connsiteX23" fmla="*/ 920290 w 1445127"/>
                <a:gd name="connsiteY23" fmla="*/ 70784 h 1038064"/>
                <a:gd name="connsiteX24" fmla="*/ 975536 w 1445127"/>
                <a:gd name="connsiteY24" fmla="*/ 51793 h 1038064"/>
                <a:gd name="connsiteX25" fmla="*/ 1003158 w 1445127"/>
                <a:gd name="connsiteY25" fmla="*/ 103586 h 1038064"/>
                <a:gd name="connsiteX26" fmla="*/ 1060131 w 1445127"/>
                <a:gd name="connsiteY26" fmla="*/ 91502 h 1038064"/>
                <a:gd name="connsiteX27" fmla="*/ 1080848 w 1445127"/>
                <a:gd name="connsiteY27" fmla="*/ 146747 h 1038064"/>
                <a:gd name="connsiteX28" fmla="*/ 1139547 w 1445127"/>
                <a:gd name="connsiteY28" fmla="*/ 141568 h 1038064"/>
                <a:gd name="connsiteX29" fmla="*/ 1153358 w 1445127"/>
                <a:gd name="connsiteY29" fmla="*/ 198540 h 1038064"/>
                <a:gd name="connsiteX30" fmla="*/ 1212058 w 1445127"/>
                <a:gd name="connsiteY30" fmla="*/ 201994 h 1038064"/>
                <a:gd name="connsiteX31" fmla="*/ 1218963 w 1445127"/>
                <a:gd name="connsiteY31" fmla="*/ 260692 h 1038064"/>
                <a:gd name="connsiteX32" fmla="*/ 1275936 w 1445127"/>
                <a:gd name="connsiteY32" fmla="*/ 271051 h 1038064"/>
                <a:gd name="connsiteX33" fmla="*/ 1275936 w 1445127"/>
                <a:gd name="connsiteY33" fmla="*/ 329750 h 1038064"/>
                <a:gd name="connsiteX34" fmla="*/ 1331182 w 1445127"/>
                <a:gd name="connsiteY34" fmla="*/ 347014 h 1038064"/>
                <a:gd name="connsiteX35" fmla="*/ 1322550 w 1445127"/>
                <a:gd name="connsiteY35" fmla="*/ 403987 h 1038064"/>
                <a:gd name="connsiteX36" fmla="*/ 1376070 w 1445127"/>
                <a:gd name="connsiteY36" fmla="*/ 428157 h 1038064"/>
                <a:gd name="connsiteX37" fmla="*/ 1360531 w 1445127"/>
                <a:gd name="connsiteY37" fmla="*/ 485129 h 1038064"/>
                <a:gd name="connsiteX38" fmla="*/ 1410598 w 1445127"/>
                <a:gd name="connsiteY38" fmla="*/ 516205 h 1038064"/>
                <a:gd name="connsiteX39" fmla="*/ 1388155 w 1445127"/>
                <a:gd name="connsiteY39" fmla="*/ 569725 h 1038064"/>
                <a:gd name="connsiteX40" fmla="*/ 1433042 w 1445127"/>
                <a:gd name="connsiteY40" fmla="*/ 605980 h 1038064"/>
                <a:gd name="connsiteX41" fmla="*/ 1403692 w 1445127"/>
                <a:gd name="connsiteY41" fmla="*/ 656047 h 1038064"/>
                <a:gd name="connsiteX42" fmla="*/ 1443401 w 1445127"/>
                <a:gd name="connsiteY42" fmla="*/ 697481 h 1038064"/>
                <a:gd name="connsiteX43" fmla="*/ 1408872 w 1445127"/>
                <a:gd name="connsiteY43" fmla="*/ 744095 h 1038064"/>
                <a:gd name="connsiteX44" fmla="*/ 1445127 w 1445127"/>
                <a:gd name="connsiteY44" fmla="*/ 792436 h 1038064"/>
                <a:gd name="connsiteX45" fmla="*/ 1405418 w 1445127"/>
                <a:gd name="connsiteY45" fmla="*/ 833870 h 1038064"/>
                <a:gd name="connsiteX46" fmla="*/ 1434768 w 1445127"/>
                <a:gd name="connsiteY46" fmla="*/ 883937 h 1038064"/>
                <a:gd name="connsiteX47" fmla="*/ 1389881 w 1445127"/>
                <a:gd name="connsiteY47" fmla="*/ 920191 h 1038064"/>
                <a:gd name="connsiteX48" fmla="*/ 1412324 w 1445127"/>
                <a:gd name="connsiteY48" fmla="*/ 973711 h 1038064"/>
                <a:gd name="connsiteX49" fmla="*/ 1362257 w 1445127"/>
                <a:gd name="connsiteY49" fmla="*/ 1004787 h 1038064"/>
                <a:gd name="connsiteX50" fmla="*/ 1370674 w 1445127"/>
                <a:gd name="connsiteY50" fmla="*/ 1033921 h 1038064"/>
                <a:gd name="connsiteX51" fmla="*/ 1372538 w 1445127"/>
                <a:gd name="connsiteY51" fmla="*/ 1038064 h 1038064"/>
                <a:gd name="connsiteX52" fmla="*/ 0 w 1445127"/>
                <a:gd name="connsiteY52" fmla="*/ 509258 h 1038064"/>
                <a:gd name="connsiteX53" fmla="*/ 2472 w 1445127"/>
                <a:gd name="connsiteY53" fmla="*/ 506737 h 1038064"/>
                <a:gd name="connsiteX54" fmla="*/ 43259 w 1445127"/>
                <a:gd name="connsiteY54" fmla="*/ 485130 h 1038064"/>
                <a:gd name="connsiteX55" fmla="*/ 27721 w 1445127"/>
                <a:gd name="connsiteY55" fmla="*/ 428157 h 10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5127" h="1038064">
                  <a:moveTo>
                    <a:pt x="27721" y="428157"/>
                  </a:moveTo>
                  <a:cubicBezTo>
                    <a:pt x="34627" y="414345"/>
                    <a:pt x="74335" y="417798"/>
                    <a:pt x="81240" y="403987"/>
                  </a:cubicBezTo>
                  <a:cubicBezTo>
                    <a:pt x="88146" y="391902"/>
                    <a:pt x="63976" y="359099"/>
                    <a:pt x="72608" y="347014"/>
                  </a:cubicBezTo>
                  <a:cubicBezTo>
                    <a:pt x="79514" y="334929"/>
                    <a:pt x="119222" y="341834"/>
                    <a:pt x="127854" y="329750"/>
                  </a:cubicBezTo>
                  <a:cubicBezTo>
                    <a:pt x="138213" y="317665"/>
                    <a:pt x="117495" y="283136"/>
                    <a:pt x="127854" y="271051"/>
                  </a:cubicBezTo>
                  <a:cubicBezTo>
                    <a:pt x="136486" y="258966"/>
                    <a:pt x="174469" y="271051"/>
                    <a:pt x="184827" y="260692"/>
                  </a:cubicBezTo>
                  <a:cubicBezTo>
                    <a:pt x="195186" y="248607"/>
                    <a:pt x="181374" y="212352"/>
                    <a:pt x="191732" y="201994"/>
                  </a:cubicBezTo>
                  <a:cubicBezTo>
                    <a:pt x="203818" y="191634"/>
                    <a:pt x="238346" y="208899"/>
                    <a:pt x="250432" y="198540"/>
                  </a:cubicBezTo>
                  <a:cubicBezTo>
                    <a:pt x="262517" y="188182"/>
                    <a:pt x="252158" y="150200"/>
                    <a:pt x="264243" y="141568"/>
                  </a:cubicBezTo>
                  <a:cubicBezTo>
                    <a:pt x="276328" y="132936"/>
                    <a:pt x="310857" y="155379"/>
                    <a:pt x="322942" y="146747"/>
                  </a:cubicBezTo>
                  <a:cubicBezTo>
                    <a:pt x="335027" y="138115"/>
                    <a:pt x="329848" y="98407"/>
                    <a:pt x="343659" y="91502"/>
                  </a:cubicBezTo>
                  <a:cubicBezTo>
                    <a:pt x="357470" y="84596"/>
                    <a:pt x="386820" y="110492"/>
                    <a:pt x="400631" y="103586"/>
                  </a:cubicBezTo>
                  <a:cubicBezTo>
                    <a:pt x="414443" y="96681"/>
                    <a:pt x="414443" y="56972"/>
                    <a:pt x="428255" y="51793"/>
                  </a:cubicBezTo>
                  <a:cubicBezTo>
                    <a:pt x="442066" y="46614"/>
                    <a:pt x="467962" y="75963"/>
                    <a:pt x="481774" y="70784"/>
                  </a:cubicBezTo>
                  <a:cubicBezTo>
                    <a:pt x="497312" y="65605"/>
                    <a:pt x="500765" y="25896"/>
                    <a:pt x="516303" y="22444"/>
                  </a:cubicBezTo>
                  <a:cubicBezTo>
                    <a:pt x="530114" y="18991"/>
                    <a:pt x="552558" y="51793"/>
                    <a:pt x="568096" y="48340"/>
                  </a:cubicBezTo>
                  <a:cubicBezTo>
                    <a:pt x="583634" y="44887"/>
                    <a:pt x="592266" y="6906"/>
                    <a:pt x="607804" y="5179"/>
                  </a:cubicBezTo>
                  <a:cubicBezTo>
                    <a:pt x="621616" y="3453"/>
                    <a:pt x="640606" y="39708"/>
                    <a:pt x="656145" y="37982"/>
                  </a:cubicBezTo>
                  <a:cubicBezTo>
                    <a:pt x="671682" y="36255"/>
                    <a:pt x="685494" y="0"/>
                    <a:pt x="701032" y="0"/>
                  </a:cubicBezTo>
                  <a:cubicBezTo>
                    <a:pt x="716570" y="0"/>
                    <a:pt x="730381" y="36255"/>
                    <a:pt x="745919" y="37982"/>
                  </a:cubicBezTo>
                  <a:cubicBezTo>
                    <a:pt x="761458" y="37982"/>
                    <a:pt x="778722" y="3453"/>
                    <a:pt x="794259" y="5179"/>
                  </a:cubicBezTo>
                  <a:cubicBezTo>
                    <a:pt x="809798" y="6906"/>
                    <a:pt x="818429" y="44887"/>
                    <a:pt x="833968" y="48340"/>
                  </a:cubicBezTo>
                  <a:cubicBezTo>
                    <a:pt x="847779" y="50067"/>
                    <a:pt x="871950" y="18991"/>
                    <a:pt x="885761" y="22444"/>
                  </a:cubicBezTo>
                  <a:cubicBezTo>
                    <a:pt x="901299" y="27623"/>
                    <a:pt x="906478" y="65605"/>
                    <a:pt x="920290" y="70784"/>
                  </a:cubicBezTo>
                  <a:cubicBezTo>
                    <a:pt x="934101" y="75963"/>
                    <a:pt x="961724" y="46614"/>
                    <a:pt x="975536" y="51793"/>
                  </a:cubicBezTo>
                  <a:cubicBezTo>
                    <a:pt x="989347" y="56972"/>
                    <a:pt x="989347" y="96681"/>
                    <a:pt x="1003158" y="103586"/>
                  </a:cubicBezTo>
                  <a:cubicBezTo>
                    <a:pt x="1016970" y="110492"/>
                    <a:pt x="1046319" y="84596"/>
                    <a:pt x="1060131" y="91502"/>
                  </a:cubicBezTo>
                  <a:cubicBezTo>
                    <a:pt x="1073943" y="100133"/>
                    <a:pt x="1068763" y="138115"/>
                    <a:pt x="1080848" y="146747"/>
                  </a:cubicBezTo>
                  <a:cubicBezTo>
                    <a:pt x="1092934" y="155379"/>
                    <a:pt x="1127462" y="132936"/>
                    <a:pt x="1139547" y="141568"/>
                  </a:cubicBezTo>
                  <a:cubicBezTo>
                    <a:pt x="1151632" y="150200"/>
                    <a:pt x="1141273" y="188182"/>
                    <a:pt x="1153358" y="198540"/>
                  </a:cubicBezTo>
                  <a:cubicBezTo>
                    <a:pt x="1165443" y="208899"/>
                    <a:pt x="1201699" y="191634"/>
                    <a:pt x="1212058" y="201994"/>
                  </a:cubicBezTo>
                  <a:cubicBezTo>
                    <a:pt x="1224143" y="212352"/>
                    <a:pt x="1208605" y="250334"/>
                    <a:pt x="1218963" y="260692"/>
                  </a:cubicBezTo>
                  <a:cubicBezTo>
                    <a:pt x="1229322" y="272777"/>
                    <a:pt x="1265578" y="258966"/>
                    <a:pt x="1275936" y="271051"/>
                  </a:cubicBezTo>
                  <a:cubicBezTo>
                    <a:pt x="1286294" y="283136"/>
                    <a:pt x="1267304" y="317665"/>
                    <a:pt x="1275936" y="329750"/>
                  </a:cubicBezTo>
                  <a:cubicBezTo>
                    <a:pt x="1284568" y="341834"/>
                    <a:pt x="1322550" y="334929"/>
                    <a:pt x="1331182" y="347014"/>
                  </a:cubicBezTo>
                  <a:cubicBezTo>
                    <a:pt x="1338087" y="359099"/>
                    <a:pt x="1315644" y="390175"/>
                    <a:pt x="1322550" y="403987"/>
                  </a:cubicBezTo>
                  <a:cubicBezTo>
                    <a:pt x="1329455" y="417798"/>
                    <a:pt x="1369163" y="414345"/>
                    <a:pt x="1376070" y="428157"/>
                  </a:cubicBezTo>
                  <a:cubicBezTo>
                    <a:pt x="1382975" y="441969"/>
                    <a:pt x="1355352" y="471318"/>
                    <a:pt x="1360531" y="485129"/>
                  </a:cubicBezTo>
                  <a:cubicBezTo>
                    <a:pt x="1365711" y="498941"/>
                    <a:pt x="1405418" y="502394"/>
                    <a:pt x="1410598" y="516205"/>
                  </a:cubicBezTo>
                  <a:cubicBezTo>
                    <a:pt x="1415777" y="530017"/>
                    <a:pt x="1384702" y="554187"/>
                    <a:pt x="1388155" y="569725"/>
                  </a:cubicBezTo>
                  <a:cubicBezTo>
                    <a:pt x="1391607" y="583537"/>
                    <a:pt x="1429589" y="590442"/>
                    <a:pt x="1433042" y="605980"/>
                  </a:cubicBezTo>
                  <a:cubicBezTo>
                    <a:pt x="1434768" y="619792"/>
                    <a:pt x="1401966" y="640509"/>
                    <a:pt x="1403692" y="656047"/>
                  </a:cubicBezTo>
                  <a:cubicBezTo>
                    <a:pt x="1405418" y="669859"/>
                    <a:pt x="1441674" y="681943"/>
                    <a:pt x="1443401" y="697481"/>
                  </a:cubicBezTo>
                  <a:cubicBezTo>
                    <a:pt x="1445127" y="713019"/>
                    <a:pt x="1408872" y="728557"/>
                    <a:pt x="1408872" y="744095"/>
                  </a:cubicBezTo>
                  <a:cubicBezTo>
                    <a:pt x="1408872" y="759633"/>
                    <a:pt x="1445127" y="775171"/>
                    <a:pt x="1445127" y="792436"/>
                  </a:cubicBezTo>
                  <a:cubicBezTo>
                    <a:pt x="1445127" y="806247"/>
                    <a:pt x="1407145" y="818332"/>
                    <a:pt x="1405418" y="833870"/>
                  </a:cubicBezTo>
                  <a:cubicBezTo>
                    <a:pt x="1403692" y="847682"/>
                    <a:pt x="1438221" y="868399"/>
                    <a:pt x="1434768" y="883937"/>
                  </a:cubicBezTo>
                  <a:cubicBezTo>
                    <a:pt x="1433042" y="897748"/>
                    <a:pt x="1393334" y="906380"/>
                    <a:pt x="1389881" y="920191"/>
                  </a:cubicBezTo>
                  <a:cubicBezTo>
                    <a:pt x="1386428" y="934004"/>
                    <a:pt x="1417504" y="959900"/>
                    <a:pt x="1412324" y="973711"/>
                  </a:cubicBezTo>
                  <a:cubicBezTo>
                    <a:pt x="1407145" y="989250"/>
                    <a:pt x="1367437" y="990976"/>
                    <a:pt x="1362257" y="1004787"/>
                  </a:cubicBezTo>
                  <a:cubicBezTo>
                    <a:pt x="1359668" y="1012556"/>
                    <a:pt x="1365279" y="1023347"/>
                    <a:pt x="1370674" y="1033921"/>
                  </a:cubicBezTo>
                  <a:lnTo>
                    <a:pt x="1372538" y="1038064"/>
                  </a:lnTo>
                  <a:lnTo>
                    <a:pt x="0" y="509258"/>
                  </a:lnTo>
                  <a:lnTo>
                    <a:pt x="2472" y="506737"/>
                  </a:lnTo>
                  <a:cubicBezTo>
                    <a:pt x="16067" y="499049"/>
                    <a:pt x="39374" y="495488"/>
                    <a:pt x="43259" y="485130"/>
                  </a:cubicBezTo>
                  <a:cubicBezTo>
                    <a:pt x="48438" y="469591"/>
                    <a:pt x="20815" y="441969"/>
                    <a:pt x="27721" y="428157"/>
                  </a:cubicBezTo>
                  <a:close/>
                </a:path>
              </a:pathLst>
            </a:custGeom>
            <a:grpFill/>
            <a:ln w="22151" cap="flat">
              <a:noFill/>
              <a:prstDash val="solid"/>
              <a:miter/>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a:ln>
                  <a:noFill/>
                </a:ln>
                <a:solidFill>
                  <a:srgbClr val="FFFFFF"/>
                </a:solidFill>
                <a:effectLst/>
                <a:uLnTx/>
                <a:uFillTx/>
                <a:latin typeface="TT Norms Pro" panose="02000503030000020003" pitchFamily="2" charset="0"/>
                <a:ea typeface="+mn-ea"/>
                <a:cs typeface="+mn-cs"/>
              </a:endParaRPr>
            </a:p>
          </p:txBody>
        </p:sp>
        <p:pic>
          <p:nvPicPr>
            <p:cNvPr id="18" name="Graphic 17">
              <a:extLst>
                <a:ext uri="{FF2B5EF4-FFF2-40B4-BE49-F238E27FC236}">
                  <a16:creationId xmlns:a16="http://schemas.microsoft.com/office/drawing/2014/main" id="{B5D056E7-EA13-28BF-66F7-61721977A8B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4912638">
              <a:off x="9604866" y="377227"/>
              <a:ext cx="611416" cy="679936"/>
            </a:xfrm>
            <a:prstGeom prst="rect">
              <a:avLst/>
            </a:prstGeom>
          </p:spPr>
        </p:pic>
        <p:pic>
          <p:nvPicPr>
            <p:cNvPr id="20" name="Graphic 19">
              <a:extLst>
                <a:ext uri="{FF2B5EF4-FFF2-40B4-BE49-F238E27FC236}">
                  <a16:creationId xmlns:a16="http://schemas.microsoft.com/office/drawing/2014/main" id="{0980077D-B686-868E-0790-81A467A0550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4912638">
              <a:off x="10384833" y="250098"/>
              <a:ext cx="611416" cy="679936"/>
            </a:xfrm>
            <a:prstGeom prst="rect">
              <a:avLst/>
            </a:prstGeom>
          </p:spPr>
        </p:pic>
        <p:pic>
          <p:nvPicPr>
            <p:cNvPr id="22" name="Graphic 21">
              <a:extLst>
                <a:ext uri="{FF2B5EF4-FFF2-40B4-BE49-F238E27FC236}">
                  <a16:creationId xmlns:a16="http://schemas.microsoft.com/office/drawing/2014/main" id="{D2A59851-04E3-4211-0CA5-659B462913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9912"/>
            <a:stretch>
              <a:fillRect/>
            </a:stretch>
          </p:blipFill>
          <p:spPr>
            <a:xfrm rot="14912638">
              <a:off x="10094824" y="-264909"/>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sp>
          <p:nvSpPr>
            <p:cNvPr id="24" name="Freeform: Shape 23">
              <a:extLst>
                <a:ext uri="{FF2B5EF4-FFF2-40B4-BE49-F238E27FC236}">
                  <a16:creationId xmlns:a16="http://schemas.microsoft.com/office/drawing/2014/main" id="{31F65DE8-70F2-5DAB-C11C-D6D68B038190}"/>
                </a:ext>
              </a:extLst>
            </p:cNvPr>
            <p:cNvSpPr/>
            <p:nvPr userDrawn="1"/>
          </p:nvSpPr>
          <p:spPr>
            <a:xfrm rot="19394395">
              <a:off x="302036" y="-179531"/>
              <a:ext cx="306159" cy="1283212"/>
            </a:xfrm>
            <a:custGeom>
              <a:avLst/>
              <a:gdLst>
                <a:gd name="connsiteX0" fmla="*/ 66280 w 306159"/>
                <a:gd name="connsiteY0" fmla="*/ 0 h 1283212"/>
                <a:gd name="connsiteX1" fmla="*/ 72368 w 306159"/>
                <a:gd name="connsiteY1" fmla="*/ 4547 h 1283212"/>
                <a:gd name="connsiteX2" fmla="*/ 55892 w 306159"/>
                <a:gd name="connsiteY2" fmla="*/ 30957 h 1283212"/>
                <a:gd name="connsiteX3" fmla="*/ 37819 w 306159"/>
                <a:gd name="connsiteY3" fmla="*/ 67070 h 1283212"/>
                <a:gd name="connsiteX4" fmla="*/ 28388 w 306159"/>
                <a:gd name="connsiteY4" fmla="*/ 135780 h 1283212"/>
                <a:gd name="connsiteX5" fmla="*/ 60723 w 306159"/>
                <a:gd name="connsiteY5" fmla="*/ 69090 h 1283212"/>
                <a:gd name="connsiteX6" fmla="*/ 89352 w 306159"/>
                <a:gd name="connsiteY6" fmla="*/ 31872 h 1283212"/>
                <a:gd name="connsiteX7" fmla="*/ 95581 w 306159"/>
                <a:gd name="connsiteY7" fmla="*/ 21888 h 1283212"/>
                <a:gd name="connsiteX8" fmla="*/ 144709 w 306159"/>
                <a:gd name="connsiteY8" fmla="*/ 58587 h 1283212"/>
                <a:gd name="connsiteX9" fmla="*/ 165726 w 306159"/>
                <a:gd name="connsiteY9" fmla="*/ 123486 h 1283212"/>
                <a:gd name="connsiteX10" fmla="*/ 206901 w 306159"/>
                <a:gd name="connsiteY10" fmla="*/ 304862 h 1283212"/>
                <a:gd name="connsiteX11" fmla="*/ 200838 w 306159"/>
                <a:gd name="connsiteY11" fmla="*/ 519077 h 1283212"/>
                <a:gd name="connsiteX12" fmla="*/ 236541 w 306159"/>
                <a:gd name="connsiteY12" fmla="*/ 742050 h 1283212"/>
                <a:gd name="connsiteX13" fmla="*/ 262139 w 306159"/>
                <a:gd name="connsiteY13" fmla="*/ 960307 h 1283212"/>
                <a:gd name="connsiteX14" fmla="*/ 262139 w 306159"/>
                <a:gd name="connsiteY14" fmla="*/ 963001 h 1283212"/>
                <a:gd name="connsiteX15" fmla="*/ 261465 w 306159"/>
                <a:gd name="connsiteY15" fmla="*/ 983210 h 1283212"/>
                <a:gd name="connsiteX16" fmla="*/ 254729 w 306159"/>
                <a:gd name="connsiteY16" fmla="*/ 1013523 h 1283212"/>
                <a:gd name="connsiteX17" fmla="*/ 196796 w 306159"/>
                <a:gd name="connsiteY17" fmla="*/ 1101770 h 1283212"/>
                <a:gd name="connsiteX18" fmla="*/ 148969 w 306159"/>
                <a:gd name="connsiteY18" fmla="*/ 1199446 h 1283212"/>
                <a:gd name="connsiteX19" fmla="*/ 216332 w 306159"/>
                <a:gd name="connsiteY19" fmla="*/ 1133430 h 1283212"/>
                <a:gd name="connsiteX20" fmla="*/ 252034 w 306159"/>
                <a:gd name="connsiteY20" fmla="*/ 1093686 h 1283212"/>
                <a:gd name="connsiteX21" fmla="*/ 251361 w 306159"/>
                <a:gd name="connsiteY21" fmla="*/ 1096381 h 1283212"/>
                <a:gd name="connsiteX22" fmla="*/ 250687 w 306159"/>
                <a:gd name="connsiteY22" fmla="*/ 1100422 h 1283212"/>
                <a:gd name="connsiteX23" fmla="*/ 251361 w 306159"/>
                <a:gd name="connsiteY23" fmla="*/ 1097728 h 1283212"/>
                <a:gd name="connsiteX24" fmla="*/ 302557 w 306159"/>
                <a:gd name="connsiteY24" fmla="*/ 1245253 h 1283212"/>
                <a:gd name="connsiteX25" fmla="*/ 148295 w 306159"/>
                <a:gd name="connsiteY25" fmla="*/ 1282303 h 1283212"/>
                <a:gd name="connsiteX26" fmla="*/ 128086 w 306159"/>
                <a:gd name="connsiteY26" fmla="*/ 1225044 h 1283212"/>
                <a:gd name="connsiteX27" fmla="*/ 47924 w 306159"/>
                <a:gd name="connsiteY27" fmla="*/ 972432 h 1283212"/>
                <a:gd name="connsiteX28" fmla="*/ 47250 w 306159"/>
                <a:gd name="connsiteY28" fmla="*/ 901700 h 1283212"/>
                <a:gd name="connsiteX29" fmla="*/ 53986 w 306159"/>
                <a:gd name="connsiteY29" fmla="*/ 849157 h 1283212"/>
                <a:gd name="connsiteX30" fmla="*/ 150316 w 306159"/>
                <a:gd name="connsiteY30" fmla="*/ 620796 h 1283212"/>
                <a:gd name="connsiteX31" fmla="*/ 173893 w 306159"/>
                <a:gd name="connsiteY31" fmla="*/ 563537 h 1283212"/>
                <a:gd name="connsiteX32" fmla="*/ 89689 w 306159"/>
                <a:gd name="connsiteY32" fmla="*/ 650436 h 1283212"/>
                <a:gd name="connsiteX33" fmla="*/ 58702 w 306159"/>
                <a:gd name="connsiteY33" fmla="*/ 700285 h 1283212"/>
                <a:gd name="connsiteX34" fmla="*/ 58702 w 306159"/>
                <a:gd name="connsiteY34" fmla="*/ 699611 h 1283212"/>
                <a:gd name="connsiteX35" fmla="*/ 2117 w 306159"/>
                <a:gd name="connsiteY35" fmla="*/ 369531 h 1283212"/>
                <a:gd name="connsiteX36" fmla="*/ 7043 w 306159"/>
                <a:gd name="connsiteY36" fmla="*/ 151084 h 1283212"/>
                <a:gd name="connsiteX37" fmla="*/ 690 w 306159"/>
                <a:gd name="connsiteY37" fmla="*/ 87804 h 12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6159" h="1283212">
                  <a:moveTo>
                    <a:pt x="66280" y="0"/>
                  </a:moveTo>
                  <a:lnTo>
                    <a:pt x="72368" y="4547"/>
                  </a:lnTo>
                  <a:lnTo>
                    <a:pt x="55892" y="30957"/>
                  </a:lnTo>
                  <a:cubicBezTo>
                    <a:pt x="49145" y="42145"/>
                    <a:pt x="42872" y="53766"/>
                    <a:pt x="37819" y="67070"/>
                  </a:cubicBezTo>
                  <a:cubicBezTo>
                    <a:pt x="25694" y="98057"/>
                    <a:pt x="28388" y="135780"/>
                    <a:pt x="28388" y="135780"/>
                  </a:cubicBezTo>
                  <a:cubicBezTo>
                    <a:pt x="28388" y="135780"/>
                    <a:pt x="27041" y="118939"/>
                    <a:pt x="60723" y="69090"/>
                  </a:cubicBezTo>
                  <a:cubicBezTo>
                    <a:pt x="67796" y="58312"/>
                    <a:pt x="78237" y="46355"/>
                    <a:pt x="89352" y="31872"/>
                  </a:cubicBezTo>
                  <a:lnTo>
                    <a:pt x="95581" y="21888"/>
                  </a:lnTo>
                  <a:lnTo>
                    <a:pt x="144709" y="58587"/>
                  </a:lnTo>
                  <a:lnTo>
                    <a:pt x="165726" y="123486"/>
                  </a:lnTo>
                  <a:cubicBezTo>
                    <a:pt x="184335" y="183777"/>
                    <a:pt x="202860" y="252656"/>
                    <a:pt x="206901" y="304862"/>
                  </a:cubicBezTo>
                  <a:cubicBezTo>
                    <a:pt x="214985" y="409275"/>
                    <a:pt x="210269" y="484048"/>
                    <a:pt x="200838" y="519077"/>
                  </a:cubicBezTo>
                  <a:cubicBezTo>
                    <a:pt x="191407" y="554106"/>
                    <a:pt x="212290" y="686138"/>
                    <a:pt x="236541" y="742050"/>
                  </a:cubicBezTo>
                  <a:cubicBezTo>
                    <a:pt x="252708" y="779099"/>
                    <a:pt x="262812" y="868693"/>
                    <a:pt x="262139" y="960307"/>
                  </a:cubicBezTo>
                  <a:cubicBezTo>
                    <a:pt x="262139" y="960307"/>
                    <a:pt x="262139" y="961654"/>
                    <a:pt x="262139" y="963001"/>
                  </a:cubicBezTo>
                  <a:cubicBezTo>
                    <a:pt x="261465" y="969738"/>
                    <a:pt x="261465" y="976474"/>
                    <a:pt x="261465" y="983210"/>
                  </a:cubicBezTo>
                  <a:cubicBezTo>
                    <a:pt x="260792" y="991967"/>
                    <a:pt x="258771" y="1002745"/>
                    <a:pt x="254729" y="1013523"/>
                  </a:cubicBezTo>
                  <a:cubicBezTo>
                    <a:pt x="244625" y="1041143"/>
                    <a:pt x="221047" y="1070109"/>
                    <a:pt x="196796" y="1101770"/>
                  </a:cubicBezTo>
                  <a:cubicBezTo>
                    <a:pt x="137517" y="1179911"/>
                    <a:pt x="148969" y="1199446"/>
                    <a:pt x="148969" y="1199446"/>
                  </a:cubicBezTo>
                  <a:cubicBezTo>
                    <a:pt x="148969" y="1199446"/>
                    <a:pt x="174567" y="1163744"/>
                    <a:pt x="216332" y="1133430"/>
                  </a:cubicBezTo>
                  <a:cubicBezTo>
                    <a:pt x="227784" y="1125346"/>
                    <a:pt x="239909" y="1111200"/>
                    <a:pt x="252034" y="1093686"/>
                  </a:cubicBezTo>
                  <a:cubicBezTo>
                    <a:pt x="251361" y="1095033"/>
                    <a:pt x="251361" y="1095707"/>
                    <a:pt x="251361" y="1096381"/>
                  </a:cubicBezTo>
                  <a:cubicBezTo>
                    <a:pt x="251361" y="1097728"/>
                    <a:pt x="250687" y="1099075"/>
                    <a:pt x="250687" y="1100422"/>
                  </a:cubicBezTo>
                  <a:cubicBezTo>
                    <a:pt x="251361" y="1098401"/>
                    <a:pt x="251361" y="1097728"/>
                    <a:pt x="251361" y="1097728"/>
                  </a:cubicBezTo>
                  <a:cubicBezTo>
                    <a:pt x="251361" y="1097728"/>
                    <a:pt x="322766" y="1216287"/>
                    <a:pt x="302557" y="1245253"/>
                  </a:cubicBezTo>
                  <a:cubicBezTo>
                    <a:pt x="290432" y="1262768"/>
                    <a:pt x="165136" y="1288366"/>
                    <a:pt x="148295" y="1282303"/>
                  </a:cubicBezTo>
                  <a:cubicBezTo>
                    <a:pt x="113266" y="1268831"/>
                    <a:pt x="128086" y="1225044"/>
                    <a:pt x="128086" y="1225044"/>
                  </a:cubicBezTo>
                  <a:cubicBezTo>
                    <a:pt x="128086" y="1225044"/>
                    <a:pt x="57355" y="1049226"/>
                    <a:pt x="47924" y="972432"/>
                  </a:cubicBezTo>
                  <a:cubicBezTo>
                    <a:pt x="45903" y="953570"/>
                    <a:pt x="45903" y="928646"/>
                    <a:pt x="47250" y="901700"/>
                  </a:cubicBezTo>
                  <a:cubicBezTo>
                    <a:pt x="48597" y="884860"/>
                    <a:pt x="51292" y="867346"/>
                    <a:pt x="53986" y="849157"/>
                  </a:cubicBezTo>
                  <a:cubicBezTo>
                    <a:pt x="75543" y="712410"/>
                    <a:pt x="122697" y="655825"/>
                    <a:pt x="150316" y="620796"/>
                  </a:cubicBezTo>
                  <a:cubicBezTo>
                    <a:pt x="183324" y="578357"/>
                    <a:pt x="173893" y="563537"/>
                    <a:pt x="173893" y="563537"/>
                  </a:cubicBezTo>
                  <a:cubicBezTo>
                    <a:pt x="173893" y="563537"/>
                    <a:pt x="143580" y="593177"/>
                    <a:pt x="89689" y="650436"/>
                  </a:cubicBezTo>
                  <a:cubicBezTo>
                    <a:pt x="76217" y="664582"/>
                    <a:pt x="66112" y="682096"/>
                    <a:pt x="58702" y="700285"/>
                  </a:cubicBezTo>
                  <a:cubicBezTo>
                    <a:pt x="58702" y="700285"/>
                    <a:pt x="58702" y="699611"/>
                    <a:pt x="58702" y="699611"/>
                  </a:cubicBezTo>
                  <a:cubicBezTo>
                    <a:pt x="33777" y="616754"/>
                    <a:pt x="11548" y="471923"/>
                    <a:pt x="2117" y="369531"/>
                  </a:cubicBezTo>
                  <a:cubicBezTo>
                    <a:pt x="-4956" y="292736"/>
                    <a:pt x="8053" y="220868"/>
                    <a:pt x="7043" y="151084"/>
                  </a:cubicBezTo>
                  <a:lnTo>
                    <a:pt x="690" y="87804"/>
                  </a:ln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26" name="Freeform: Shape 25">
              <a:extLst>
                <a:ext uri="{FF2B5EF4-FFF2-40B4-BE49-F238E27FC236}">
                  <a16:creationId xmlns:a16="http://schemas.microsoft.com/office/drawing/2014/main" id="{82FDBC58-2EE3-47BE-D1AD-4035C0158B87}"/>
                </a:ext>
              </a:extLst>
            </p:cNvPr>
            <p:cNvSpPr/>
            <p:nvPr userDrawn="1"/>
          </p:nvSpPr>
          <p:spPr>
            <a:xfrm rot="19394395">
              <a:off x="694905" y="-54825"/>
              <a:ext cx="354168" cy="638032"/>
            </a:xfrm>
            <a:custGeom>
              <a:avLst/>
              <a:gdLst>
                <a:gd name="connsiteX0" fmla="*/ 191474 w 354168"/>
                <a:gd name="connsiteY0" fmla="*/ 0 h 638032"/>
                <a:gd name="connsiteX1" fmla="*/ 354168 w 354168"/>
                <a:gd name="connsiteY1" fmla="*/ 121534 h 638032"/>
                <a:gd name="connsiteX2" fmla="*/ 353651 w 354168"/>
                <a:gd name="connsiteY2" fmla="*/ 124462 h 638032"/>
                <a:gd name="connsiteX3" fmla="*/ 335326 w 354168"/>
                <a:gd name="connsiteY3" fmla="*/ 187320 h 638032"/>
                <a:gd name="connsiteX4" fmla="*/ 234955 w 354168"/>
                <a:gd name="connsiteY4" fmla="*/ 397494 h 638032"/>
                <a:gd name="connsiteX5" fmla="*/ 216766 w 354168"/>
                <a:gd name="connsiteY5" fmla="*/ 560513 h 638032"/>
                <a:gd name="connsiteX6" fmla="*/ 162876 w 354168"/>
                <a:gd name="connsiteY6" fmla="*/ 637980 h 638032"/>
                <a:gd name="connsiteX7" fmla="*/ 9961 w 354168"/>
                <a:gd name="connsiteY7" fmla="*/ 583416 h 638032"/>
                <a:gd name="connsiteX8" fmla="*/ 20065 w 354168"/>
                <a:gd name="connsiteY8" fmla="*/ 503254 h 638032"/>
                <a:gd name="connsiteX9" fmla="*/ 72609 w 354168"/>
                <a:gd name="connsiteY9" fmla="*/ 373242 h 638032"/>
                <a:gd name="connsiteX10" fmla="*/ 144688 w 354168"/>
                <a:gd name="connsiteY10" fmla="*/ 219655 h 638032"/>
                <a:gd name="connsiteX11" fmla="*/ 144688 w 354168"/>
                <a:gd name="connsiteY11" fmla="*/ 212244 h 638032"/>
                <a:gd name="connsiteX12" fmla="*/ 194537 w 354168"/>
                <a:gd name="connsiteY12" fmla="*/ 303185 h 638032"/>
                <a:gd name="connsiteX13" fmla="*/ 225524 w 354168"/>
                <a:gd name="connsiteY13" fmla="*/ 370548 h 638032"/>
                <a:gd name="connsiteX14" fmla="*/ 226871 w 354168"/>
                <a:gd name="connsiteY14" fmla="*/ 371896 h 638032"/>
                <a:gd name="connsiteX15" fmla="*/ 221482 w 354168"/>
                <a:gd name="connsiteY15" fmla="*/ 300491 h 638032"/>
                <a:gd name="connsiteX16" fmla="*/ 176348 w 354168"/>
                <a:gd name="connsiteY16" fmla="*/ 164416 h 638032"/>
                <a:gd name="connsiteX17" fmla="*/ 180390 w 354168"/>
                <a:gd name="connsiteY17" fmla="*/ 33732 h 63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68" h="638032">
                  <a:moveTo>
                    <a:pt x="191474" y="0"/>
                  </a:moveTo>
                  <a:lnTo>
                    <a:pt x="354168" y="121534"/>
                  </a:lnTo>
                  <a:lnTo>
                    <a:pt x="353651" y="124462"/>
                  </a:lnTo>
                  <a:cubicBezTo>
                    <a:pt x="349472" y="142145"/>
                    <a:pt x="343578" y="162733"/>
                    <a:pt x="335326" y="187320"/>
                  </a:cubicBezTo>
                  <a:cubicBezTo>
                    <a:pt x="317811" y="238516"/>
                    <a:pt x="286824" y="337540"/>
                    <a:pt x="234955" y="397494"/>
                  </a:cubicBezTo>
                  <a:cubicBezTo>
                    <a:pt x="234281" y="415008"/>
                    <a:pt x="232934" y="500559"/>
                    <a:pt x="216766" y="560513"/>
                  </a:cubicBezTo>
                  <a:cubicBezTo>
                    <a:pt x="199252" y="625182"/>
                    <a:pt x="188474" y="637307"/>
                    <a:pt x="162876" y="637980"/>
                  </a:cubicBezTo>
                  <a:cubicBezTo>
                    <a:pt x="129868" y="639328"/>
                    <a:pt x="30844" y="614404"/>
                    <a:pt x="9961" y="583416"/>
                  </a:cubicBezTo>
                  <a:cubicBezTo>
                    <a:pt x="-10922" y="552429"/>
                    <a:pt x="5246" y="536262"/>
                    <a:pt x="20065" y="503254"/>
                  </a:cubicBezTo>
                  <a:cubicBezTo>
                    <a:pt x="34885" y="470919"/>
                    <a:pt x="65872" y="392778"/>
                    <a:pt x="72609" y="373242"/>
                  </a:cubicBezTo>
                  <a:cubicBezTo>
                    <a:pt x="98881" y="301838"/>
                    <a:pt x="144688" y="219655"/>
                    <a:pt x="144688" y="219655"/>
                  </a:cubicBezTo>
                  <a:cubicBezTo>
                    <a:pt x="144688" y="216960"/>
                    <a:pt x="144688" y="214939"/>
                    <a:pt x="144688" y="212244"/>
                  </a:cubicBezTo>
                  <a:cubicBezTo>
                    <a:pt x="161528" y="249968"/>
                    <a:pt x="179717" y="279608"/>
                    <a:pt x="194537" y="303185"/>
                  </a:cubicBezTo>
                  <a:cubicBezTo>
                    <a:pt x="219461" y="342256"/>
                    <a:pt x="218788" y="359770"/>
                    <a:pt x="225524" y="370548"/>
                  </a:cubicBezTo>
                  <a:cubicBezTo>
                    <a:pt x="226197" y="371222"/>
                    <a:pt x="226197" y="371896"/>
                    <a:pt x="226871" y="371896"/>
                  </a:cubicBezTo>
                  <a:cubicBezTo>
                    <a:pt x="231586" y="374590"/>
                    <a:pt x="228218" y="336193"/>
                    <a:pt x="221482" y="300491"/>
                  </a:cubicBezTo>
                  <a:cubicBezTo>
                    <a:pt x="213399" y="261420"/>
                    <a:pt x="187126" y="229086"/>
                    <a:pt x="176348" y="164416"/>
                  </a:cubicBezTo>
                  <a:cubicBezTo>
                    <a:pt x="168939" y="119283"/>
                    <a:pt x="172307" y="73476"/>
                    <a:pt x="180390" y="33732"/>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grpSp>
    </p:spTree>
    <p:extLst>
      <p:ext uri="{BB962C8B-B14F-4D97-AF65-F5344CB8AC3E}">
        <p14:creationId xmlns:p14="http://schemas.microsoft.com/office/powerpoint/2010/main" val="3811714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ivider - Teal">
    <p:bg>
      <p:bgPr>
        <a:solidFill>
          <a:schemeClr val="accent1"/>
        </a:solidFill>
        <a:effectLst/>
      </p:bgPr>
    </p:bg>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A406F060-DC5E-CC87-3436-36AF8578F78B}"/>
              </a:ext>
            </a:extLst>
          </p:cNvPr>
          <p:cNvGrpSpPr/>
          <p:nvPr/>
        </p:nvGrpSpPr>
        <p:grpSpPr>
          <a:xfrm>
            <a:off x="-268379" y="-235812"/>
            <a:ext cx="12709513" cy="2768410"/>
            <a:chOff x="-268379" y="-235812"/>
            <a:chExt cx="12709513" cy="2768410"/>
          </a:xfrm>
          <a:solidFill>
            <a:schemeClr val="accent5">
              <a:alpha val="30222"/>
            </a:schemeClr>
          </a:solidFill>
        </p:grpSpPr>
        <p:sp>
          <p:nvSpPr>
            <p:cNvPr id="9" name="Freeform: Shape 8">
              <a:extLst>
                <a:ext uri="{FF2B5EF4-FFF2-40B4-BE49-F238E27FC236}">
                  <a16:creationId xmlns:a16="http://schemas.microsoft.com/office/drawing/2014/main" id="{14B700F3-E979-9DBF-DE71-D627E25618A6}"/>
                </a:ext>
              </a:extLst>
            </p:cNvPr>
            <p:cNvSpPr/>
            <p:nvPr/>
          </p:nvSpPr>
          <p:spPr>
            <a:xfrm rot="20481175">
              <a:off x="7455640" y="58626"/>
              <a:ext cx="1448104" cy="1389865"/>
            </a:xfrm>
            <a:custGeom>
              <a:avLst/>
              <a:gdLst>
                <a:gd name="connsiteX0" fmla="*/ 1021496 w 1448104"/>
                <a:gd name="connsiteY0" fmla="*/ 0 h 1389865"/>
                <a:gd name="connsiteX1" fmla="*/ 1301750 w 1448104"/>
                <a:gd name="connsiteY1" fmla="*/ 94572 h 1389865"/>
                <a:gd name="connsiteX2" fmla="*/ 1300912 w 1448104"/>
                <a:gd name="connsiteY2" fmla="*/ 127519 h 1389865"/>
                <a:gd name="connsiteX3" fmla="*/ 1334529 w 1448104"/>
                <a:gd name="connsiteY3" fmla="*/ 396741 h 1389865"/>
                <a:gd name="connsiteX4" fmla="*/ 1436926 w 1448104"/>
                <a:gd name="connsiteY4" fmla="*/ 833636 h 1389865"/>
                <a:gd name="connsiteX5" fmla="*/ 980174 w 1448104"/>
                <a:gd name="connsiteY5" fmla="*/ 1353687 h 1389865"/>
                <a:gd name="connsiteX6" fmla="*/ 131865 w 1448104"/>
                <a:gd name="connsiteY6" fmla="*/ 858914 h 1389865"/>
                <a:gd name="connsiteX7" fmla="*/ 367037 w 1448104"/>
                <a:gd name="connsiteY7" fmla="*/ 209611 h 1389865"/>
                <a:gd name="connsiteX8" fmla="*/ 801214 w 1448104"/>
                <a:gd name="connsiteY8" fmla="*/ 85675 h 1389865"/>
                <a:gd name="connsiteX9" fmla="*/ 980777 w 1448104"/>
                <a:gd name="connsiteY9" fmla="*/ 19983 h 138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04" h="1389865">
                  <a:moveTo>
                    <a:pt x="1021496" y="0"/>
                  </a:moveTo>
                  <a:lnTo>
                    <a:pt x="1301750" y="94572"/>
                  </a:lnTo>
                  <a:lnTo>
                    <a:pt x="1300912" y="127519"/>
                  </a:lnTo>
                  <a:cubicBezTo>
                    <a:pt x="1301839" y="205476"/>
                    <a:pt x="1311698" y="293691"/>
                    <a:pt x="1334529" y="396741"/>
                  </a:cubicBezTo>
                  <a:cubicBezTo>
                    <a:pt x="1366264" y="540643"/>
                    <a:pt x="1411834" y="686317"/>
                    <a:pt x="1436926" y="833636"/>
                  </a:cubicBezTo>
                  <a:cubicBezTo>
                    <a:pt x="1511708" y="1273220"/>
                    <a:pt x="1194682" y="1478785"/>
                    <a:pt x="980174" y="1353687"/>
                  </a:cubicBezTo>
                  <a:lnTo>
                    <a:pt x="131865" y="858914"/>
                  </a:lnTo>
                  <a:cubicBezTo>
                    <a:pt x="-82825" y="733692"/>
                    <a:pt x="-56135" y="358765"/>
                    <a:pt x="367037" y="209611"/>
                  </a:cubicBezTo>
                  <a:cubicBezTo>
                    <a:pt x="508790" y="159611"/>
                    <a:pt x="659153" y="128230"/>
                    <a:pt x="801214" y="85675"/>
                  </a:cubicBezTo>
                  <a:cubicBezTo>
                    <a:pt x="869093" y="65451"/>
                    <a:pt x="928355" y="43426"/>
                    <a:pt x="980777" y="19983"/>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9" name="Freeform: Shape 18">
              <a:extLst>
                <a:ext uri="{FF2B5EF4-FFF2-40B4-BE49-F238E27FC236}">
                  <a16:creationId xmlns:a16="http://schemas.microsoft.com/office/drawing/2014/main" id="{A5B76ED7-1C34-A9BA-506A-18267E4A372F}"/>
                </a:ext>
              </a:extLst>
            </p:cNvPr>
            <p:cNvSpPr/>
            <p:nvPr/>
          </p:nvSpPr>
          <p:spPr>
            <a:xfrm rot="3903520">
              <a:off x="11517816" y="417078"/>
              <a:ext cx="218602" cy="1274125"/>
            </a:xfrm>
            <a:custGeom>
              <a:avLst/>
              <a:gdLst>
                <a:gd name="connsiteX0" fmla="*/ 79026 w 218602"/>
                <a:gd name="connsiteY0" fmla="*/ 0 h 1274125"/>
                <a:gd name="connsiteX1" fmla="*/ 216280 w 218602"/>
                <a:gd name="connsiteY1" fmla="*/ 63832 h 1274125"/>
                <a:gd name="connsiteX2" fmla="*/ 217873 w 218602"/>
                <a:gd name="connsiteY2" fmla="*/ 80524 h 1274125"/>
                <a:gd name="connsiteX3" fmla="*/ 218602 w 218602"/>
                <a:gd name="connsiteY3" fmla="*/ 114523 h 1274125"/>
                <a:gd name="connsiteX4" fmla="*/ 216683 w 218602"/>
                <a:gd name="connsiteY4" fmla="*/ 152888 h 1274125"/>
                <a:gd name="connsiteX5" fmla="*/ 212216 w 218602"/>
                <a:gd name="connsiteY5" fmla="*/ 190901 h 1274125"/>
                <a:gd name="connsiteX6" fmla="*/ 205893 w 218602"/>
                <a:gd name="connsiteY6" fmla="*/ 223900 h 1274125"/>
                <a:gd name="connsiteX7" fmla="*/ 198113 w 218602"/>
                <a:gd name="connsiteY7" fmla="*/ 252538 h 1274125"/>
                <a:gd name="connsiteX8" fmla="*/ 189272 w 218602"/>
                <a:gd name="connsiteY8" fmla="*/ 277475 h 1274125"/>
                <a:gd name="connsiteX9" fmla="*/ 184999 w 218602"/>
                <a:gd name="connsiteY9" fmla="*/ 291369 h 1274125"/>
                <a:gd name="connsiteX10" fmla="*/ 182864 w 218602"/>
                <a:gd name="connsiteY10" fmla="*/ 305941 h 1274125"/>
                <a:gd name="connsiteX11" fmla="*/ 182890 w 218602"/>
                <a:gd name="connsiteY11" fmla="*/ 320770 h 1274125"/>
                <a:gd name="connsiteX12" fmla="*/ 185109 w 218602"/>
                <a:gd name="connsiteY12" fmla="*/ 335438 h 1274125"/>
                <a:gd name="connsiteX13" fmla="*/ 190258 w 218602"/>
                <a:gd name="connsiteY13" fmla="*/ 362044 h 1274125"/>
                <a:gd name="connsiteX14" fmla="*/ 193832 w 218602"/>
                <a:gd name="connsiteY14" fmla="*/ 392031 h 1274125"/>
                <a:gd name="connsiteX15" fmla="*/ 195350 w 218602"/>
                <a:gd name="connsiteY15" fmla="*/ 425939 h 1274125"/>
                <a:gd name="connsiteX16" fmla="*/ 194329 w 218602"/>
                <a:gd name="connsiteY16" fmla="*/ 464308 h 1274125"/>
                <a:gd name="connsiteX17" fmla="*/ 190762 w 218602"/>
                <a:gd name="connsiteY17" fmla="*/ 502424 h 1274125"/>
                <a:gd name="connsiteX18" fmla="*/ 185217 w 218602"/>
                <a:gd name="connsiteY18" fmla="*/ 535609 h 1274125"/>
                <a:gd name="connsiteX19" fmla="*/ 178106 w 218602"/>
                <a:gd name="connsiteY19" fmla="*/ 564498 h 1274125"/>
                <a:gd name="connsiteX20" fmla="*/ 169845 w 218602"/>
                <a:gd name="connsiteY20" fmla="*/ 589731 h 1274125"/>
                <a:gd name="connsiteX21" fmla="*/ 165897 w 218602"/>
                <a:gd name="connsiteY21" fmla="*/ 603763 h 1274125"/>
                <a:gd name="connsiteX22" fmla="*/ 164104 w 218602"/>
                <a:gd name="connsiteY22" fmla="*/ 618388 h 1274125"/>
                <a:gd name="connsiteX23" fmla="*/ 164477 w 218602"/>
                <a:gd name="connsiteY23" fmla="*/ 633186 h 1274125"/>
                <a:gd name="connsiteX24" fmla="*/ 167031 w 218602"/>
                <a:gd name="connsiteY24" fmla="*/ 647744 h 1274125"/>
                <a:gd name="connsiteX25" fmla="*/ 172801 w 218602"/>
                <a:gd name="connsiteY25" fmla="*/ 674109 h 1274125"/>
                <a:gd name="connsiteX26" fmla="*/ 177077 w 218602"/>
                <a:gd name="connsiteY26" fmla="*/ 703906 h 1274125"/>
                <a:gd name="connsiteX27" fmla="*/ 179387 w 218602"/>
                <a:gd name="connsiteY27" fmla="*/ 737696 h 1274125"/>
                <a:gd name="connsiteX28" fmla="*/ 179255 w 218602"/>
                <a:gd name="connsiteY28" fmla="*/ 776046 h 1274125"/>
                <a:gd name="connsiteX29" fmla="*/ 176579 w 218602"/>
                <a:gd name="connsiteY29" fmla="*/ 814234 h 1274125"/>
                <a:gd name="connsiteX30" fmla="*/ 171806 w 218602"/>
                <a:gd name="connsiteY30" fmla="*/ 847579 h 1274125"/>
                <a:gd name="connsiteX31" fmla="*/ 165368 w 218602"/>
                <a:gd name="connsiteY31" fmla="*/ 876697 h 1274125"/>
                <a:gd name="connsiteX32" fmla="*/ 157698 w 218602"/>
                <a:gd name="connsiteY32" fmla="*/ 902208 h 1274125"/>
                <a:gd name="connsiteX33" fmla="*/ 154085 w 218602"/>
                <a:gd name="connsiteY33" fmla="*/ 916369 h 1274125"/>
                <a:gd name="connsiteX34" fmla="*/ 152632 w 218602"/>
                <a:gd name="connsiteY34" fmla="*/ 931041 h 1274125"/>
                <a:gd name="connsiteX35" fmla="*/ 153346 w 218602"/>
                <a:gd name="connsiteY35" fmla="*/ 945807 h 1274125"/>
                <a:gd name="connsiteX36" fmla="*/ 156234 w 218602"/>
                <a:gd name="connsiteY36" fmla="*/ 960245 h 1274125"/>
                <a:gd name="connsiteX37" fmla="*/ 162612 w 218602"/>
                <a:gd name="connsiteY37" fmla="*/ 986341 h 1274125"/>
                <a:gd name="connsiteX38" fmla="*/ 167580 w 218602"/>
                <a:gd name="connsiteY38" fmla="*/ 1015928 h 1274125"/>
                <a:gd name="connsiteX39" fmla="*/ 170677 w 218602"/>
                <a:gd name="connsiteY39" fmla="*/ 1049584 h 1274125"/>
                <a:gd name="connsiteX40" fmla="*/ 171442 w 218602"/>
                <a:gd name="connsiteY40" fmla="*/ 1087884 h 1274125"/>
                <a:gd name="connsiteX41" fmla="*/ 169639 w 218602"/>
                <a:gd name="connsiteY41" fmla="*/ 1126120 h 1274125"/>
                <a:gd name="connsiteX42" fmla="*/ 165642 w 218602"/>
                <a:gd name="connsiteY42" fmla="*/ 1159600 h 1274125"/>
                <a:gd name="connsiteX43" fmla="*/ 159885 w 218602"/>
                <a:gd name="connsiteY43" fmla="*/ 1188929 h 1274125"/>
                <a:gd name="connsiteX44" fmla="*/ 152813 w 218602"/>
                <a:gd name="connsiteY44" fmla="*/ 1214709 h 1274125"/>
                <a:gd name="connsiteX45" fmla="*/ 149523 w 218602"/>
                <a:gd name="connsiteY45" fmla="*/ 1228992 h 1274125"/>
                <a:gd name="connsiteX46" fmla="*/ 148408 w 218602"/>
                <a:gd name="connsiteY46" fmla="*/ 1243697 h 1274125"/>
                <a:gd name="connsiteX47" fmla="*/ 149467 w 218602"/>
                <a:gd name="connsiteY47" fmla="*/ 1258412 h 1274125"/>
                <a:gd name="connsiteX48" fmla="*/ 153117 w 218602"/>
                <a:gd name="connsiteY48" fmla="*/ 1274125 h 1274125"/>
                <a:gd name="connsiteX49" fmla="*/ 19711 w 218602"/>
                <a:gd name="connsiteY49" fmla="*/ 1274125 h 1274125"/>
                <a:gd name="connsiteX50" fmla="*/ 21859 w 218602"/>
                <a:gd name="connsiteY50" fmla="*/ 1259315 h 1274125"/>
                <a:gd name="connsiteX51" fmla="*/ 20795 w 218602"/>
                <a:gd name="connsiteY51" fmla="*/ 1243912 h 1274125"/>
                <a:gd name="connsiteX52" fmla="*/ 16537 w 218602"/>
                <a:gd name="connsiteY52" fmla="*/ 1229694 h 1274125"/>
                <a:gd name="connsiteX53" fmla="*/ 9687 w 218602"/>
                <a:gd name="connsiteY53" fmla="*/ 1203366 h 1274125"/>
                <a:gd name="connsiteX54" fmla="*/ 4305 w 218602"/>
                <a:gd name="connsiteY54" fmla="*/ 1173343 h 1274125"/>
                <a:gd name="connsiteX55" fmla="*/ 904 w 218602"/>
                <a:gd name="connsiteY55" fmla="*/ 1139065 h 1274125"/>
                <a:gd name="connsiteX56" fmla="*/ 0 w 218602"/>
                <a:gd name="connsiteY56" fmla="*/ 1099964 h 1274125"/>
                <a:gd name="connsiteX57" fmla="*/ 1867 w 218602"/>
                <a:gd name="connsiteY57" fmla="*/ 1060918 h 1274125"/>
                <a:gd name="connsiteX58" fmla="*/ 6108 w 218602"/>
                <a:gd name="connsiteY58" fmla="*/ 1026790 h 1274125"/>
                <a:gd name="connsiteX59" fmla="*/ 12229 w 218602"/>
                <a:gd name="connsiteY59" fmla="*/ 996988 h 1274125"/>
                <a:gd name="connsiteX60" fmla="*/ 19731 w 218602"/>
                <a:gd name="connsiteY60" fmla="*/ 970923 h 1274125"/>
                <a:gd name="connsiteX61" fmla="*/ 23287 w 218602"/>
                <a:gd name="connsiteY61" fmla="*/ 956504 h 1274125"/>
                <a:gd name="connsiteX62" fmla="*/ 24711 w 218602"/>
                <a:gd name="connsiteY62" fmla="*/ 941598 h 1274125"/>
                <a:gd name="connsiteX63" fmla="*/ 23996 w 218602"/>
                <a:gd name="connsiteY63" fmla="*/ 926597 h 1274125"/>
                <a:gd name="connsiteX64" fmla="*/ 21138 w 218602"/>
                <a:gd name="connsiteY64" fmla="*/ 911902 h 1274125"/>
                <a:gd name="connsiteX65" fmla="*/ 14899 w 218602"/>
                <a:gd name="connsiteY65" fmla="*/ 885289 h 1274125"/>
                <a:gd name="connsiteX66" fmla="*/ 10217 w 218602"/>
                <a:gd name="connsiteY66" fmla="*/ 855051 h 1274125"/>
                <a:gd name="connsiteX67" fmla="*/ 7617 w 218602"/>
                <a:gd name="connsiteY67" fmla="*/ 820634 h 1274125"/>
                <a:gd name="connsiteX68" fmla="*/ 7622 w 218602"/>
                <a:gd name="connsiteY68" fmla="*/ 781483 h 1274125"/>
                <a:gd name="connsiteX69" fmla="*/ 10397 w 218602"/>
                <a:gd name="connsiteY69" fmla="*/ 742488 h 1274125"/>
                <a:gd name="connsiteX70" fmla="*/ 15430 w 218602"/>
                <a:gd name="connsiteY70" fmla="*/ 708507 h 1274125"/>
                <a:gd name="connsiteX71" fmla="*/ 22239 w 218602"/>
                <a:gd name="connsiteY71" fmla="*/ 678923 h 1274125"/>
                <a:gd name="connsiteX72" fmla="*/ 30338 w 218602"/>
                <a:gd name="connsiteY72" fmla="*/ 653131 h 1274125"/>
                <a:gd name="connsiteX73" fmla="*/ 34223 w 218602"/>
                <a:gd name="connsiteY73" fmla="*/ 638838 h 1274125"/>
                <a:gd name="connsiteX74" fmla="*/ 35996 w 218602"/>
                <a:gd name="connsiteY74" fmla="*/ 623975 h 1274125"/>
                <a:gd name="connsiteX75" fmla="*/ 35634 w 218602"/>
                <a:gd name="connsiteY75" fmla="*/ 608940 h 1274125"/>
                <a:gd name="connsiteX76" fmla="*/ 33113 w 218602"/>
                <a:gd name="connsiteY76" fmla="*/ 594135 h 1274125"/>
                <a:gd name="connsiteX77" fmla="*/ 27506 w 218602"/>
                <a:gd name="connsiteY77" fmla="*/ 567263 h 1274125"/>
                <a:gd name="connsiteX78" fmla="*/ 23536 w 218602"/>
                <a:gd name="connsiteY78" fmla="*/ 536817 h 1274125"/>
                <a:gd name="connsiteX79" fmla="*/ 21733 w 218602"/>
                <a:gd name="connsiteY79" fmla="*/ 502266 h 1274125"/>
                <a:gd name="connsiteX80" fmla="*/ 22639 w 218602"/>
                <a:gd name="connsiteY80" fmla="*/ 463077 h 1274125"/>
                <a:gd name="connsiteX81" fmla="*/ 26328 w 218602"/>
                <a:gd name="connsiteY81" fmla="*/ 424169 h 1274125"/>
                <a:gd name="connsiteX82" fmla="*/ 32154 w 218602"/>
                <a:gd name="connsiteY82" fmla="*/ 390359 h 1274125"/>
                <a:gd name="connsiteX83" fmla="*/ 39645 w 218602"/>
                <a:gd name="connsiteY83" fmla="*/ 361021 h 1274125"/>
                <a:gd name="connsiteX84" fmla="*/ 48339 w 218602"/>
                <a:gd name="connsiteY84" fmla="*/ 335537 h 1274125"/>
                <a:gd name="connsiteX85" fmla="*/ 52558 w 218602"/>
                <a:gd name="connsiteY85" fmla="*/ 321382 h 1274125"/>
                <a:gd name="connsiteX86" fmla="*/ 54676 w 218602"/>
                <a:gd name="connsiteY86" fmla="*/ 306570 h 1274125"/>
                <a:gd name="connsiteX87" fmla="*/ 54666 w 218602"/>
                <a:gd name="connsiteY87" fmla="*/ 291504 h 1274125"/>
                <a:gd name="connsiteX88" fmla="*/ 52502 w 218602"/>
                <a:gd name="connsiteY88" fmla="*/ 276590 h 1274125"/>
                <a:gd name="connsiteX89" fmla="*/ 47518 w 218602"/>
                <a:gd name="connsiteY89" fmla="*/ 249467 h 1274125"/>
                <a:gd name="connsiteX90" fmla="*/ 44255 w 218602"/>
                <a:gd name="connsiteY90" fmla="*/ 218837 h 1274125"/>
                <a:gd name="connsiteX91" fmla="*/ 43261 w 218602"/>
                <a:gd name="connsiteY91" fmla="*/ 184191 h 1274125"/>
                <a:gd name="connsiteX92" fmla="*/ 45089 w 218602"/>
                <a:gd name="connsiteY92" fmla="*/ 145015 h 1274125"/>
                <a:gd name="connsiteX93" fmla="*/ 49686 w 218602"/>
                <a:gd name="connsiteY93" fmla="*/ 106199 h 1274125"/>
                <a:gd name="connsiteX94" fmla="*/ 56300 w 218602"/>
                <a:gd name="connsiteY94" fmla="*/ 72579 h 1274125"/>
                <a:gd name="connsiteX95" fmla="*/ 64475 w 218602"/>
                <a:gd name="connsiteY95" fmla="*/ 43507 h 1274125"/>
                <a:gd name="connsiteX96" fmla="*/ 73755 w 218602"/>
                <a:gd name="connsiteY96" fmla="*/ 18337 h 1274125"/>
                <a:gd name="connsiteX97" fmla="*/ 78302 w 218602"/>
                <a:gd name="connsiteY97" fmla="*/ 4329 h 127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8602" h="1274125">
                  <a:moveTo>
                    <a:pt x="79026" y="0"/>
                  </a:moveTo>
                  <a:lnTo>
                    <a:pt x="216280" y="63832"/>
                  </a:lnTo>
                  <a:lnTo>
                    <a:pt x="217873" y="80524"/>
                  </a:lnTo>
                  <a:lnTo>
                    <a:pt x="218602" y="114523"/>
                  </a:lnTo>
                  <a:lnTo>
                    <a:pt x="216683" y="152888"/>
                  </a:lnTo>
                  <a:lnTo>
                    <a:pt x="212216" y="190901"/>
                  </a:lnTo>
                  <a:lnTo>
                    <a:pt x="205893" y="223900"/>
                  </a:lnTo>
                  <a:lnTo>
                    <a:pt x="198113" y="252538"/>
                  </a:lnTo>
                  <a:lnTo>
                    <a:pt x="189272" y="277475"/>
                  </a:lnTo>
                  <a:lnTo>
                    <a:pt x="184999" y="291369"/>
                  </a:lnTo>
                  <a:lnTo>
                    <a:pt x="182864" y="305941"/>
                  </a:lnTo>
                  <a:lnTo>
                    <a:pt x="182890" y="320770"/>
                  </a:lnTo>
                  <a:lnTo>
                    <a:pt x="185109" y="335438"/>
                  </a:lnTo>
                  <a:lnTo>
                    <a:pt x="190258" y="362044"/>
                  </a:lnTo>
                  <a:lnTo>
                    <a:pt x="193832" y="392031"/>
                  </a:lnTo>
                  <a:lnTo>
                    <a:pt x="195350" y="425939"/>
                  </a:lnTo>
                  <a:lnTo>
                    <a:pt x="194329" y="464308"/>
                  </a:lnTo>
                  <a:lnTo>
                    <a:pt x="190762" y="502424"/>
                  </a:lnTo>
                  <a:lnTo>
                    <a:pt x="185217" y="535609"/>
                  </a:lnTo>
                  <a:lnTo>
                    <a:pt x="178106" y="564498"/>
                  </a:lnTo>
                  <a:lnTo>
                    <a:pt x="169845" y="589731"/>
                  </a:lnTo>
                  <a:lnTo>
                    <a:pt x="165897" y="603763"/>
                  </a:lnTo>
                  <a:lnTo>
                    <a:pt x="164104" y="618388"/>
                  </a:lnTo>
                  <a:lnTo>
                    <a:pt x="164477" y="633186"/>
                  </a:lnTo>
                  <a:lnTo>
                    <a:pt x="167031" y="647744"/>
                  </a:lnTo>
                  <a:lnTo>
                    <a:pt x="172801" y="674109"/>
                  </a:lnTo>
                  <a:lnTo>
                    <a:pt x="177077" y="703906"/>
                  </a:lnTo>
                  <a:lnTo>
                    <a:pt x="179387" y="737696"/>
                  </a:lnTo>
                  <a:lnTo>
                    <a:pt x="179255" y="776046"/>
                  </a:lnTo>
                  <a:lnTo>
                    <a:pt x="176579" y="814234"/>
                  </a:lnTo>
                  <a:lnTo>
                    <a:pt x="171806" y="847579"/>
                  </a:lnTo>
                  <a:lnTo>
                    <a:pt x="165368" y="876697"/>
                  </a:lnTo>
                  <a:lnTo>
                    <a:pt x="157698" y="902208"/>
                  </a:lnTo>
                  <a:lnTo>
                    <a:pt x="154085" y="916369"/>
                  </a:lnTo>
                  <a:lnTo>
                    <a:pt x="152632" y="931041"/>
                  </a:lnTo>
                  <a:lnTo>
                    <a:pt x="153346" y="945807"/>
                  </a:lnTo>
                  <a:lnTo>
                    <a:pt x="156234" y="960245"/>
                  </a:lnTo>
                  <a:lnTo>
                    <a:pt x="162612" y="986341"/>
                  </a:lnTo>
                  <a:lnTo>
                    <a:pt x="167580" y="1015928"/>
                  </a:lnTo>
                  <a:lnTo>
                    <a:pt x="170677" y="1049584"/>
                  </a:lnTo>
                  <a:lnTo>
                    <a:pt x="171442" y="1087884"/>
                  </a:lnTo>
                  <a:lnTo>
                    <a:pt x="169639" y="1126120"/>
                  </a:lnTo>
                  <a:lnTo>
                    <a:pt x="165642" y="1159600"/>
                  </a:lnTo>
                  <a:lnTo>
                    <a:pt x="159885" y="1188929"/>
                  </a:lnTo>
                  <a:lnTo>
                    <a:pt x="152813" y="1214709"/>
                  </a:lnTo>
                  <a:lnTo>
                    <a:pt x="149523" y="1228992"/>
                  </a:lnTo>
                  <a:lnTo>
                    <a:pt x="148408" y="1243697"/>
                  </a:lnTo>
                  <a:lnTo>
                    <a:pt x="149467" y="1258412"/>
                  </a:lnTo>
                  <a:lnTo>
                    <a:pt x="153117" y="1274125"/>
                  </a:lnTo>
                  <a:lnTo>
                    <a:pt x="19711" y="1274125"/>
                  </a:lnTo>
                  <a:lnTo>
                    <a:pt x="21859" y="1259315"/>
                  </a:lnTo>
                  <a:lnTo>
                    <a:pt x="20795" y="1243912"/>
                  </a:lnTo>
                  <a:lnTo>
                    <a:pt x="16537" y="1229694"/>
                  </a:lnTo>
                  <a:lnTo>
                    <a:pt x="9687" y="1203366"/>
                  </a:lnTo>
                  <a:lnTo>
                    <a:pt x="4305" y="1173343"/>
                  </a:lnTo>
                  <a:lnTo>
                    <a:pt x="904" y="1139065"/>
                  </a:lnTo>
                  <a:lnTo>
                    <a:pt x="0" y="1099964"/>
                  </a:lnTo>
                  <a:lnTo>
                    <a:pt x="1867" y="1060918"/>
                  </a:lnTo>
                  <a:lnTo>
                    <a:pt x="6108" y="1026790"/>
                  </a:lnTo>
                  <a:lnTo>
                    <a:pt x="12229" y="996988"/>
                  </a:lnTo>
                  <a:lnTo>
                    <a:pt x="19731" y="970923"/>
                  </a:lnTo>
                  <a:lnTo>
                    <a:pt x="23287" y="956504"/>
                  </a:lnTo>
                  <a:lnTo>
                    <a:pt x="24711" y="941598"/>
                  </a:lnTo>
                  <a:lnTo>
                    <a:pt x="23996" y="926597"/>
                  </a:lnTo>
                  <a:lnTo>
                    <a:pt x="21138" y="911902"/>
                  </a:lnTo>
                  <a:lnTo>
                    <a:pt x="14899" y="885289"/>
                  </a:lnTo>
                  <a:lnTo>
                    <a:pt x="10217" y="855051"/>
                  </a:lnTo>
                  <a:lnTo>
                    <a:pt x="7617" y="820634"/>
                  </a:lnTo>
                  <a:lnTo>
                    <a:pt x="7622" y="781483"/>
                  </a:lnTo>
                  <a:lnTo>
                    <a:pt x="10397" y="742488"/>
                  </a:lnTo>
                  <a:lnTo>
                    <a:pt x="15430" y="708507"/>
                  </a:lnTo>
                  <a:lnTo>
                    <a:pt x="22239" y="678923"/>
                  </a:lnTo>
                  <a:lnTo>
                    <a:pt x="30338" y="653131"/>
                  </a:lnTo>
                  <a:lnTo>
                    <a:pt x="34223" y="638838"/>
                  </a:lnTo>
                  <a:lnTo>
                    <a:pt x="35996" y="623975"/>
                  </a:lnTo>
                  <a:lnTo>
                    <a:pt x="35634" y="608940"/>
                  </a:lnTo>
                  <a:lnTo>
                    <a:pt x="33113" y="594135"/>
                  </a:lnTo>
                  <a:lnTo>
                    <a:pt x="27506" y="567263"/>
                  </a:lnTo>
                  <a:lnTo>
                    <a:pt x="23536" y="536817"/>
                  </a:lnTo>
                  <a:lnTo>
                    <a:pt x="21733" y="502266"/>
                  </a:lnTo>
                  <a:lnTo>
                    <a:pt x="22639" y="463077"/>
                  </a:lnTo>
                  <a:lnTo>
                    <a:pt x="26328" y="424169"/>
                  </a:lnTo>
                  <a:lnTo>
                    <a:pt x="32154" y="390359"/>
                  </a:lnTo>
                  <a:lnTo>
                    <a:pt x="39645" y="361021"/>
                  </a:lnTo>
                  <a:lnTo>
                    <a:pt x="48339" y="335537"/>
                  </a:lnTo>
                  <a:lnTo>
                    <a:pt x="52558" y="321382"/>
                  </a:lnTo>
                  <a:lnTo>
                    <a:pt x="54676" y="306570"/>
                  </a:lnTo>
                  <a:lnTo>
                    <a:pt x="54666" y="291504"/>
                  </a:lnTo>
                  <a:lnTo>
                    <a:pt x="52502" y="276590"/>
                  </a:lnTo>
                  <a:lnTo>
                    <a:pt x="47518" y="249467"/>
                  </a:lnTo>
                  <a:lnTo>
                    <a:pt x="44255" y="218837"/>
                  </a:lnTo>
                  <a:lnTo>
                    <a:pt x="43261" y="184191"/>
                  </a:lnTo>
                  <a:lnTo>
                    <a:pt x="45089" y="145015"/>
                  </a:lnTo>
                  <a:lnTo>
                    <a:pt x="49686" y="106199"/>
                  </a:lnTo>
                  <a:lnTo>
                    <a:pt x="56300" y="72579"/>
                  </a:lnTo>
                  <a:lnTo>
                    <a:pt x="64475" y="43507"/>
                  </a:lnTo>
                  <a:lnTo>
                    <a:pt x="73755" y="18337"/>
                  </a:lnTo>
                  <a:lnTo>
                    <a:pt x="78302" y="4329"/>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1" name="Freeform: Shape 20">
              <a:extLst>
                <a:ext uri="{FF2B5EF4-FFF2-40B4-BE49-F238E27FC236}">
                  <a16:creationId xmlns:a16="http://schemas.microsoft.com/office/drawing/2014/main" id="{7161D5E6-E604-A824-91E5-320AC3839503}"/>
                </a:ext>
              </a:extLst>
            </p:cNvPr>
            <p:cNvSpPr/>
            <p:nvPr/>
          </p:nvSpPr>
          <p:spPr>
            <a:xfrm rot="13654353">
              <a:off x="11464201" y="736041"/>
              <a:ext cx="387391" cy="1362193"/>
            </a:xfrm>
            <a:custGeom>
              <a:avLst/>
              <a:gdLst>
                <a:gd name="connsiteX0" fmla="*/ 147207 w 387391"/>
                <a:gd name="connsiteY0" fmla="*/ 1362193 h 1362193"/>
                <a:gd name="connsiteX1" fmla="*/ 0 w 387391"/>
                <a:gd name="connsiteY1" fmla="*/ 1227645 h 1362193"/>
                <a:gd name="connsiteX2" fmla="*/ 1801 w 387391"/>
                <a:gd name="connsiteY2" fmla="*/ 1216824 h 1362193"/>
                <a:gd name="connsiteX3" fmla="*/ 9982 w 387391"/>
                <a:gd name="connsiteY3" fmla="*/ 1183657 h 1362193"/>
                <a:gd name="connsiteX4" fmla="*/ 19511 w 387391"/>
                <a:gd name="connsiteY4" fmla="*/ 1155162 h 1362193"/>
                <a:gd name="connsiteX5" fmla="*/ 29965 w 387391"/>
                <a:gd name="connsiteY5" fmla="*/ 1130658 h 1362193"/>
                <a:gd name="connsiteX6" fmla="*/ 35174 w 387391"/>
                <a:gd name="connsiteY6" fmla="*/ 1116977 h 1362193"/>
                <a:gd name="connsiteX7" fmla="*/ 38332 w 387391"/>
                <a:gd name="connsiteY7" fmla="*/ 1102401 h 1362193"/>
                <a:gd name="connsiteX8" fmla="*/ 39384 w 387391"/>
                <a:gd name="connsiteY8" fmla="*/ 1087320 h 1362193"/>
                <a:gd name="connsiteX9" fmla="*/ 38273 w 387391"/>
                <a:gd name="connsiteY9" fmla="*/ 1072129 h 1362193"/>
                <a:gd name="connsiteX10" fmla="*/ 35227 w 387391"/>
                <a:gd name="connsiteY10" fmla="*/ 1044400 h 1362193"/>
                <a:gd name="connsiteX11" fmla="*/ 34146 w 387391"/>
                <a:gd name="connsiteY11" fmla="*/ 1013355 h 1362193"/>
                <a:gd name="connsiteX12" fmla="*/ 35613 w 387391"/>
                <a:gd name="connsiteY12" fmla="*/ 978542 h 1362193"/>
                <a:gd name="connsiteX13" fmla="*/ 40211 w 387391"/>
                <a:gd name="connsiteY13" fmla="*/ 939522 h 1362193"/>
                <a:gd name="connsiteX14" fmla="*/ 47532 w 387391"/>
                <a:gd name="connsiteY14" fmla="*/ 901192 h 1362193"/>
                <a:gd name="connsiteX15" fmla="*/ 56501 w 387391"/>
                <a:gd name="connsiteY15" fmla="*/ 868288 h 1362193"/>
                <a:gd name="connsiteX16" fmla="*/ 66705 w 387391"/>
                <a:gd name="connsiteY16" fmla="*/ 840114 h 1362193"/>
                <a:gd name="connsiteX17" fmla="*/ 77736 w 387391"/>
                <a:gd name="connsiteY17" fmla="*/ 815968 h 1362193"/>
                <a:gd name="connsiteX18" fmla="*/ 83263 w 387391"/>
                <a:gd name="connsiteY18" fmla="*/ 802466 h 1362193"/>
                <a:gd name="connsiteX19" fmla="*/ 86767 w 387391"/>
                <a:gd name="connsiteY19" fmla="*/ 787986 h 1362193"/>
                <a:gd name="connsiteX20" fmla="*/ 88180 w 387391"/>
                <a:gd name="connsiteY20" fmla="*/ 772917 h 1362193"/>
                <a:gd name="connsiteX21" fmla="*/ 87430 w 387391"/>
                <a:gd name="connsiteY21" fmla="*/ 757660 h 1362193"/>
                <a:gd name="connsiteX22" fmla="*/ 85045 w 387391"/>
                <a:gd name="connsiteY22" fmla="*/ 729759 h 1362193"/>
                <a:gd name="connsiteX23" fmla="*/ 84702 w 387391"/>
                <a:gd name="connsiteY23" fmla="*/ 698614 h 1362193"/>
                <a:gd name="connsiteX24" fmla="*/ 86996 w 387391"/>
                <a:gd name="connsiteY24" fmla="*/ 663797 h 1362193"/>
                <a:gd name="connsiteX25" fmla="*/ 92525 w 387391"/>
                <a:gd name="connsiteY25" fmla="*/ 624880 h 1362193"/>
                <a:gd name="connsiteX26" fmla="*/ 100755 w 387391"/>
                <a:gd name="connsiteY26" fmla="*/ 586757 h 1362193"/>
                <a:gd name="connsiteX27" fmla="*/ 110503 w 387391"/>
                <a:gd name="connsiteY27" fmla="*/ 554139 h 1362193"/>
                <a:gd name="connsiteX28" fmla="*/ 121375 w 387391"/>
                <a:gd name="connsiteY28" fmla="*/ 526301 h 1362193"/>
                <a:gd name="connsiteX29" fmla="*/ 132975 w 387391"/>
                <a:gd name="connsiteY29" fmla="*/ 502531 h 1362193"/>
                <a:gd name="connsiteX30" fmla="*/ 138829 w 387391"/>
                <a:gd name="connsiteY30" fmla="*/ 489213 h 1362193"/>
                <a:gd name="connsiteX31" fmla="*/ 142681 w 387391"/>
                <a:gd name="connsiteY31" fmla="*/ 474842 h 1362193"/>
                <a:gd name="connsiteX32" fmla="*/ 144456 w 387391"/>
                <a:gd name="connsiteY32" fmla="*/ 459803 h 1362193"/>
                <a:gd name="connsiteX33" fmla="*/ 144076 w 387391"/>
                <a:gd name="connsiteY33" fmla="*/ 444493 h 1362193"/>
                <a:gd name="connsiteX34" fmla="*/ 142357 w 387391"/>
                <a:gd name="connsiteY34" fmla="*/ 416450 h 1362193"/>
                <a:gd name="connsiteX35" fmla="*/ 142758 w 387391"/>
                <a:gd name="connsiteY35" fmla="*/ 385226 h 1362193"/>
                <a:gd name="connsiteX36" fmla="*/ 152346 w 387391"/>
                <a:gd name="connsiteY36" fmla="*/ 311639 h 1362193"/>
                <a:gd name="connsiteX37" fmla="*/ 172019 w 387391"/>
                <a:gd name="connsiteY37" fmla="*/ 241430 h 1362193"/>
                <a:gd name="connsiteX38" fmla="*/ 183555 w 387391"/>
                <a:gd name="connsiteY38" fmla="*/ 213957 h 1362193"/>
                <a:gd name="connsiteX39" fmla="*/ 195724 w 387391"/>
                <a:gd name="connsiteY39" fmla="*/ 190594 h 1362193"/>
                <a:gd name="connsiteX40" fmla="*/ 201893 w 387391"/>
                <a:gd name="connsiteY40" fmla="*/ 177476 h 1362193"/>
                <a:gd name="connsiteX41" fmla="*/ 206090 w 387391"/>
                <a:gd name="connsiteY41" fmla="*/ 163216 h 1362193"/>
                <a:gd name="connsiteX42" fmla="*/ 208224 w 387391"/>
                <a:gd name="connsiteY42" fmla="*/ 148202 h 1362193"/>
                <a:gd name="connsiteX43" fmla="*/ 208213 w 387391"/>
                <a:gd name="connsiteY43" fmla="*/ 132829 h 1362193"/>
                <a:gd name="connsiteX44" fmla="*/ 207176 w 387391"/>
                <a:gd name="connsiteY44" fmla="*/ 104665 h 1362193"/>
                <a:gd name="connsiteX45" fmla="*/ 208326 w 387391"/>
                <a:gd name="connsiteY45" fmla="*/ 73397 h 1362193"/>
                <a:gd name="connsiteX46" fmla="*/ 212288 w 387391"/>
                <a:gd name="connsiteY46" fmla="*/ 38637 h 1362193"/>
                <a:gd name="connsiteX47" fmla="*/ 219676 w 387391"/>
                <a:gd name="connsiteY47" fmla="*/ 0 h 1362193"/>
                <a:gd name="connsiteX48" fmla="*/ 287633 w 387391"/>
                <a:gd name="connsiteY48" fmla="*/ 26053 h 1362193"/>
                <a:gd name="connsiteX49" fmla="*/ 319472 w 387391"/>
                <a:gd name="connsiteY49" fmla="*/ 21526 h 1362193"/>
                <a:gd name="connsiteX50" fmla="*/ 387391 w 387391"/>
                <a:gd name="connsiteY50" fmla="*/ 47704 h 1362193"/>
                <a:gd name="connsiteX51" fmla="*/ 377580 w 387391"/>
                <a:gd name="connsiteY51" fmla="*/ 84557 h 1362193"/>
                <a:gd name="connsiteX52" fmla="*/ 366651 w 387391"/>
                <a:gd name="connsiteY52" fmla="*/ 115974 h 1362193"/>
                <a:gd name="connsiteX53" fmla="*/ 354905 w 387391"/>
                <a:gd name="connsiteY53" fmla="*/ 142708 h 1362193"/>
                <a:gd name="connsiteX54" fmla="*/ 342644 w 387391"/>
                <a:gd name="connsiteY54" fmla="*/ 165500 h 1362193"/>
                <a:gd name="connsiteX55" fmla="*/ 336471 w 387391"/>
                <a:gd name="connsiteY55" fmla="*/ 178343 h 1362193"/>
                <a:gd name="connsiteX56" fmla="*/ 332298 w 387391"/>
                <a:gd name="connsiteY56" fmla="*/ 192357 h 1362193"/>
                <a:gd name="connsiteX57" fmla="*/ 330215 w 387391"/>
                <a:gd name="connsiteY57" fmla="*/ 207132 h 1362193"/>
                <a:gd name="connsiteX58" fmla="*/ 330307 w 387391"/>
                <a:gd name="connsiteY58" fmla="*/ 222258 h 1362193"/>
                <a:gd name="connsiteX59" fmla="*/ 331589 w 387391"/>
                <a:gd name="connsiteY59" fmla="*/ 249962 h 1362193"/>
                <a:gd name="connsiteX60" fmla="*/ 327519 w 387391"/>
                <a:gd name="connsiteY60" fmla="*/ 314780 h 1362193"/>
                <a:gd name="connsiteX61" fmla="*/ 302000 w 387391"/>
                <a:gd name="connsiteY61" fmla="*/ 421596 h 1362193"/>
                <a:gd name="connsiteX62" fmla="*/ 290914 w 387391"/>
                <a:gd name="connsiteY62" fmla="*/ 448689 h 1362193"/>
                <a:gd name="connsiteX63" fmla="*/ 279212 w 387391"/>
                <a:gd name="connsiteY63" fmla="*/ 471876 h 1362193"/>
                <a:gd name="connsiteX64" fmla="*/ 273344 w 387391"/>
                <a:gd name="connsiteY64" fmla="*/ 484919 h 1362193"/>
                <a:gd name="connsiteX65" fmla="*/ 269507 w 387391"/>
                <a:gd name="connsiteY65" fmla="*/ 499050 h 1362193"/>
                <a:gd name="connsiteX66" fmla="*/ 267781 w 387391"/>
                <a:gd name="connsiteY66" fmla="*/ 513865 h 1362193"/>
                <a:gd name="connsiteX67" fmla="*/ 268244 w 387391"/>
                <a:gd name="connsiteY67" fmla="*/ 528953 h 1362193"/>
                <a:gd name="connsiteX68" fmla="*/ 270189 w 387391"/>
                <a:gd name="connsiteY68" fmla="*/ 556508 h 1362193"/>
                <a:gd name="connsiteX69" fmla="*/ 267683 w 387391"/>
                <a:gd name="connsiteY69" fmla="*/ 621274 h 1362193"/>
                <a:gd name="connsiteX70" fmla="*/ 244719 w 387391"/>
                <a:gd name="connsiteY70" fmla="*/ 728742 h 1362193"/>
                <a:gd name="connsiteX71" fmla="*/ 234282 w 387391"/>
                <a:gd name="connsiteY71" fmla="*/ 756186 h 1362193"/>
                <a:gd name="connsiteX72" fmla="*/ 223136 w 387391"/>
                <a:gd name="connsiteY72" fmla="*/ 779752 h 1362193"/>
                <a:gd name="connsiteX73" fmla="*/ 217590 w 387391"/>
                <a:gd name="connsiteY73" fmla="*/ 792993 h 1362193"/>
                <a:gd name="connsiteX74" fmla="*/ 214094 w 387391"/>
                <a:gd name="connsiteY74" fmla="*/ 807234 h 1362193"/>
                <a:gd name="connsiteX75" fmla="*/ 212719 w 387391"/>
                <a:gd name="connsiteY75" fmla="*/ 822065 h 1362193"/>
                <a:gd name="connsiteX76" fmla="*/ 213536 w 387391"/>
                <a:gd name="connsiteY76" fmla="*/ 837076 h 1362193"/>
                <a:gd name="connsiteX77" fmla="*/ 216138 w 387391"/>
                <a:gd name="connsiteY77" fmla="*/ 864486 h 1362193"/>
                <a:gd name="connsiteX78" fmla="*/ 216861 w 387391"/>
                <a:gd name="connsiteY78" fmla="*/ 895028 h 1362193"/>
                <a:gd name="connsiteX79" fmla="*/ 215178 w 387391"/>
                <a:gd name="connsiteY79" fmla="*/ 929167 h 1362193"/>
                <a:gd name="connsiteX80" fmla="*/ 210551 w 387391"/>
                <a:gd name="connsiteY80" fmla="*/ 967371 h 1362193"/>
                <a:gd name="connsiteX81" fmla="*/ 203422 w 387391"/>
                <a:gd name="connsiteY81" fmla="*/ 1004914 h 1362193"/>
                <a:gd name="connsiteX82" fmla="*/ 194788 w 387391"/>
                <a:gd name="connsiteY82" fmla="*/ 1037221 h 1362193"/>
                <a:gd name="connsiteX83" fmla="*/ 185007 w 387391"/>
                <a:gd name="connsiteY83" fmla="*/ 1064994 h 1362193"/>
                <a:gd name="connsiteX84" fmla="*/ 174434 w 387391"/>
                <a:gd name="connsiteY84" fmla="*/ 1088933 h 1362193"/>
                <a:gd name="connsiteX85" fmla="*/ 169197 w 387391"/>
                <a:gd name="connsiteY85" fmla="*/ 1102354 h 1362193"/>
                <a:gd name="connsiteX86" fmla="*/ 166041 w 387391"/>
                <a:gd name="connsiteY86" fmla="*/ 1116692 h 1362193"/>
                <a:gd name="connsiteX87" fmla="*/ 165025 w 387391"/>
                <a:gd name="connsiteY87" fmla="*/ 1131536 h 1362193"/>
                <a:gd name="connsiteX88" fmla="*/ 166203 w 387391"/>
                <a:gd name="connsiteY88" fmla="*/ 1146478 h 1362193"/>
                <a:gd name="connsiteX89" fmla="*/ 169452 w 387391"/>
                <a:gd name="connsiteY89" fmla="*/ 1173714 h 1362193"/>
                <a:gd name="connsiteX90" fmla="*/ 170899 w 387391"/>
                <a:gd name="connsiteY90" fmla="*/ 1204152 h 1362193"/>
                <a:gd name="connsiteX91" fmla="*/ 170020 w 387391"/>
                <a:gd name="connsiteY91" fmla="*/ 1238273 h 1362193"/>
                <a:gd name="connsiteX92" fmla="*/ 166299 w 387391"/>
                <a:gd name="connsiteY92" fmla="*/ 1276551 h 1362193"/>
                <a:gd name="connsiteX93" fmla="*/ 160059 w 387391"/>
                <a:gd name="connsiteY93" fmla="*/ 1314281 h 1362193"/>
                <a:gd name="connsiteX94" fmla="*/ 152194 w 387391"/>
                <a:gd name="connsiteY94" fmla="*/ 1346841 h 136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7391" h="1362193">
                  <a:moveTo>
                    <a:pt x="147207" y="1362193"/>
                  </a:moveTo>
                  <a:lnTo>
                    <a:pt x="0" y="1227645"/>
                  </a:lnTo>
                  <a:lnTo>
                    <a:pt x="1801" y="1216824"/>
                  </a:lnTo>
                  <a:lnTo>
                    <a:pt x="9982" y="1183657"/>
                  </a:lnTo>
                  <a:lnTo>
                    <a:pt x="19511" y="1155162"/>
                  </a:lnTo>
                  <a:lnTo>
                    <a:pt x="29965" y="1130658"/>
                  </a:lnTo>
                  <a:lnTo>
                    <a:pt x="35174" y="1116977"/>
                  </a:lnTo>
                  <a:lnTo>
                    <a:pt x="38332" y="1102401"/>
                  </a:lnTo>
                  <a:lnTo>
                    <a:pt x="39384" y="1087320"/>
                  </a:lnTo>
                  <a:lnTo>
                    <a:pt x="38273" y="1072129"/>
                  </a:lnTo>
                  <a:lnTo>
                    <a:pt x="35227" y="1044400"/>
                  </a:lnTo>
                  <a:lnTo>
                    <a:pt x="34146" y="1013355"/>
                  </a:lnTo>
                  <a:lnTo>
                    <a:pt x="35613" y="978542"/>
                  </a:lnTo>
                  <a:lnTo>
                    <a:pt x="40211" y="939522"/>
                  </a:lnTo>
                  <a:lnTo>
                    <a:pt x="47532" y="901192"/>
                  </a:lnTo>
                  <a:lnTo>
                    <a:pt x="56501" y="868288"/>
                  </a:lnTo>
                  <a:lnTo>
                    <a:pt x="66705" y="840114"/>
                  </a:lnTo>
                  <a:lnTo>
                    <a:pt x="77736" y="815968"/>
                  </a:lnTo>
                  <a:lnTo>
                    <a:pt x="83263" y="802466"/>
                  </a:lnTo>
                  <a:lnTo>
                    <a:pt x="86767" y="787986"/>
                  </a:lnTo>
                  <a:lnTo>
                    <a:pt x="88180" y="772917"/>
                  </a:lnTo>
                  <a:lnTo>
                    <a:pt x="87430" y="757660"/>
                  </a:lnTo>
                  <a:lnTo>
                    <a:pt x="85045" y="729759"/>
                  </a:lnTo>
                  <a:lnTo>
                    <a:pt x="84702" y="698614"/>
                  </a:lnTo>
                  <a:lnTo>
                    <a:pt x="86996" y="663797"/>
                  </a:lnTo>
                  <a:lnTo>
                    <a:pt x="92525" y="624880"/>
                  </a:lnTo>
                  <a:lnTo>
                    <a:pt x="100755" y="586757"/>
                  </a:lnTo>
                  <a:lnTo>
                    <a:pt x="110503" y="554139"/>
                  </a:lnTo>
                  <a:lnTo>
                    <a:pt x="121375" y="526301"/>
                  </a:lnTo>
                  <a:lnTo>
                    <a:pt x="132975" y="502531"/>
                  </a:lnTo>
                  <a:lnTo>
                    <a:pt x="138829" y="489213"/>
                  </a:lnTo>
                  <a:lnTo>
                    <a:pt x="142681" y="474842"/>
                  </a:lnTo>
                  <a:lnTo>
                    <a:pt x="144456" y="459803"/>
                  </a:lnTo>
                  <a:lnTo>
                    <a:pt x="144076" y="444493"/>
                  </a:lnTo>
                  <a:lnTo>
                    <a:pt x="142357" y="416450"/>
                  </a:lnTo>
                  <a:lnTo>
                    <a:pt x="142758" y="385226"/>
                  </a:lnTo>
                  <a:lnTo>
                    <a:pt x="152346" y="311639"/>
                  </a:lnTo>
                  <a:lnTo>
                    <a:pt x="172019" y="241430"/>
                  </a:lnTo>
                  <a:lnTo>
                    <a:pt x="183555" y="213957"/>
                  </a:lnTo>
                  <a:lnTo>
                    <a:pt x="195724" y="190594"/>
                  </a:lnTo>
                  <a:lnTo>
                    <a:pt x="201893" y="177476"/>
                  </a:lnTo>
                  <a:lnTo>
                    <a:pt x="206090" y="163216"/>
                  </a:lnTo>
                  <a:lnTo>
                    <a:pt x="208224" y="148202"/>
                  </a:lnTo>
                  <a:lnTo>
                    <a:pt x="208213" y="132829"/>
                  </a:lnTo>
                  <a:lnTo>
                    <a:pt x="207176" y="104665"/>
                  </a:lnTo>
                  <a:lnTo>
                    <a:pt x="208326" y="73397"/>
                  </a:lnTo>
                  <a:lnTo>
                    <a:pt x="212288" y="38637"/>
                  </a:lnTo>
                  <a:lnTo>
                    <a:pt x="219676" y="0"/>
                  </a:lnTo>
                  <a:lnTo>
                    <a:pt x="287633" y="26053"/>
                  </a:lnTo>
                  <a:lnTo>
                    <a:pt x="319472" y="21526"/>
                  </a:lnTo>
                  <a:lnTo>
                    <a:pt x="387391" y="47704"/>
                  </a:lnTo>
                  <a:lnTo>
                    <a:pt x="377580" y="84557"/>
                  </a:lnTo>
                  <a:lnTo>
                    <a:pt x="366651" y="115974"/>
                  </a:lnTo>
                  <a:lnTo>
                    <a:pt x="354905" y="142708"/>
                  </a:lnTo>
                  <a:lnTo>
                    <a:pt x="342644" y="165500"/>
                  </a:lnTo>
                  <a:lnTo>
                    <a:pt x="336471" y="178343"/>
                  </a:lnTo>
                  <a:lnTo>
                    <a:pt x="332298" y="192357"/>
                  </a:lnTo>
                  <a:lnTo>
                    <a:pt x="330215" y="207132"/>
                  </a:lnTo>
                  <a:lnTo>
                    <a:pt x="330307" y="222258"/>
                  </a:lnTo>
                  <a:lnTo>
                    <a:pt x="331589" y="249962"/>
                  </a:lnTo>
                  <a:lnTo>
                    <a:pt x="327519" y="314780"/>
                  </a:lnTo>
                  <a:lnTo>
                    <a:pt x="302000" y="421596"/>
                  </a:lnTo>
                  <a:lnTo>
                    <a:pt x="290914" y="448689"/>
                  </a:lnTo>
                  <a:lnTo>
                    <a:pt x="279212" y="471876"/>
                  </a:lnTo>
                  <a:lnTo>
                    <a:pt x="273344" y="484919"/>
                  </a:lnTo>
                  <a:lnTo>
                    <a:pt x="269507" y="499050"/>
                  </a:lnTo>
                  <a:lnTo>
                    <a:pt x="267781" y="513865"/>
                  </a:lnTo>
                  <a:lnTo>
                    <a:pt x="268244" y="528953"/>
                  </a:lnTo>
                  <a:lnTo>
                    <a:pt x="270189" y="556508"/>
                  </a:lnTo>
                  <a:lnTo>
                    <a:pt x="267683" y="621274"/>
                  </a:lnTo>
                  <a:lnTo>
                    <a:pt x="244719" y="728742"/>
                  </a:lnTo>
                  <a:lnTo>
                    <a:pt x="234282" y="756186"/>
                  </a:lnTo>
                  <a:lnTo>
                    <a:pt x="223136" y="779752"/>
                  </a:lnTo>
                  <a:lnTo>
                    <a:pt x="217590" y="792993"/>
                  </a:lnTo>
                  <a:lnTo>
                    <a:pt x="214094" y="807234"/>
                  </a:lnTo>
                  <a:lnTo>
                    <a:pt x="212719" y="822065"/>
                  </a:lnTo>
                  <a:lnTo>
                    <a:pt x="213536" y="837076"/>
                  </a:lnTo>
                  <a:lnTo>
                    <a:pt x="216138" y="864486"/>
                  </a:lnTo>
                  <a:lnTo>
                    <a:pt x="216861" y="895028"/>
                  </a:lnTo>
                  <a:lnTo>
                    <a:pt x="215178" y="929167"/>
                  </a:lnTo>
                  <a:lnTo>
                    <a:pt x="210551" y="967371"/>
                  </a:lnTo>
                  <a:lnTo>
                    <a:pt x="203422" y="1004914"/>
                  </a:lnTo>
                  <a:lnTo>
                    <a:pt x="194788" y="1037221"/>
                  </a:lnTo>
                  <a:lnTo>
                    <a:pt x="185007" y="1064994"/>
                  </a:lnTo>
                  <a:lnTo>
                    <a:pt x="174434" y="1088933"/>
                  </a:lnTo>
                  <a:lnTo>
                    <a:pt x="169197" y="1102354"/>
                  </a:lnTo>
                  <a:lnTo>
                    <a:pt x="166041" y="1116692"/>
                  </a:lnTo>
                  <a:lnTo>
                    <a:pt x="165025" y="1131536"/>
                  </a:lnTo>
                  <a:lnTo>
                    <a:pt x="166203" y="1146478"/>
                  </a:lnTo>
                  <a:lnTo>
                    <a:pt x="169452" y="1173714"/>
                  </a:lnTo>
                  <a:lnTo>
                    <a:pt x="170899" y="1204152"/>
                  </a:lnTo>
                  <a:lnTo>
                    <a:pt x="170020" y="1238273"/>
                  </a:lnTo>
                  <a:lnTo>
                    <a:pt x="166299" y="1276551"/>
                  </a:lnTo>
                  <a:lnTo>
                    <a:pt x="160059" y="1314281"/>
                  </a:lnTo>
                  <a:lnTo>
                    <a:pt x="152194" y="1346841"/>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3" name="Freeform: Shape 22">
              <a:extLst>
                <a:ext uri="{FF2B5EF4-FFF2-40B4-BE49-F238E27FC236}">
                  <a16:creationId xmlns:a16="http://schemas.microsoft.com/office/drawing/2014/main" id="{3E8E3230-9156-DD1E-B7F1-16D5D2D1922F}"/>
                </a:ext>
              </a:extLst>
            </p:cNvPr>
            <p:cNvSpPr/>
            <p:nvPr/>
          </p:nvSpPr>
          <p:spPr>
            <a:xfrm rot="14016479" flipH="1">
              <a:off x="11562598" y="1072719"/>
              <a:ext cx="396316" cy="1360756"/>
            </a:xfrm>
            <a:custGeom>
              <a:avLst/>
              <a:gdLst>
                <a:gd name="connsiteX0" fmla="*/ 1895 w 396316"/>
                <a:gd name="connsiteY0" fmla="*/ 1360756 h 1360756"/>
                <a:gd name="connsiteX1" fmla="*/ 179155 w 396316"/>
                <a:gd name="connsiteY1" fmla="*/ 1230107 h 1360756"/>
                <a:gd name="connsiteX2" fmla="*/ 179823 w 396316"/>
                <a:gd name="connsiteY2" fmla="*/ 1204153 h 1360756"/>
                <a:gd name="connsiteX3" fmla="*/ 178378 w 396316"/>
                <a:gd name="connsiteY3" fmla="*/ 1173715 h 1360756"/>
                <a:gd name="connsiteX4" fmla="*/ 175128 w 396316"/>
                <a:gd name="connsiteY4" fmla="*/ 1146478 h 1360756"/>
                <a:gd name="connsiteX5" fmla="*/ 173950 w 396316"/>
                <a:gd name="connsiteY5" fmla="*/ 1131536 h 1360756"/>
                <a:gd name="connsiteX6" fmla="*/ 174966 w 396316"/>
                <a:gd name="connsiteY6" fmla="*/ 1116691 h 1360756"/>
                <a:gd name="connsiteX7" fmla="*/ 178122 w 396316"/>
                <a:gd name="connsiteY7" fmla="*/ 1102354 h 1360756"/>
                <a:gd name="connsiteX8" fmla="*/ 183359 w 396316"/>
                <a:gd name="connsiteY8" fmla="*/ 1088934 h 1360756"/>
                <a:gd name="connsiteX9" fmla="*/ 193932 w 396316"/>
                <a:gd name="connsiteY9" fmla="*/ 1064996 h 1360756"/>
                <a:gd name="connsiteX10" fmla="*/ 203713 w 396316"/>
                <a:gd name="connsiteY10" fmla="*/ 1037221 h 1360756"/>
                <a:gd name="connsiteX11" fmla="*/ 212347 w 396316"/>
                <a:gd name="connsiteY11" fmla="*/ 1004914 h 1360756"/>
                <a:gd name="connsiteX12" fmla="*/ 219475 w 396316"/>
                <a:gd name="connsiteY12" fmla="*/ 967371 h 1360756"/>
                <a:gd name="connsiteX13" fmla="*/ 224102 w 396316"/>
                <a:gd name="connsiteY13" fmla="*/ 929167 h 1360756"/>
                <a:gd name="connsiteX14" fmla="*/ 225786 w 396316"/>
                <a:gd name="connsiteY14" fmla="*/ 895028 h 1360756"/>
                <a:gd name="connsiteX15" fmla="*/ 225064 w 396316"/>
                <a:gd name="connsiteY15" fmla="*/ 864486 h 1360756"/>
                <a:gd name="connsiteX16" fmla="*/ 222460 w 396316"/>
                <a:gd name="connsiteY16" fmla="*/ 837076 h 1360756"/>
                <a:gd name="connsiteX17" fmla="*/ 221643 w 396316"/>
                <a:gd name="connsiteY17" fmla="*/ 822065 h 1360756"/>
                <a:gd name="connsiteX18" fmla="*/ 223019 w 396316"/>
                <a:gd name="connsiteY18" fmla="*/ 807234 h 1360756"/>
                <a:gd name="connsiteX19" fmla="*/ 226515 w 396316"/>
                <a:gd name="connsiteY19" fmla="*/ 792993 h 1360756"/>
                <a:gd name="connsiteX20" fmla="*/ 232061 w 396316"/>
                <a:gd name="connsiteY20" fmla="*/ 779753 h 1360756"/>
                <a:gd name="connsiteX21" fmla="*/ 243207 w 396316"/>
                <a:gd name="connsiteY21" fmla="*/ 756187 h 1360756"/>
                <a:gd name="connsiteX22" fmla="*/ 253644 w 396316"/>
                <a:gd name="connsiteY22" fmla="*/ 728742 h 1360756"/>
                <a:gd name="connsiteX23" fmla="*/ 276608 w 396316"/>
                <a:gd name="connsiteY23" fmla="*/ 621274 h 1360756"/>
                <a:gd name="connsiteX24" fmla="*/ 279113 w 396316"/>
                <a:gd name="connsiteY24" fmla="*/ 556509 h 1360756"/>
                <a:gd name="connsiteX25" fmla="*/ 277169 w 396316"/>
                <a:gd name="connsiteY25" fmla="*/ 528954 h 1360756"/>
                <a:gd name="connsiteX26" fmla="*/ 276706 w 396316"/>
                <a:gd name="connsiteY26" fmla="*/ 513865 h 1360756"/>
                <a:gd name="connsiteX27" fmla="*/ 278432 w 396316"/>
                <a:gd name="connsiteY27" fmla="*/ 499051 h 1360756"/>
                <a:gd name="connsiteX28" fmla="*/ 282268 w 396316"/>
                <a:gd name="connsiteY28" fmla="*/ 484919 h 1360756"/>
                <a:gd name="connsiteX29" fmla="*/ 288136 w 396316"/>
                <a:gd name="connsiteY29" fmla="*/ 471875 h 1360756"/>
                <a:gd name="connsiteX30" fmla="*/ 299838 w 396316"/>
                <a:gd name="connsiteY30" fmla="*/ 448689 h 1360756"/>
                <a:gd name="connsiteX31" fmla="*/ 310926 w 396316"/>
                <a:gd name="connsiteY31" fmla="*/ 421596 h 1360756"/>
                <a:gd name="connsiteX32" fmla="*/ 336445 w 396316"/>
                <a:gd name="connsiteY32" fmla="*/ 314779 h 1360756"/>
                <a:gd name="connsiteX33" fmla="*/ 340514 w 396316"/>
                <a:gd name="connsiteY33" fmla="*/ 249962 h 1360756"/>
                <a:gd name="connsiteX34" fmla="*/ 339232 w 396316"/>
                <a:gd name="connsiteY34" fmla="*/ 222259 h 1360756"/>
                <a:gd name="connsiteX35" fmla="*/ 339139 w 396316"/>
                <a:gd name="connsiteY35" fmla="*/ 207132 h 1360756"/>
                <a:gd name="connsiteX36" fmla="*/ 341223 w 396316"/>
                <a:gd name="connsiteY36" fmla="*/ 192357 h 1360756"/>
                <a:gd name="connsiteX37" fmla="*/ 345396 w 396316"/>
                <a:gd name="connsiteY37" fmla="*/ 178344 h 1360756"/>
                <a:gd name="connsiteX38" fmla="*/ 351569 w 396316"/>
                <a:gd name="connsiteY38" fmla="*/ 165499 h 1360756"/>
                <a:gd name="connsiteX39" fmla="*/ 363830 w 396316"/>
                <a:gd name="connsiteY39" fmla="*/ 142708 h 1360756"/>
                <a:gd name="connsiteX40" fmla="*/ 375575 w 396316"/>
                <a:gd name="connsiteY40" fmla="*/ 115974 h 1360756"/>
                <a:gd name="connsiteX41" fmla="*/ 386505 w 396316"/>
                <a:gd name="connsiteY41" fmla="*/ 84557 h 1360756"/>
                <a:gd name="connsiteX42" fmla="*/ 396316 w 396316"/>
                <a:gd name="connsiteY42" fmla="*/ 47704 h 1360756"/>
                <a:gd name="connsiteX43" fmla="*/ 328398 w 396316"/>
                <a:gd name="connsiteY43" fmla="*/ 21526 h 1360756"/>
                <a:gd name="connsiteX44" fmla="*/ 296558 w 396316"/>
                <a:gd name="connsiteY44" fmla="*/ 26054 h 1360756"/>
                <a:gd name="connsiteX45" fmla="*/ 228600 w 396316"/>
                <a:gd name="connsiteY45" fmla="*/ 0 h 1360756"/>
                <a:gd name="connsiteX46" fmla="*/ 221212 w 396316"/>
                <a:gd name="connsiteY46" fmla="*/ 38637 h 1360756"/>
                <a:gd name="connsiteX47" fmla="*/ 217251 w 396316"/>
                <a:gd name="connsiteY47" fmla="*/ 73398 h 1360756"/>
                <a:gd name="connsiteX48" fmla="*/ 216101 w 396316"/>
                <a:gd name="connsiteY48" fmla="*/ 104666 h 1360756"/>
                <a:gd name="connsiteX49" fmla="*/ 217137 w 396316"/>
                <a:gd name="connsiteY49" fmla="*/ 132829 h 1360756"/>
                <a:gd name="connsiteX50" fmla="*/ 217148 w 396316"/>
                <a:gd name="connsiteY50" fmla="*/ 148202 h 1360756"/>
                <a:gd name="connsiteX51" fmla="*/ 215014 w 396316"/>
                <a:gd name="connsiteY51" fmla="*/ 163216 h 1360756"/>
                <a:gd name="connsiteX52" fmla="*/ 210819 w 396316"/>
                <a:gd name="connsiteY52" fmla="*/ 177476 h 1360756"/>
                <a:gd name="connsiteX53" fmla="*/ 204649 w 396316"/>
                <a:gd name="connsiteY53" fmla="*/ 190595 h 1360756"/>
                <a:gd name="connsiteX54" fmla="*/ 192480 w 396316"/>
                <a:gd name="connsiteY54" fmla="*/ 213957 h 1360756"/>
                <a:gd name="connsiteX55" fmla="*/ 180943 w 396316"/>
                <a:gd name="connsiteY55" fmla="*/ 241431 h 1360756"/>
                <a:gd name="connsiteX56" fmla="*/ 161271 w 396316"/>
                <a:gd name="connsiteY56" fmla="*/ 311640 h 1360756"/>
                <a:gd name="connsiteX57" fmla="*/ 151682 w 396316"/>
                <a:gd name="connsiteY57" fmla="*/ 385226 h 1360756"/>
                <a:gd name="connsiteX58" fmla="*/ 151281 w 396316"/>
                <a:gd name="connsiteY58" fmla="*/ 416450 h 1360756"/>
                <a:gd name="connsiteX59" fmla="*/ 153002 w 396316"/>
                <a:gd name="connsiteY59" fmla="*/ 444494 h 1360756"/>
                <a:gd name="connsiteX60" fmla="*/ 153382 w 396316"/>
                <a:gd name="connsiteY60" fmla="*/ 459803 h 1360756"/>
                <a:gd name="connsiteX61" fmla="*/ 151607 w 396316"/>
                <a:gd name="connsiteY61" fmla="*/ 474842 h 1360756"/>
                <a:gd name="connsiteX62" fmla="*/ 147754 w 396316"/>
                <a:gd name="connsiteY62" fmla="*/ 489214 h 1360756"/>
                <a:gd name="connsiteX63" fmla="*/ 141899 w 396316"/>
                <a:gd name="connsiteY63" fmla="*/ 502531 h 1360756"/>
                <a:gd name="connsiteX64" fmla="*/ 130300 w 396316"/>
                <a:gd name="connsiteY64" fmla="*/ 526301 h 1360756"/>
                <a:gd name="connsiteX65" fmla="*/ 119429 w 396316"/>
                <a:gd name="connsiteY65" fmla="*/ 554139 h 1360756"/>
                <a:gd name="connsiteX66" fmla="*/ 109680 w 396316"/>
                <a:gd name="connsiteY66" fmla="*/ 586758 h 1360756"/>
                <a:gd name="connsiteX67" fmla="*/ 101449 w 396316"/>
                <a:gd name="connsiteY67" fmla="*/ 624880 h 1360756"/>
                <a:gd name="connsiteX68" fmla="*/ 95922 w 396316"/>
                <a:gd name="connsiteY68" fmla="*/ 663796 h 1360756"/>
                <a:gd name="connsiteX69" fmla="*/ 93627 w 396316"/>
                <a:gd name="connsiteY69" fmla="*/ 698615 h 1360756"/>
                <a:gd name="connsiteX70" fmla="*/ 93970 w 396316"/>
                <a:gd name="connsiteY70" fmla="*/ 729759 h 1360756"/>
                <a:gd name="connsiteX71" fmla="*/ 96355 w 396316"/>
                <a:gd name="connsiteY71" fmla="*/ 757660 h 1360756"/>
                <a:gd name="connsiteX72" fmla="*/ 97105 w 396316"/>
                <a:gd name="connsiteY72" fmla="*/ 772918 h 1360756"/>
                <a:gd name="connsiteX73" fmla="*/ 95692 w 396316"/>
                <a:gd name="connsiteY73" fmla="*/ 787986 h 1360756"/>
                <a:gd name="connsiteX74" fmla="*/ 92188 w 396316"/>
                <a:gd name="connsiteY74" fmla="*/ 802466 h 1360756"/>
                <a:gd name="connsiteX75" fmla="*/ 86660 w 396316"/>
                <a:gd name="connsiteY75" fmla="*/ 815968 h 1360756"/>
                <a:gd name="connsiteX76" fmla="*/ 75630 w 396316"/>
                <a:gd name="connsiteY76" fmla="*/ 840114 h 1360756"/>
                <a:gd name="connsiteX77" fmla="*/ 65425 w 396316"/>
                <a:gd name="connsiteY77" fmla="*/ 868288 h 1360756"/>
                <a:gd name="connsiteX78" fmla="*/ 56457 w 396316"/>
                <a:gd name="connsiteY78" fmla="*/ 901192 h 1360756"/>
                <a:gd name="connsiteX79" fmla="*/ 49136 w 396316"/>
                <a:gd name="connsiteY79" fmla="*/ 939522 h 1360756"/>
                <a:gd name="connsiteX80" fmla="*/ 44538 w 396316"/>
                <a:gd name="connsiteY80" fmla="*/ 978543 h 1360756"/>
                <a:gd name="connsiteX81" fmla="*/ 43071 w 396316"/>
                <a:gd name="connsiteY81" fmla="*/ 1013355 h 1360756"/>
                <a:gd name="connsiteX82" fmla="*/ 44152 w 396316"/>
                <a:gd name="connsiteY82" fmla="*/ 1044400 h 1360756"/>
                <a:gd name="connsiteX83" fmla="*/ 47198 w 396316"/>
                <a:gd name="connsiteY83" fmla="*/ 1072130 h 1360756"/>
                <a:gd name="connsiteX84" fmla="*/ 48308 w 396316"/>
                <a:gd name="connsiteY84" fmla="*/ 1087319 h 1360756"/>
                <a:gd name="connsiteX85" fmla="*/ 47258 w 396316"/>
                <a:gd name="connsiteY85" fmla="*/ 1102401 h 1360756"/>
                <a:gd name="connsiteX86" fmla="*/ 44099 w 396316"/>
                <a:gd name="connsiteY86" fmla="*/ 1116978 h 1360756"/>
                <a:gd name="connsiteX87" fmla="*/ 38890 w 396316"/>
                <a:gd name="connsiteY87" fmla="*/ 1130659 h 1360756"/>
                <a:gd name="connsiteX88" fmla="*/ 28435 w 396316"/>
                <a:gd name="connsiteY88" fmla="*/ 1155163 h 1360756"/>
                <a:gd name="connsiteX89" fmla="*/ 18907 w 396316"/>
                <a:gd name="connsiteY89" fmla="*/ 1183657 h 1360756"/>
                <a:gd name="connsiteX90" fmla="*/ 10725 w 396316"/>
                <a:gd name="connsiteY90" fmla="*/ 1216824 h 1360756"/>
                <a:gd name="connsiteX91" fmla="*/ 4314 w 396316"/>
                <a:gd name="connsiteY91" fmla="*/ 1255345 h 1360756"/>
                <a:gd name="connsiteX92" fmla="*/ 643 w 396316"/>
                <a:gd name="connsiteY92" fmla="*/ 1294449 h 1360756"/>
                <a:gd name="connsiteX93" fmla="*/ 0 w 396316"/>
                <a:gd name="connsiteY93" fmla="*/ 1329231 h 1360756"/>
                <a:gd name="connsiteX94" fmla="*/ 1814 w 396316"/>
                <a:gd name="connsiteY94" fmla="*/ 1360158 h 136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96316" h="1360756">
                  <a:moveTo>
                    <a:pt x="1895" y="1360756"/>
                  </a:moveTo>
                  <a:lnTo>
                    <a:pt x="179155" y="1230107"/>
                  </a:lnTo>
                  <a:lnTo>
                    <a:pt x="179823" y="1204153"/>
                  </a:lnTo>
                  <a:lnTo>
                    <a:pt x="178378" y="1173715"/>
                  </a:lnTo>
                  <a:lnTo>
                    <a:pt x="175128" y="1146478"/>
                  </a:lnTo>
                  <a:lnTo>
                    <a:pt x="173950" y="1131536"/>
                  </a:lnTo>
                  <a:lnTo>
                    <a:pt x="174966" y="1116691"/>
                  </a:lnTo>
                  <a:lnTo>
                    <a:pt x="178122" y="1102354"/>
                  </a:lnTo>
                  <a:lnTo>
                    <a:pt x="183359" y="1088934"/>
                  </a:lnTo>
                  <a:lnTo>
                    <a:pt x="193932" y="1064996"/>
                  </a:lnTo>
                  <a:lnTo>
                    <a:pt x="203713" y="1037221"/>
                  </a:lnTo>
                  <a:lnTo>
                    <a:pt x="212347" y="1004914"/>
                  </a:lnTo>
                  <a:lnTo>
                    <a:pt x="219475" y="967371"/>
                  </a:lnTo>
                  <a:lnTo>
                    <a:pt x="224102" y="929167"/>
                  </a:lnTo>
                  <a:lnTo>
                    <a:pt x="225786" y="895028"/>
                  </a:lnTo>
                  <a:lnTo>
                    <a:pt x="225064" y="864486"/>
                  </a:lnTo>
                  <a:lnTo>
                    <a:pt x="222460" y="837076"/>
                  </a:lnTo>
                  <a:lnTo>
                    <a:pt x="221643" y="822065"/>
                  </a:lnTo>
                  <a:lnTo>
                    <a:pt x="223019" y="807234"/>
                  </a:lnTo>
                  <a:lnTo>
                    <a:pt x="226515" y="792993"/>
                  </a:lnTo>
                  <a:lnTo>
                    <a:pt x="232061" y="779753"/>
                  </a:lnTo>
                  <a:lnTo>
                    <a:pt x="243207" y="756187"/>
                  </a:lnTo>
                  <a:lnTo>
                    <a:pt x="253644" y="728742"/>
                  </a:lnTo>
                  <a:lnTo>
                    <a:pt x="276608" y="621274"/>
                  </a:lnTo>
                  <a:lnTo>
                    <a:pt x="279113" y="556509"/>
                  </a:lnTo>
                  <a:lnTo>
                    <a:pt x="277169" y="528954"/>
                  </a:lnTo>
                  <a:lnTo>
                    <a:pt x="276706" y="513865"/>
                  </a:lnTo>
                  <a:lnTo>
                    <a:pt x="278432" y="499051"/>
                  </a:lnTo>
                  <a:lnTo>
                    <a:pt x="282268" y="484919"/>
                  </a:lnTo>
                  <a:lnTo>
                    <a:pt x="288136" y="471875"/>
                  </a:lnTo>
                  <a:lnTo>
                    <a:pt x="299838" y="448689"/>
                  </a:lnTo>
                  <a:lnTo>
                    <a:pt x="310926" y="421596"/>
                  </a:lnTo>
                  <a:lnTo>
                    <a:pt x="336445" y="314779"/>
                  </a:lnTo>
                  <a:lnTo>
                    <a:pt x="340514" y="249962"/>
                  </a:lnTo>
                  <a:lnTo>
                    <a:pt x="339232" y="222259"/>
                  </a:lnTo>
                  <a:lnTo>
                    <a:pt x="339139" y="207132"/>
                  </a:lnTo>
                  <a:lnTo>
                    <a:pt x="341223" y="192357"/>
                  </a:lnTo>
                  <a:lnTo>
                    <a:pt x="345396" y="178344"/>
                  </a:lnTo>
                  <a:lnTo>
                    <a:pt x="351569" y="165499"/>
                  </a:lnTo>
                  <a:lnTo>
                    <a:pt x="363830" y="142708"/>
                  </a:lnTo>
                  <a:lnTo>
                    <a:pt x="375575" y="115974"/>
                  </a:lnTo>
                  <a:lnTo>
                    <a:pt x="386505" y="84557"/>
                  </a:lnTo>
                  <a:lnTo>
                    <a:pt x="396316" y="47704"/>
                  </a:lnTo>
                  <a:lnTo>
                    <a:pt x="328398" y="21526"/>
                  </a:lnTo>
                  <a:lnTo>
                    <a:pt x="296558" y="26054"/>
                  </a:lnTo>
                  <a:lnTo>
                    <a:pt x="228600" y="0"/>
                  </a:lnTo>
                  <a:lnTo>
                    <a:pt x="221212" y="38637"/>
                  </a:lnTo>
                  <a:lnTo>
                    <a:pt x="217251" y="73398"/>
                  </a:lnTo>
                  <a:lnTo>
                    <a:pt x="216101" y="104666"/>
                  </a:lnTo>
                  <a:lnTo>
                    <a:pt x="217137" y="132829"/>
                  </a:lnTo>
                  <a:lnTo>
                    <a:pt x="217148" y="148202"/>
                  </a:lnTo>
                  <a:lnTo>
                    <a:pt x="215014" y="163216"/>
                  </a:lnTo>
                  <a:lnTo>
                    <a:pt x="210819" y="177476"/>
                  </a:lnTo>
                  <a:lnTo>
                    <a:pt x="204649" y="190595"/>
                  </a:lnTo>
                  <a:lnTo>
                    <a:pt x="192480" y="213957"/>
                  </a:lnTo>
                  <a:lnTo>
                    <a:pt x="180943" y="241431"/>
                  </a:lnTo>
                  <a:lnTo>
                    <a:pt x="161271" y="311640"/>
                  </a:lnTo>
                  <a:lnTo>
                    <a:pt x="151682" y="385226"/>
                  </a:lnTo>
                  <a:lnTo>
                    <a:pt x="151281" y="416450"/>
                  </a:lnTo>
                  <a:lnTo>
                    <a:pt x="153002" y="444494"/>
                  </a:lnTo>
                  <a:lnTo>
                    <a:pt x="153382" y="459803"/>
                  </a:lnTo>
                  <a:lnTo>
                    <a:pt x="151607" y="474842"/>
                  </a:lnTo>
                  <a:lnTo>
                    <a:pt x="147754" y="489214"/>
                  </a:lnTo>
                  <a:lnTo>
                    <a:pt x="141899" y="502531"/>
                  </a:lnTo>
                  <a:lnTo>
                    <a:pt x="130300" y="526301"/>
                  </a:lnTo>
                  <a:lnTo>
                    <a:pt x="119429" y="554139"/>
                  </a:lnTo>
                  <a:lnTo>
                    <a:pt x="109680" y="586758"/>
                  </a:lnTo>
                  <a:lnTo>
                    <a:pt x="101449" y="624880"/>
                  </a:lnTo>
                  <a:lnTo>
                    <a:pt x="95922" y="663796"/>
                  </a:lnTo>
                  <a:lnTo>
                    <a:pt x="93627" y="698615"/>
                  </a:lnTo>
                  <a:lnTo>
                    <a:pt x="93970" y="729759"/>
                  </a:lnTo>
                  <a:lnTo>
                    <a:pt x="96355" y="757660"/>
                  </a:lnTo>
                  <a:lnTo>
                    <a:pt x="97105" y="772918"/>
                  </a:lnTo>
                  <a:lnTo>
                    <a:pt x="95692" y="787986"/>
                  </a:lnTo>
                  <a:lnTo>
                    <a:pt x="92188" y="802466"/>
                  </a:lnTo>
                  <a:lnTo>
                    <a:pt x="86660" y="815968"/>
                  </a:lnTo>
                  <a:lnTo>
                    <a:pt x="75630" y="840114"/>
                  </a:lnTo>
                  <a:lnTo>
                    <a:pt x="65425" y="868288"/>
                  </a:lnTo>
                  <a:lnTo>
                    <a:pt x="56457" y="901192"/>
                  </a:lnTo>
                  <a:lnTo>
                    <a:pt x="49136" y="939522"/>
                  </a:lnTo>
                  <a:lnTo>
                    <a:pt x="44538" y="978543"/>
                  </a:lnTo>
                  <a:lnTo>
                    <a:pt x="43071" y="1013355"/>
                  </a:lnTo>
                  <a:lnTo>
                    <a:pt x="44152" y="1044400"/>
                  </a:lnTo>
                  <a:lnTo>
                    <a:pt x="47198" y="1072130"/>
                  </a:lnTo>
                  <a:lnTo>
                    <a:pt x="48308" y="1087319"/>
                  </a:lnTo>
                  <a:lnTo>
                    <a:pt x="47258" y="1102401"/>
                  </a:lnTo>
                  <a:lnTo>
                    <a:pt x="44099" y="1116978"/>
                  </a:lnTo>
                  <a:lnTo>
                    <a:pt x="38890" y="1130659"/>
                  </a:lnTo>
                  <a:lnTo>
                    <a:pt x="28435" y="1155163"/>
                  </a:lnTo>
                  <a:lnTo>
                    <a:pt x="18907" y="1183657"/>
                  </a:lnTo>
                  <a:lnTo>
                    <a:pt x="10725" y="1216824"/>
                  </a:lnTo>
                  <a:lnTo>
                    <a:pt x="4314" y="1255345"/>
                  </a:lnTo>
                  <a:lnTo>
                    <a:pt x="643" y="1294449"/>
                  </a:lnTo>
                  <a:lnTo>
                    <a:pt x="0" y="1329231"/>
                  </a:lnTo>
                  <a:lnTo>
                    <a:pt x="1814" y="1360158"/>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5" name="Freeform: Shape 24">
              <a:extLst>
                <a:ext uri="{FF2B5EF4-FFF2-40B4-BE49-F238E27FC236}">
                  <a16:creationId xmlns:a16="http://schemas.microsoft.com/office/drawing/2014/main" id="{EC32B673-4698-7A79-A0A1-1C9D7A9F6DD6}"/>
                </a:ext>
              </a:extLst>
            </p:cNvPr>
            <p:cNvSpPr/>
            <p:nvPr/>
          </p:nvSpPr>
          <p:spPr>
            <a:xfrm rot="2178052">
              <a:off x="3337106" y="-195329"/>
              <a:ext cx="824420" cy="956250"/>
            </a:xfrm>
            <a:custGeom>
              <a:avLst/>
              <a:gdLst>
                <a:gd name="connsiteX0" fmla="*/ 7604 w 824420"/>
                <a:gd name="connsiteY0" fmla="*/ 424448 h 956250"/>
                <a:gd name="connsiteX1" fmla="*/ 585403 w 824420"/>
                <a:gd name="connsiteY1" fmla="*/ 0 h 956250"/>
                <a:gd name="connsiteX2" fmla="*/ 586429 w 824420"/>
                <a:gd name="connsiteY2" fmla="*/ 500 h 956250"/>
                <a:gd name="connsiteX3" fmla="*/ 608584 w 824420"/>
                <a:gd name="connsiteY3" fmla="*/ 15155 h 956250"/>
                <a:gd name="connsiteX4" fmla="*/ 665559 w 824420"/>
                <a:gd name="connsiteY4" fmla="*/ 46054 h 956250"/>
                <a:gd name="connsiteX5" fmla="*/ 696328 w 824420"/>
                <a:gd name="connsiteY5" fmla="*/ 82429 h 956250"/>
                <a:gd name="connsiteX6" fmla="*/ 763602 w 824420"/>
                <a:gd name="connsiteY6" fmla="*/ 138099 h 956250"/>
                <a:gd name="connsiteX7" fmla="*/ 824357 w 824420"/>
                <a:gd name="connsiteY7" fmla="*/ 267302 h 956250"/>
                <a:gd name="connsiteX8" fmla="*/ 779769 w 824420"/>
                <a:gd name="connsiteY8" fmla="*/ 384118 h 956250"/>
                <a:gd name="connsiteX9" fmla="*/ 654868 w 824420"/>
                <a:gd name="connsiteY9" fmla="*/ 444613 h 956250"/>
                <a:gd name="connsiteX10" fmla="*/ 515887 w 824420"/>
                <a:gd name="connsiteY10" fmla="*/ 439007 h 956250"/>
                <a:gd name="connsiteX11" fmla="*/ 445614 w 824420"/>
                <a:gd name="connsiteY11" fmla="*/ 369386 h 956250"/>
                <a:gd name="connsiteX12" fmla="*/ 419669 w 824420"/>
                <a:gd name="connsiteY12" fmla="*/ 372254 h 956250"/>
                <a:gd name="connsiteX13" fmla="*/ 385510 w 824420"/>
                <a:gd name="connsiteY13" fmla="*/ 384640 h 956250"/>
                <a:gd name="connsiteX14" fmla="*/ 386684 w 824420"/>
                <a:gd name="connsiteY14" fmla="*/ 412280 h 956250"/>
                <a:gd name="connsiteX15" fmla="*/ 364520 w 824420"/>
                <a:gd name="connsiteY15" fmla="*/ 460128 h 956250"/>
                <a:gd name="connsiteX16" fmla="*/ 412759 w 824420"/>
                <a:gd name="connsiteY16" fmla="*/ 484769 h 956250"/>
                <a:gd name="connsiteX17" fmla="*/ 429838 w 824420"/>
                <a:gd name="connsiteY17" fmla="*/ 512017 h 956250"/>
                <a:gd name="connsiteX18" fmla="*/ 564256 w 824420"/>
                <a:gd name="connsiteY18" fmla="*/ 492070 h 956250"/>
                <a:gd name="connsiteX19" fmla="*/ 722143 w 824420"/>
                <a:gd name="connsiteY19" fmla="*/ 609930 h 956250"/>
                <a:gd name="connsiteX20" fmla="*/ 716666 w 824420"/>
                <a:gd name="connsiteY20" fmla="*/ 832612 h 956250"/>
                <a:gd name="connsiteX21" fmla="*/ 606889 w 824420"/>
                <a:gd name="connsiteY21" fmla="*/ 916574 h 956250"/>
                <a:gd name="connsiteX22" fmla="*/ 531662 w 824420"/>
                <a:gd name="connsiteY22" fmla="*/ 956078 h 956250"/>
                <a:gd name="connsiteX23" fmla="*/ 402720 w 824420"/>
                <a:gd name="connsiteY23" fmla="*/ 906535 h 956250"/>
                <a:gd name="connsiteX24" fmla="*/ 314586 w 824420"/>
                <a:gd name="connsiteY24" fmla="*/ 887761 h 956250"/>
                <a:gd name="connsiteX25" fmla="*/ 267781 w 824420"/>
                <a:gd name="connsiteY25" fmla="*/ 855819 h 956250"/>
                <a:gd name="connsiteX26" fmla="*/ 174822 w 824420"/>
                <a:gd name="connsiteY26" fmla="*/ 807189 h 956250"/>
                <a:gd name="connsiteX27" fmla="*/ 107027 w 824420"/>
                <a:gd name="connsiteY27" fmla="*/ 730919 h 956250"/>
                <a:gd name="connsiteX28" fmla="*/ 37014 w 824420"/>
                <a:gd name="connsiteY28" fmla="*/ 609148 h 956250"/>
                <a:gd name="connsiteX29" fmla="*/ 2204 w 824420"/>
                <a:gd name="connsiteY29" fmla="*/ 524012 h 956250"/>
                <a:gd name="connsiteX30" fmla="*/ 14590 w 824420"/>
                <a:gd name="connsiteY30" fmla="*/ 457520 h 956250"/>
                <a:gd name="connsiteX31" fmla="*/ 9880 w 824420"/>
                <a:gd name="connsiteY31" fmla="*/ 431771 h 9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420" h="956250">
                  <a:moveTo>
                    <a:pt x="7604" y="424448"/>
                  </a:moveTo>
                  <a:lnTo>
                    <a:pt x="585403" y="0"/>
                  </a:lnTo>
                  <a:lnTo>
                    <a:pt x="586429" y="500"/>
                  </a:lnTo>
                  <a:cubicBezTo>
                    <a:pt x="595172" y="5792"/>
                    <a:pt x="602457" y="11015"/>
                    <a:pt x="608584" y="15155"/>
                  </a:cubicBezTo>
                  <a:cubicBezTo>
                    <a:pt x="633095" y="31712"/>
                    <a:pt x="642091" y="30278"/>
                    <a:pt x="665559" y="46054"/>
                  </a:cubicBezTo>
                  <a:cubicBezTo>
                    <a:pt x="674033" y="51790"/>
                    <a:pt x="688375" y="63002"/>
                    <a:pt x="696328" y="82429"/>
                  </a:cubicBezTo>
                  <a:cubicBezTo>
                    <a:pt x="704281" y="101855"/>
                    <a:pt x="723446" y="108634"/>
                    <a:pt x="763602" y="138099"/>
                  </a:cubicBezTo>
                  <a:cubicBezTo>
                    <a:pt x="803627" y="167564"/>
                    <a:pt x="824357" y="267302"/>
                    <a:pt x="824357" y="267302"/>
                  </a:cubicBezTo>
                  <a:cubicBezTo>
                    <a:pt x="824357" y="267302"/>
                    <a:pt x="828008" y="308631"/>
                    <a:pt x="779769" y="384118"/>
                  </a:cubicBezTo>
                  <a:cubicBezTo>
                    <a:pt x="731660" y="459607"/>
                    <a:pt x="683681" y="448785"/>
                    <a:pt x="654868" y="444613"/>
                  </a:cubicBezTo>
                  <a:cubicBezTo>
                    <a:pt x="626055" y="440441"/>
                    <a:pt x="591505" y="465604"/>
                    <a:pt x="515887" y="439007"/>
                  </a:cubicBezTo>
                  <a:cubicBezTo>
                    <a:pt x="440269" y="412410"/>
                    <a:pt x="445614" y="369386"/>
                    <a:pt x="445614" y="369386"/>
                  </a:cubicBezTo>
                  <a:cubicBezTo>
                    <a:pt x="445614" y="369386"/>
                    <a:pt x="445614" y="369386"/>
                    <a:pt x="419669" y="372254"/>
                  </a:cubicBezTo>
                  <a:cubicBezTo>
                    <a:pt x="405589" y="373819"/>
                    <a:pt x="393724" y="379686"/>
                    <a:pt x="385510" y="384640"/>
                  </a:cubicBezTo>
                  <a:cubicBezTo>
                    <a:pt x="387205" y="394418"/>
                    <a:pt x="387988" y="403936"/>
                    <a:pt x="386684" y="412280"/>
                  </a:cubicBezTo>
                  <a:cubicBezTo>
                    <a:pt x="381730" y="444091"/>
                    <a:pt x="364520" y="460128"/>
                    <a:pt x="364520" y="460128"/>
                  </a:cubicBezTo>
                  <a:cubicBezTo>
                    <a:pt x="364520" y="460128"/>
                    <a:pt x="400634" y="468863"/>
                    <a:pt x="412759" y="484769"/>
                  </a:cubicBezTo>
                  <a:cubicBezTo>
                    <a:pt x="425015" y="500675"/>
                    <a:pt x="429838" y="512017"/>
                    <a:pt x="429838" y="512017"/>
                  </a:cubicBezTo>
                  <a:cubicBezTo>
                    <a:pt x="429838" y="512017"/>
                    <a:pt x="483423" y="465212"/>
                    <a:pt x="564256" y="492070"/>
                  </a:cubicBezTo>
                  <a:cubicBezTo>
                    <a:pt x="645090" y="518928"/>
                    <a:pt x="694894" y="545784"/>
                    <a:pt x="722143" y="609930"/>
                  </a:cubicBezTo>
                  <a:cubicBezTo>
                    <a:pt x="749391" y="674205"/>
                    <a:pt x="770512" y="753865"/>
                    <a:pt x="716666" y="832612"/>
                  </a:cubicBezTo>
                  <a:cubicBezTo>
                    <a:pt x="662561" y="911489"/>
                    <a:pt x="634790" y="907969"/>
                    <a:pt x="606889" y="916574"/>
                  </a:cubicBezTo>
                  <a:cubicBezTo>
                    <a:pt x="578990" y="925179"/>
                    <a:pt x="573383" y="958946"/>
                    <a:pt x="531662" y="956078"/>
                  </a:cubicBezTo>
                  <a:cubicBezTo>
                    <a:pt x="489942" y="953209"/>
                    <a:pt x="421625" y="918530"/>
                    <a:pt x="402720" y="906535"/>
                  </a:cubicBezTo>
                  <a:cubicBezTo>
                    <a:pt x="383815" y="894541"/>
                    <a:pt x="341313" y="900277"/>
                    <a:pt x="314586" y="887761"/>
                  </a:cubicBezTo>
                  <a:cubicBezTo>
                    <a:pt x="287859" y="875375"/>
                    <a:pt x="267781" y="855819"/>
                    <a:pt x="267781" y="855819"/>
                  </a:cubicBezTo>
                  <a:cubicBezTo>
                    <a:pt x="267781" y="855819"/>
                    <a:pt x="211980" y="853993"/>
                    <a:pt x="174822" y="807189"/>
                  </a:cubicBezTo>
                  <a:cubicBezTo>
                    <a:pt x="137665" y="760514"/>
                    <a:pt x="136491" y="752952"/>
                    <a:pt x="107027" y="730919"/>
                  </a:cubicBezTo>
                  <a:cubicBezTo>
                    <a:pt x="77561" y="708755"/>
                    <a:pt x="47836" y="648260"/>
                    <a:pt x="37014" y="609148"/>
                  </a:cubicBezTo>
                  <a:cubicBezTo>
                    <a:pt x="26193" y="570035"/>
                    <a:pt x="9896" y="567688"/>
                    <a:pt x="2204" y="524012"/>
                  </a:cubicBezTo>
                  <a:cubicBezTo>
                    <a:pt x="-5619" y="480336"/>
                    <a:pt x="9505" y="474469"/>
                    <a:pt x="14590" y="457520"/>
                  </a:cubicBezTo>
                  <a:cubicBezTo>
                    <a:pt x="17132" y="449046"/>
                    <a:pt x="13253" y="440213"/>
                    <a:pt x="9880" y="431771"/>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8" name="Freeform: Shape 38">
              <a:extLst>
                <a:ext uri="{FF2B5EF4-FFF2-40B4-BE49-F238E27FC236}">
                  <a16:creationId xmlns:a16="http://schemas.microsoft.com/office/drawing/2014/main" id="{70AE955C-F488-4170-0F06-FDA5A986ECD4}"/>
                </a:ext>
              </a:extLst>
            </p:cNvPr>
            <p:cNvSpPr/>
            <p:nvPr/>
          </p:nvSpPr>
          <p:spPr>
            <a:xfrm rot="2178052">
              <a:off x="4018658" y="599530"/>
              <a:ext cx="811337" cy="846750"/>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9" name="Freeform: Shape 38">
              <a:extLst>
                <a:ext uri="{FF2B5EF4-FFF2-40B4-BE49-F238E27FC236}">
                  <a16:creationId xmlns:a16="http://schemas.microsoft.com/office/drawing/2014/main" id="{65BE474B-8D54-6B49-E928-0753148BA9FC}"/>
                </a:ext>
              </a:extLst>
            </p:cNvPr>
            <p:cNvSpPr/>
            <p:nvPr/>
          </p:nvSpPr>
          <p:spPr>
            <a:xfrm rot="2178052">
              <a:off x="4437060" y="-235812"/>
              <a:ext cx="896460" cy="864605"/>
            </a:xfrm>
            <a:custGeom>
              <a:avLst/>
              <a:gdLst>
                <a:gd name="connsiteX0" fmla="*/ 0 w 896460"/>
                <a:gd name="connsiteY0" fmla="*/ 517761 h 864605"/>
                <a:gd name="connsiteX1" fmla="*/ 341535 w 896460"/>
                <a:gd name="connsiteY1" fmla="*/ 266871 h 864605"/>
                <a:gd name="connsiteX2" fmla="*/ 348784 w 896460"/>
                <a:gd name="connsiteY2" fmla="*/ 284936 h 864605"/>
                <a:gd name="connsiteX3" fmla="*/ 355026 w 896460"/>
                <a:gd name="connsiteY3" fmla="*/ 317547 h 864605"/>
                <a:gd name="connsiteX4" fmla="*/ 346682 w 896460"/>
                <a:gd name="connsiteY4" fmla="*/ 367220 h 864605"/>
                <a:gd name="connsiteX5" fmla="*/ 347464 w 896460"/>
                <a:gd name="connsiteY5" fmla="*/ 368654 h 864605"/>
                <a:gd name="connsiteX6" fmla="*/ 364283 w 896460"/>
                <a:gd name="connsiteY6" fmla="*/ 417285 h 864605"/>
                <a:gd name="connsiteX7" fmla="*/ 406394 w 896460"/>
                <a:gd name="connsiteY7" fmla="*/ 437623 h 864605"/>
                <a:gd name="connsiteX8" fmla="*/ 428819 w 896460"/>
                <a:gd name="connsiteY8" fmla="*/ 460048 h 864605"/>
                <a:gd name="connsiteX9" fmla="*/ 449418 w 896460"/>
                <a:gd name="connsiteY9" fmla="*/ 454442 h 864605"/>
                <a:gd name="connsiteX10" fmla="*/ 463368 w 896460"/>
                <a:gd name="connsiteY10" fmla="*/ 442578 h 864605"/>
                <a:gd name="connsiteX11" fmla="*/ 503785 w 896460"/>
                <a:gd name="connsiteY11" fmla="*/ 420674 h 864605"/>
                <a:gd name="connsiteX12" fmla="*/ 481360 w 896460"/>
                <a:gd name="connsiteY12" fmla="*/ 378041 h 864605"/>
                <a:gd name="connsiteX13" fmla="*/ 471451 w 896460"/>
                <a:gd name="connsiteY13" fmla="*/ 303727 h 864605"/>
                <a:gd name="connsiteX14" fmla="*/ 403917 w 896460"/>
                <a:gd name="connsiteY14" fmla="*/ 228892 h 864605"/>
                <a:gd name="connsiteX15" fmla="*/ 401186 w 896460"/>
                <a:gd name="connsiteY15" fmla="*/ 223052 h 864605"/>
                <a:gd name="connsiteX16" fmla="*/ 704824 w 896460"/>
                <a:gd name="connsiteY16" fmla="*/ 0 h 864605"/>
                <a:gd name="connsiteX17" fmla="*/ 720340 w 896460"/>
                <a:gd name="connsiteY17" fmla="*/ 17422 h 864605"/>
                <a:gd name="connsiteX18" fmla="*/ 738593 w 896460"/>
                <a:gd name="connsiteY18" fmla="*/ 29155 h 864605"/>
                <a:gd name="connsiteX19" fmla="*/ 828553 w 896460"/>
                <a:gd name="connsiteY19" fmla="*/ 103861 h 864605"/>
                <a:gd name="connsiteX20" fmla="*/ 862320 w 896460"/>
                <a:gd name="connsiteY20" fmla="*/ 222112 h 864605"/>
                <a:gd name="connsiteX21" fmla="*/ 864015 w 896460"/>
                <a:gd name="connsiteY21" fmla="*/ 246493 h 864605"/>
                <a:gd name="connsiteX22" fmla="*/ 867927 w 896460"/>
                <a:gd name="connsiteY22" fmla="*/ 265136 h 864605"/>
                <a:gd name="connsiteX23" fmla="*/ 878617 w 896460"/>
                <a:gd name="connsiteY23" fmla="*/ 314418 h 864605"/>
                <a:gd name="connsiteX24" fmla="*/ 895957 w 896460"/>
                <a:gd name="connsiteY24" fmla="*/ 402943 h 864605"/>
                <a:gd name="connsiteX25" fmla="*/ 871838 w 896460"/>
                <a:gd name="connsiteY25" fmla="*/ 465394 h 864605"/>
                <a:gd name="connsiteX26" fmla="*/ 843285 w 896460"/>
                <a:gd name="connsiteY26" fmla="*/ 575692 h 864605"/>
                <a:gd name="connsiteX27" fmla="*/ 836114 w 896460"/>
                <a:gd name="connsiteY27" fmla="*/ 586122 h 864605"/>
                <a:gd name="connsiteX28" fmla="*/ 818513 w 896460"/>
                <a:gd name="connsiteY28" fmla="*/ 616499 h 864605"/>
                <a:gd name="connsiteX29" fmla="*/ 808214 w 896460"/>
                <a:gd name="connsiteY29" fmla="*/ 639836 h 864605"/>
                <a:gd name="connsiteX30" fmla="*/ 728163 w 896460"/>
                <a:gd name="connsiteY30" fmla="*/ 712717 h 864605"/>
                <a:gd name="connsiteX31" fmla="*/ 671449 w 896460"/>
                <a:gd name="connsiteY31" fmla="*/ 762520 h 864605"/>
                <a:gd name="connsiteX32" fmla="*/ 590615 w 896460"/>
                <a:gd name="connsiteY32" fmla="*/ 787422 h 864605"/>
                <a:gd name="connsiteX33" fmla="*/ 541594 w 896460"/>
                <a:gd name="connsiteY33" fmla="*/ 814932 h 864605"/>
                <a:gd name="connsiteX34" fmla="*/ 509522 w 896460"/>
                <a:gd name="connsiteY34" fmla="*/ 818322 h 864605"/>
                <a:gd name="connsiteX35" fmla="*/ 426472 w 896460"/>
                <a:gd name="connsiteY35" fmla="*/ 862518 h 864605"/>
                <a:gd name="connsiteX36" fmla="*/ 407307 w 896460"/>
                <a:gd name="connsiteY36" fmla="*/ 864605 h 864605"/>
                <a:gd name="connsiteX37" fmla="*/ 341075 w 896460"/>
                <a:gd name="connsiteY37" fmla="*/ 843354 h 864605"/>
                <a:gd name="connsiteX38" fmla="*/ 326212 w 896460"/>
                <a:gd name="connsiteY38" fmla="*/ 836052 h 864605"/>
                <a:gd name="connsiteX39" fmla="*/ 288534 w 896460"/>
                <a:gd name="connsiteY39" fmla="*/ 832011 h 864605"/>
                <a:gd name="connsiteX40" fmla="*/ 207440 w 896460"/>
                <a:gd name="connsiteY40" fmla="*/ 819233 h 864605"/>
                <a:gd name="connsiteX41" fmla="*/ 78497 w 896460"/>
                <a:gd name="connsiteY41" fmla="*/ 701374 h 864605"/>
                <a:gd name="connsiteX42" fmla="*/ 46164 w 896460"/>
                <a:gd name="connsiteY42" fmla="*/ 607373 h 864605"/>
                <a:gd name="connsiteX43" fmla="*/ 43034 w 896460"/>
                <a:gd name="connsiteY43" fmla="*/ 582471 h 864605"/>
                <a:gd name="connsiteX44" fmla="*/ 40688 w 896460"/>
                <a:gd name="connsiteY44" fmla="*/ 579473 h 864605"/>
                <a:gd name="connsiteX45" fmla="*/ 8697 w 896460"/>
                <a:gd name="connsiteY45" fmla="*/ 534656 h 86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96460" h="864605">
                  <a:moveTo>
                    <a:pt x="0" y="517761"/>
                  </a:moveTo>
                  <a:lnTo>
                    <a:pt x="341535" y="266871"/>
                  </a:lnTo>
                  <a:lnTo>
                    <a:pt x="348784" y="284936"/>
                  </a:lnTo>
                  <a:cubicBezTo>
                    <a:pt x="351277" y="293297"/>
                    <a:pt x="353592" y="304053"/>
                    <a:pt x="355026" y="317547"/>
                  </a:cubicBezTo>
                  <a:cubicBezTo>
                    <a:pt x="357633" y="343231"/>
                    <a:pt x="352157" y="358615"/>
                    <a:pt x="346682" y="367220"/>
                  </a:cubicBezTo>
                  <a:lnTo>
                    <a:pt x="347464" y="368654"/>
                  </a:lnTo>
                  <a:cubicBezTo>
                    <a:pt x="352418" y="377650"/>
                    <a:pt x="359589" y="400858"/>
                    <a:pt x="364283" y="417285"/>
                  </a:cubicBezTo>
                  <a:cubicBezTo>
                    <a:pt x="378233" y="420805"/>
                    <a:pt x="394790" y="426933"/>
                    <a:pt x="406394" y="437623"/>
                  </a:cubicBezTo>
                  <a:cubicBezTo>
                    <a:pt x="416694" y="447010"/>
                    <a:pt x="423995" y="454702"/>
                    <a:pt x="428819" y="460048"/>
                  </a:cubicBezTo>
                  <a:cubicBezTo>
                    <a:pt x="434816" y="457571"/>
                    <a:pt x="442508" y="454963"/>
                    <a:pt x="449418" y="454442"/>
                  </a:cubicBezTo>
                  <a:cubicBezTo>
                    <a:pt x="454503" y="449879"/>
                    <a:pt x="459066" y="445967"/>
                    <a:pt x="463368" y="442578"/>
                  </a:cubicBezTo>
                  <a:cubicBezTo>
                    <a:pt x="473407" y="434625"/>
                    <a:pt x="486966" y="427193"/>
                    <a:pt x="503785" y="420674"/>
                  </a:cubicBezTo>
                  <a:cubicBezTo>
                    <a:pt x="495571" y="407116"/>
                    <a:pt x="486966" y="391471"/>
                    <a:pt x="481360" y="378041"/>
                  </a:cubicBezTo>
                  <a:cubicBezTo>
                    <a:pt x="471191" y="353922"/>
                    <a:pt x="471060" y="318720"/>
                    <a:pt x="471451" y="303727"/>
                  </a:cubicBezTo>
                  <a:cubicBezTo>
                    <a:pt x="458805" y="293558"/>
                    <a:pt x="427775" y="266831"/>
                    <a:pt x="403917" y="228892"/>
                  </a:cubicBezTo>
                  <a:lnTo>
                    <a:pt x="401186" y="223052"/>
                  </a:lnTo>
                  <a:lnTo>
                    <a:pt x="704824" y="0"/>
                  </a:lnTo>
                  <a:lnTo>
                    <a:pt x="720340" y="17422"/>
                  </a:lnTo>
                  <a:cubicBezTo>
                    <a:pt x="722036" y="19638"/>
                    <a:pt x="731162" y="24853"/>
                    <a:pt x="738593" y="29155"/>
                  </a:cubicBezTo>
                  <a:cubicBezTo>
                    <a:pt x="762061" y="42584"/>
                    <a:pt x="797523" y="63053"/>
                    <a:pt x="828553" y="103861"/>
                  </a:cubicBezTo>
                  <a:cubicBezTo>
                    <a:pt x="854106" y="137367"/>
                    <a:pt x="856844" y="165659"/>
                    <a:pt x="862320" y="222112"/>
                  </a:cubicBezTo>
                  <a:cubicBezTo>
                    <a:pt x="863363" y="232803"/>
                    <a:pt x="863754" y="240495"/>
                    <a:pt x="864015" y="246493"/>
                  </a:cubicBezTo>
                  <a:cubicBezTo>
                    <a:pt x="864537" y="258356"/>
                    <a:pt x="864797" y="260051"/>
                    <a:pt x="867927" y="265136"/>
                  </a:cubicBezTo>
                  <a:cubicBezTo>
                    <a:pt x="878095" y="281303"/>
                    <a:pt x="878748" y="305422"/>
                    <a:pt x="878617" y="314418"/>
                  </a:cubicBezTo>
                  <a:cubicBezTo>
                    <a:pt x="883572" y="325630"/>
                    <a:pt x="899477" y="365656"/>
                    <a:pt x="895957" y="402943"/>
                  </a:cubicBezTo>
                  <a:cubicBezTo>
                    <a:pt x="892698" y="436319"/>
                    <a:pt x="878878" y="456919"/>
                    <a:pt x="871838" y="465394"/>
                  </a:cubicBezTo>
                  <a:cubicBezTo>
                    <a:pt x="871447" y="482864"/>
                    <a:pt x="868057" y="539577"/>
                    <a:pt x="843285" y="575692"/>
                  </a:cubicBezTo>
                  <a:lnTo>
                    <a:pt x="836114" y="586122"/>
                  </a:lnTo>
                  <a:cubicBezTo>
                    <a:pt x="823859" y="603984"/>
                    <a:pt x="823859" y="603984"/>
                    <a:pt x="818513" y="616499"/>
                  </a:cubicBezTo>
                  <a:cubicBezTo>
                    <a:pt x="816297" y="621715"/>
                    <a:pt x="813168" y="628885"/>
                    <a:pt x="808214" y="639836"/>
                  </a:cubicBezTo>
                  <a:cubicBezTo>
                    <a:pt x="789049" y="682208"/>
                    <a:pt x="741201" y="706720"/>
                    <a:pt x="728163" y="712717"/>
                  </a:cubicBezTo>
                  <a:cubicBezTo>
                    <a:pt x="722035" y="720279"/>
                    <a:pt x="703913" y="740748"/>
                    <a:pt x="671449" y="762520"/>
                  </a:cubicBezTo>
                  <a:cubicBezTo>
                    <a:pt x="638203" y="785075"/>
                    <a:pt x="603262" y="787422"/>
                    <a:pt x="590615" y="787422"/>
                  </a:cubicBezTo>
                  <a:cubicBezTo>
                    <a:pt x="581750" y="793550"/>
                    <a:pt x="558152" y="809065"/>
                    <a:pt x="541594" y="814932"/>
                  </a:cubicBezTo>
                  <a:cubicBezTo>
                    <a:pt x="529469" y="819103"/>
                    <a:pt x="518257" y="818843"/>
                    <a:pt x="509522" y="818322"/>
                  </a:cubicBezTo>
                  <a:cubicBezTo>
                    <a:pt x="482143" y="842180"/>
                    <a:pt x="447723" y="857825"/>
                    <a:pt x="426472" y="862518"/>
                  </a:cubicBezTo>
                  <a:cubicBezTo>
                    <a:pt x="419953" y="863953"/>
                    <a:pt x="413434" y="864605"/>
                    <a:pt x="407307" y="864605"/>
                  </a:cubicBezTo>
                  <a:cubicBezTo>
                    <a:pt x="379928" y="864605"/>
                    <a:pt x="357112" y="852219"/>
                    <a:pt x="341075" y="843354"/>
                  </a:cubicBezTo>
                  <a:cubicBezTo>
                    <a:pt x="335208" y="840094"/>
                    <a:pt x="329603" y="837095"/>
                    <a:pt x="326212" y="836052"/>
                  </a:cubicBezTo>
                  <a:cubicBezTo>
                    <a:pt x="318520" y="833706"/>
                    <a:pt x="303918" y="832924"/>
                    <a:pt x="288534" y="832011"/>
                  </a:cubicBezTo>
                  <a:cubicBezTo>
                    <a:pt x="263371" y="830577"/>
                    <a:pt x="232080" y="828882"/>
                    <a:pt x="207440" y="819233"/>
                  </a:cubicBezTo>
                  <a:cubicBezTo>
                    <a:pt x="159591" y="800590"/>
                    <a:pt x="121130" y="765389"/>
                    <a:pt x="78497" y="701374"/>
                  </a:cubicBezTo>
                  <a:cubicBezTo>
                    <a:pt x="51248" y="660306"/>
                    <a:pt x="48641" y="633448"/>
                    <a:pt x="46164" y="607373"/>
                  </a:cubicBezTo>
                  <a:cubicBezTo>
                    <a:pt x="45382" y="598898"/>
                    <a:pt x="44599" y="590945"/>
                    <a:pt x="43034" y="582471"/>
                  </a:cubicBezTo>
                  <a:lnTo>
                    <a:pt x="40688" y="579473"/>
                  </a:lnTo>
                  <a:cubicBezTo>
                    <a:pt x="32344" y="569042"/>
                    <a:pt x="20382" y="554147"/>
                    <a:pt x="8697" y="534656"/>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0" name="Freeform 804">
              <a:extLst>
                <a:ext uri="{FF2B5EF4-FFF2-40B4-BE49-F238E27FC236}">
                  <a16:creationId xmlns:a16="http://schemas.microsoft.com/office/drawing/2014/main" id="{A2F5D7E5-A7CF-A991-0565-88B5DA4C8761}"/>
                </a:ext>
              </a:extLst>
            </p:cNvPr>
            <p:cNvSpPr/>
            <p:nvPr/>
          </p:nvSpPr>
          <p:spPr>
            <a:xfrm rot="2446866">
              <a:off x="1632046" y="308867"/>
              <a:ext cx="1252773" cy="581372"/>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grp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3" name="Freeform: Shape 12">
              <a:extLst>
                <a:ext uri="{FF2B5EF4-FFF2-40B4-BE49-F238E27FC236}">
                  <a16:creationId xmlns:a16="http://schemas.microsoft.com/office/drawing/2014/main" id="{DDA5A6CD-236E-CB01-1606-AC3A9BFD6401}"/>
                </a:ext>
              </a:extLst>
            </p:cNvPr>
            <p:cNvSpPr/>
            <p:nvPr/>
          </p:nvSpPr>
          <p:spPr>
            <a:xfrm rot="7810828">
              <a:off x="6121498" y="55300"/>
              <a:ext cx="830632" cy="452973"/>
            </a:xfrm>
            <a:custGeom>
              <a:avLst/>
              <a:gdLst>
                <a:gd name="connsiteX0" fmla="*/ 237757 w 830632"/>
                <a:gd name="connsiteY0" fmla="*/ 452973 h 452973"/>
                <a:gd name="connsiteX1" fmla="*/ 0 w 830632"/>
                <a:gd name="connsiteY1" fmla="*/ 171431 h 452973"/>
                <a:gd name="connsiteX2" fmla="*/ 400522 w 830632"/>
                <a:gd name="connsiteY2" fmla="*/ 91373 h 452973"/>
                <a:gd name="connsiteX3" fmla="*/ 447867 w 830632"/>
                <a:gd name="connsiteY3" fmla="*/ 116410 h 452973"/>
                <a:gd name="connsiteX4" fmla="*/ 483002 w 830632"/>
                <a:gd name="connsiteY4" fmla="*/ 208749 h 452973"/>
                <a:gd name="connsiteX5" fmla="*/ 599632 w 830632"/>
                <a:gd name="connsiteY5" fmla="*/ 95808 h 452973"/>
                <a:gd name="connsiteX6" fmla="*/ 751650 w 830632"/>
                <a:gd name="connsiteY6" fmla="*/ 0 h 452973"/>
                <a:gd name="connsiteX7" fmla="*/ 830632 w 830632"/>
                <a:gd name="connsiteY7" fmla="*/ 355627 h 452973"/>
                <a:gd name="connsiteX8" fmla="*/ 650793 w 830632"/>
                <a:gd name="connsiteY8" fmla="*/ 326186 h 452973"/>
                <a:gd name="connsiteX9" fmla="*/ 496038 w 830632"/>
                <a:gd name="connsiteY9" fmla="*/ 267513 h 452973"/>
                <a:gd name="connsiteX10" fmla="*/ 503162 w 830632"/>
                <a:gd name="connsiteY10" fmla="*/ 365431 h 452973"/>
                <a:gd name="connsiteX11" fmla="*/ 470474 w 830632"/>
                <a:gd name="connsiteY11" fmla="*/ 406457 h 45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632" h="452973">
                  <a:moveTo>
                    <a:pt x="237757" y="452973"/>
                  </a:moveTo>
                  <a:lnTo>
                    <a:pt x="0" y="171431"/>
                  </a:lnTo>
                  <a:lnTo>
                    <a:pt x="400522" y="91373"/>
                  </a:lnTo>
                  <a:cubicBezTo>
                    <a:pt x="420682" y="87361"/>
                    <a:pt x="440872" y="98040"/>
                    <a:pt x="447867" y="116410"/>
                  </a:cubicBezTo>
                  <a:lnTo>
                    <a:pt x="483002" y="208749"/>
                  </a:lnTo>
                  <a:cubicBezTo>
                    <a:pt x="538742" y="197376"/>
                    <a:pt x="553463" y="147632"/>
                    <a:pt x="599632" y="95808"/>
                  </a:cubicBezTo>
                  <a:cubicBezTo>
                    <a:pt x="631524" y="60030"/>
                    <a:pt x="682556" y="13815"/>
                    <a:pt x="751650" y="0"/>
                  </a:cubicBezTo>
                  <a:cubicBezTo>
                    <a:pt x="836197" y="82746"/>
                    <a:pt x="747517" y="282505"/>
                    <a:pt x="830632" y="355627"/>
                  </a:cubicBezTo>
                  <a:cubicBezTo>
                    <a:pt x="761539" y="369444"/>
                    <a:pt x="695180" y="346699"/>
                    <a:pt x="650793" y="326186"/>
                  </a:cubicBezTo>
                  <a:cubicBezTo>
                    <a:pt x="586500" y="296471"/>
                    <a:pt x="551874" y="256592"/>
                    <a:pt x="496038" y="267513"/>
                  </a:cubicBezTo>
                  <a:lnTo>
                    <a:pt x="503162" y="365431"/>
                  </a:lnTo>
                  <a:cubicBezTo>
                    <a:pt x="504592" y="384918"/>
                    <a:pt x="490634" y="402415"/>
                    <a:pt x="470474" y="406457"/>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47" name="Freeform: Shape 46">
              <a:extLst>
                <a:ext uri="{FF2B5EF4-FFF2-40B4-BE49-F238E27FC236}">
                  <a16:creationId xmlns:a16="http://schemas.microsoft.com/office/drawing/2014/main" id="{A834EA7C-7383-3679-D682-F521E10A0371}"/>
                </a:ext>
              </a:extLst>
            </p:cNvPr>
            <p:cNvSpPr>
              <a:spLocks noChangeAspect="1"/>
            </p:cNvSpPr>
            <p:nvPr/>
          </p:nvSpPr>
          <p:spPr>
            <a:xfrm rot="4135771">
              <a:off x="-471911" y="1291003"/>
              <a:ext cx="1445127" cy="1038064"/>
            </a:xfrm>
            <a:custGeom>
              <a:avLst/>
              <a:gdLst>
                <a:gd name="connsiteX0" fmla="*/ 27721 w 1445127"/>
                <a:gd name="connsiteY0" fmla="*/ 428157 h 1038064"/>
                <a:gd name="connsiteX1" fmla="*/ 81240 w 1445127"/>
                <a:gd name="connsiteY1" fmla="*/ 403987 h 1038064"/>
                <a:gd name="connsiteX2" fmla="*/ 72608 w 1445127"/>
                <a:gd name="connsiteY2" fmla="*/ 347014 h 1038064"/>
                <a:gd name="connsiteX3" fmla="*/ 127854 w 1445127"/>
                <a:gd name="connsiteY3" fmla="*/ 329750 h 1038064"/>
                <a:gd name="connsiteX4" fmla="*/ 127854 w 1445127"/>
                <a:gd name="connsiteY4" fmla="*/ 271051 h 1038064"/>
                <a:gd name="connsiteX5" fmla="*/ 184827 w 1445127"/>
                <a:gd name="connsiteY5" fmla="*/ 260692 h 1038064"/>
                <a:gd name="connsiteX6" fmla="*/ 191732 w 1445127"/>
                <a:gd name="connsiteY6" fmla="*/ 201994 h 1038064"/>
                <a:gd name="connsiteX7" fmla="*/ 250432 w 1445127"/>
                <a:gd name="connsiteY7" fmla="*/ 198540 h 1038064"/>
                <a:gd name="connsiteX8" fmla="*/ 264243 w 1445127"/>
                <a:gd name="connsiteY8" fmla="*/ 141568 h 1038064"/>
                <a:gd name="connsiteX9" fmla="*/ 322942 w 1445127"/>
                <a:gd name="connsiteY9" fmla="*/ 146747 h 1038064"/>
                <a:gd name="connsiteX10" fmla="*/ 343659 w 1445127"/>
                <a:gd name="connsiteY10" fmla="*/ 91502 h 1038064"/>
                <a:gd name="connsiteX11" fmla="*/ 400631 w 1445127"/>
                <a:gd name="connsiteY11" fmla="*/ 103586 h 1038064"/>
                <a:gd name="connsiteX12" fmla="*/ 428255 w 1445127"/>
                <a:gd name="connsiteY12" fmla="*/ 51793 h 1038064"/>
                <a:gd name="connsiteX13" fmla="*/ 481774 w 1445127"/>
                <a:gd name="connsiteY13" fmla="*/ 70784 h 1038064"/>
                <a:gd name="connsiteX14" fmla="*/ 516303 w 1445127"/>
                <a:gd name="connsiteY14" fmla="*/ 22444 h 1038064"/>
                <a:gd name="connsiteX15" fmla="*/ 568096 w 1445127"/>
                <a:gd name="connsiteY15" fmla="*/ 48340 h 1038064"/>
                <a:gd name="connsiteX16" fmla="*/ 607804 w 1445127"/>
                <a:gd name="connsiteY16" fmla="*/ 5179 h 1038064"/>
                <a:gd name="connsiteX17" fmla="*/ 656145 w 1445127"/>
                <a:gd name="connsiteY17" fmla="*/ 37982 h 1038064"/>
                <a:gd name="connsiteX18" fmla="*/ 701032 w 1445127"/>
                <a:gd name="connsiteY18" fmla="*/ 0 h 1038064"/>
                <a:gd name="connsiteX19" fmla="*/ 745919 w 1445127"/>
                <a:gd name="connsiteY19" fmla="*/ 37982 h 1038064"/>
                <a:gd name="connsiteX20" fmla="*/ 794259 w 1445127"/>
                <a:gd name="connsiteY20" fmla="*/ 5179 h 1038064"/>
                <a:gd name="connsiteX21" fmla="*/ 833968 w 1445127"/>
                <a:gd name="connsiteY21" fmla="*/ 48340 h 1038064"/>
                <a:gd name="connsiteX22" fmla="*/ 885761 w 1445127"/>
                <a:gd name="connsiteY22" fmla="*/ 22444 h 1038064"/>
                <a:gd name="connsiteX23" fmla="*/ 920290 w 1445127"/>
                <a:gd name="connsiteY23" fmla="*/ 70784 h 1038064"/>
                <a:gd name="connsiteX24" fmla="*/ 975536 w 1445127"/>
                <a:gd name="connsiteY24" fmla="*/ 51793 h 1038064"/>
                <a:gd name="connsiteX25" fmla="*/ 1003158 w 1445127"/>
                <a:gd name="connsiteY25" fmla="*/ 103586 h 1038064"/>
                <a:gd name="connsiteX26" fmla="*/ 1060131 w 1445127"/>
                <a:gd name="connsiteY26" fmla="*/ 91502 h 1038064"/>
                <a:gd name="connsiteX27" fmla="*/ 1080848 w 1445127"/>
                <a:gd name="connsiteY27" fmla="*/ 146747 h 1038064"/>
                <a:gd name="connsiteX28" fmla="*/ 1139547 w 1445127"/>
                <a:gd name="connsiteY28" fmla="*/ 141568 h 1038064"/>
                <a:gd name="connsiteX29" fmla="*/ 1153358 w 1445127"/>
                <a:gd name="connsiteY29" fmla="*/ 198540 h 1038064"/>
                <a:gd name="connsiteX30" fmla="*/ 1212058 w 1445127"/>
                <a:gd name="connsiteY30" fmla="*/ 201994 h 1038064"/>
                <a:gd name="connsiteX31" fmla="*/ 1218963 w 1445127"/>
                <a:gd name="connsiteY31" fmla="*/ 260692 h 1038064"/>
                <a:gd name="connsiteX32" fmla="*/ 1275936 w 1445127"/>
                <a:gd name="connsiteY32" fmla="*/ 271051 h 1038064"/>
                <a:gd name="connsiteX33" fmla="*/ 1275936 w 1445127"/>
                <a:gd name="connsiteY33" fmla="*/ 329750 h 1038064"/>
                <a:gd name="connsiteX34" fmla="*/ 1331182 w 1445127"/>
                <a:gd name="connsiteY34" fmla="*/ 347014 h 1038064"/>
                <a:gd name="connsiteX35" fmla="*/ 1322550 w 1445127"/>
                <a:gd name="connsiteY35" fmla="*/ 403987 h 1038064"/>
                <a:gd name="connsiteX36" fmla="*/ 1376070 w 1445127"/>
                <a:gd name="connsiteY36" fmla="*/ 428157 h 1038064"/>
                <a:gd name="connsiteX37" fmla="*/ 1360531 w 1445127"/>
                <a:gd name="connsiteY37" fmla="*/ 485129 h 1038064"/>
                <a:gd name="connsiteX38" fmla="*/ 1410598 w 1445127"/>
                <a:gd name="connsiteY38" fmla="*/ 516205 h 1038064"/>
                <a:gd name="connsiteX39" fmla="*/ 1388155 w 1445127"/>
                <a:gd name="connsiteY39" fmla="*/ 569725 h 1038064"/>
                <a:gd name="connsiteX40" fmla="*/ 1433042 w 1445127"/>
                <a:gd name="connsiteY40" fmla="*/ 605980 h 1038064"/>
                <a:gd name="connsiteX41" fmla="*/ 1403692 w 1445127"/>
                <a:gd name="connsiteY41" fmla="*/ 656047 h 1038064"/>
                <a:gd name="connsiteX42" fmla="*/ 1443401 w 1445127"/>
                <a:gd name="connsiteY42" fmla="*/ 697481 h 1038064"/>
                <a:gd name="connsiteX43" fmla="*/ 1408872 w 1445127"/>
                <a:gd name="connsiteY43" fmla="*/ 744095 h 1038064"/>
                <a:gd name="connsiteX44" fmla="*/ 1445127 w 1445127"/>
                <a:gd name="connsiteY44" fmla="*/ 792436 h 1038064"/>
                <a:gd name="connsiteX45" fmla="*/ 1405418 w 1445127"/>
                <a:gd name="connsiteY45" fmla="*/ 833870 h 1038064"/>
                <a:gd name="connsiteX46" fmla="*/ 1434768 w 1445127"/>
                <a:gd name="connsiteY46" fmla="*/ 883937 h 1038064"/>
                <a:gd name="connsiteX47" fmla="*/ 1389881 w 1445127"/>
                <a:gd name="connsiteY47" fmla="*/ 920191 h 1038064"/>
                <a:gd name="connsiteX48" fmla="*/ 1412324 w 1445127"/>
                <a:gd name="connsiteY48" fmla="*/ 973711 h 1038064"/>
                <a:gd name="connsiteX49" fmla="*/ 1362257 w 1445127"/>
                <a:gd name="connsiteY49" fmla="*/ 1004787 h 1038064"/>
                <a:gd name="connsiteX50" fmla="*/ 1370674 w 1445127"/>
                <a:gd name="connsiteY50" fmla="*/ 1033921 h 1038064"/>
                <a:gd name="connsiteX51" fmla="*/ 1372538 w 1445127"/>
                <a:gd name="connsiteY51" fmla="*/ 1038064 h 1038064"/>
                <a:gd name="connsiteX52" fmla="*/ 0 w 1445127"/>
                <a:gd name="connsiteY52" fmla="*/ 509258 h 1038064"/>
                <a:gd name="connsiteX53" fmla="*/ 2472 w 1445127"/>
                <a:gd name="connsiteY53" fmla="*/ 506737 h 1038064"/>
                <a:gd name="connsiteX54" fmla="*/ 43259 w 1445127"/>
                <a:gd name="connsiteY54" fmla="*/ 485130 h 1038064"/>
                <a:gd name="connsiteX55" fmla="*/ 27721 w 1445127"/>
                <a:gd name="connsiteY55" fmla="*/ 428157 h 10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5127" h="1038064">
                  <a:moveTo>
                    <a:pt x="27721" y="428157"/>
                  </a:moveTo>
                  <a:cubicBezTo>
                    <a:pt x="34627" y="414345"/>
                    <a:pt x="74335" y="417798"/>
                    <a:pt x="81240" y="403987"/>
                  </a:cubicBezTo>
                  <a:cubicBezTo>
                    <a:pt x="88146" y="391902"/>
                    <a:pt x="63976" y="359099"/>
                    <a:pt x="72608" y="347014"/>
                  </a:cubicBezTo>
                  <a:cubicBezTo>
                    <a:pt x="79514" y="334929"/>
                    <a:pt x="119222" y="341834"/>
                    <a:pt x="127854" y="329750"/>
                  </a:cubicBezTo>
                  <a:cubicBezTo>
                    <a:pt x="138213" y="317665"/>
                    <a:pt x="117495" y="283136"/>
                    <a:pt x="127854" y="271051"/>
                  </a:cubicBezTo>
                  <a:cubicBezTo>
                    <a:pt x="136486" y="258966"/>
                    <a:pt x="174469" y="271051"/>
                    <a:pt x="184827" y="260692"/>
                  </a:cubicBezTo>
                  <a:cubicBezTo>
                    <a:pt x="195186" y="248607"/>
                    <a:pt x="181374" y="212352"/>
                    <a:pt x="191732" y="201994"/>
                  </a:cubicBezTo>
                  <a:cubicBezTo>
                    <a:pt x="203818" y="191634"/>
                    <a:pt x="238346" y="208899"/>
                    <a:pt x="250432" y="198540"/>
                  </a:cubicBezTo>
                  <a:cubicBezTo>
                    <a:pt x="262517" y="188182"/>
                    <a:pt x="252158" y="150200"/>
                    <a:pt x="264243" y="141568"/>
                  </a:cubicBezTo>
                  <a:cubicBezTo>
                    <a:pt x="276328" y="132936"/>
                    <a:pt x="310857" y="155379"/>
                    <a:pt x="322942" y="146747"/>
                  </a:cubicBezTo>
                  <a:cubicBezTo>
                    <a:pt x="335027" y="138115"/>
                    <a:pt x="329848" y="98407"/>
                    <a:pt x="343659" y="91502"/>
                  </a:cubicBezTo>
                  <a:cubicBezTo>
                    <a:pt x="357470" y="84596"/>
                    <a:pt x="386820" y="110492"/>
                    <a:pt x="400631" y="103586"/>
                  </a:cubicBezTo>
                  <a:cubicBezTo>
                    <a:pt x="414443" y="96681"/>
                    <a:pt x="414443" y="56972"/>
                    <a:pt x="428255" y="51793"/>
                  </a:cubicBezTo>
                  <a:cubicBezTo>
                    <a:pt x="442066" y="46614"/>
                    <a:pt x="467962" y="75963"/>
                    <a:pt x="481774" y="70784"/>
                  </a:cubicBezTo>
                  <a:cubicBezTo>
                    <a:pt x="497312" y="65605"/>
                    <a:pt x="500765" y="25896"/>
                    <a:pt x="516303" y="22444"/>
                  </a:cubicBezTo>
                  <a:cubicBezTo>
                    <a:pt x="530114" y="18991"/>
                    <a:pt x="552558" y="51793"/>
                    <a:pt x="568096" y="48340"/>
                  </a:cubicBezTo>
                  <a:cubicBezTo>
                    <a:pt x="583634" y="44887"/>
                    <a:pt x="592266" y="6906"/>
                    <a:pt x="607804" y="5179"/>
                  </a:cubicBezTo>
                  <a:cubicBezTo>
                    <a:pt x="621616" y="3453"/>
                    <a:pt x="640606" y="39708"/>
                    <a:pt x="656145" y="37982"/>
                  </a:cubicBezTo>
                  <a:cubicBezTo>
                    <a:pt x="671682" y="36255"/>
                    <a:pt x="685494" y="0"/>
                    <a:pt x="701032" y="0"/>
                  </a:cubicBezTo>
                  <a:cubicBezTo>
                    <a:pt x="716570" y="0"/>
                    <a:pt x="730381" y="36255"/>
                    <a:pt x="745919" y="37982"/>
                  </a:cubicBezTo>
                  <a:cubicBezTo>
                    <a:pt x="761458" y="37982"/>
                    <a:pt x="778722" y="3453"/>
                    <a:pt x="794259" y="5179"/>
                  </a:cubicBezTo>
                  <a:cubicBezTo>
                    <a:pt x="809798" y="6906"/>
                    <a:pt x="818429" y="44887"/>
                    <a:pt x="833968" y="48340"/>
                  </a:cubicBezTo>
                  <a:cubicBezTo>
                    <a:pt x="847779" y="50067"/>
                    <a:pt x="871950" y="18991"/>
                    <a:pt x="885761" y="22444"/>
                  </a:cubicBezTo>
                  <a:cubicBezTo>
                    <a:pt x="901299" y="27623"/>
                    <a:pt x="906478" y="65605"/>
                    <a:pt x="920290" y="70784"/>
                  </a:cubicBezTo>
                  <a:cubicBezTo>
                    <a:pt x="934101" y="75963"/>
                    <a:pt x="961724" y="46614"/>
                    <a:pt x="975536" y="51793"/>
                  </a:cubicBezTo>
                  <a:cubicBezTo>
                    <a:pt x="989347" y="56972"/>
                    <a:pt x="989347" y="96681"/>
                    <a:pt x="1003158" y="103586"/>
                  </a:cubicBezTo>
                  <a:cubicBezTo>
                    <a:pt x="1016970" y="110492"/>
                    <a:pt x="1046319" y="84596"/>
                    <a:pt x="1060131" y="91502"/>
                  </a:cubicBezTo>
                  <a:cubicBezTo>
                    <a:pt x="1073943" y="100133"/>
                    <a:pt x="1068763" y="138115"/>
                    <a:pt x="1080848" y="146747"/>
                  </a:cubicBezTo>
                  <a:cubicBezTo>
                    <a:pt x="1092934" y="155379"/>
                    <a:pt x="1127462" y="132936"/>
                    <a:pt x="1139547" y="141568"/>
                  </a:cubicBezTo>
                  <a:cubicBezTo>
                    <a:pt x="1151632" y="150200"/>
                    <a:pt x="1141273" y="188182"/>
                    <a:pt x="1153358" y="198540"/>
                  </a:cubicBezTo>
                  <a:cubicBezTo>
                    <a:pt x="1165443" y="208899"/>
                    <a:pt x="1201699" y="191634"/>
                    <a:pt x="1212058" y="201994"/>
                  </a:cubicBezTo>
                  <a:cubicBezTo>
                    <a:pt x="1224143" y="212352"/>
                    <a:pt x="1208605" y="250334"/>
                    <a:pt x="1218963" y="260692"/>
                  </a:cubicBezTo>
                  <a:cubicBezTo>
                    <a:pt x="1229322" y="272777"/>
                    <a:pt x="1265578" y="258966"/>
                    <a:pt x="1275936" y="271051"/>
                  </a:cubicBezTo>
                  <a:cubicBezTo>
                    <a:pt x="1286294" y="283136"/>
                    <a:pt x="1267304" y="317665"/>
                    <a:pt x="1275936" y="329750"/>
                  </a:cubicBezTo>
                  <a:cubicBezTo>
                    <a:pt x="1284568" y="341834"/>
                    <a:pt x="1322550" y="334929"/>
                    <a:pt x="1331182" y="347014"/>
                  </a:cubicBezTo>
                  <a:cubicBezTo>
                    <a:pt x="1338087" y="359099"/>
                    <a:pt x="1315644" y="390175"/>
                    <a:pt x="1322550" y="403987"/>
                  </a:cubicBezTo>
                  <a:cubicBezTo>
                    <a:pt x="1329455" y="417798"/>
                    <a:pt x="1369163" y="414345"/>
                    <a:pt x="1376070" y="428157"/>
                  </a:cubicBezTo>
                  <a:cubicBezTo>
                    <a:pt x="1382975" y="441969"/>
                    <a:pt x="1355352" y="471318"/>
                    <a:pt x="1360531" y="485129"/>
                  </a:cubicBezTo>
                  <a:cubicBezTo>
                    <a:pt x="1365711" y="498941"/>
                    <a:pt x="1405418" y="502394"/>
                    <a:pt x="1410598" y="516205"/>
                  </a:cubicBezTo>
                  <a:cubicBezTo>
                    <a:pt x="1415777" y="530017"/>
                    <a:pt x="1384702" y="554187"/>
                    <a:pt x="1388155" y="569725"/>
                  </a:cubicBezTo>
                  <a:cubicBezTo>
                    <a:pt x="1391607" y="583537"/>
                    <a:pt x="1429589" y="590442"/>
                    <a:pt x="1433042" y="605980"/>
                  </a:cubicBezTo>
                  <a:cubicBezTo>
                    <a:pt x="1434768" y="619792"/>
                    <a:pt x="1401966" y="640509"/>
                    <a:pt x="1403692" y="656047"/>
                  </a:cubicBezTo>
                  <a:cubicBezTo>
                    <a:pt x="1405418" y="669859"/>
                    <a:pt x="1441674" y="681943"/>
                    <a:pt x="1443401" y="697481"/>
                  </a:cubicBezTo>
                  <a:cubicBezTo>
                    <a:pt x="1445127" y="713019"/>
                    <a:pt x="1408872" y="728557"/>
                    <a:pt x="1408872" y="744095"/>
                  </a:cubicBezTo>
                  <a:cubicBezTo>
                    <a:pt x="1408872" y="759633"/>
                    <a:pt x="1445127" y="775171"/>
                    <a:pt x="1445127" y="792436"/>
                  </a:cubicBezTo>
                  <a:cubicBezTo>
                    <a:pt x="1445127" y="806247"/>
                    <a:pt x="1407145" y="818332"/>
                    <a:pt x="1405418" y="833870"/>
                  </a:cubicBezTo>
                  <a:cubicBezTo>
                    <a:pt x="1403692" y="847682"/>
                    <a:pt x="1438221" y="868399"/>
                    <a:pt x="1434768" y="883937"/>
                  </a:cubicBezTo>
                  <a:cubicBezTo>
                    <a:pt x="1433042" y="897748"/>
                    <a:pt x="1393334" y="906380"/>
                    <a:pt x="1389881" y="920191"/>
                  </a:cubicBezTo>
                  <a:cubicBezTo>
                    <a:pt x="1386428" y="934004"/>
                    <a:pt x="1417504" y="959900"/>
                    <a:pt x="1412324" y="973711"/>
                  </a:cubicBezTo>
                  <a:cubicBezTo>
                    <a:pt x="1407145" y="989250"/>
                    <a:pt x="1367437" y="990976"/>
                    <a:pt x="1362257" y="1004787"/>
                  </a:cubicBezTo>
                  <a:cubicBezTo>
                    <a:pt x="1359668" y="1012556"/>
                    <a:pt x="1365279" y="1023347"/>
                    <a:pt x="1370674" y="1033921"/>
                  </a:cubicBezTo>
                  <a:lnTo>
                    <a:pt x="1372538" y="1038064"/>
                  </a:lnTo>
                  <a:lnTo>
                    <a:pt x="0" y="509258"/>
                  </a:lnTo>
                  <a:lnTo>
                    <a:pt x="2472" y="506737"/>
                  </a:lnTo>
                  <a:cubicBezTo>
                    <a:pt x="16067" y="499049"/>
                    <a:pt x="39374" y="495488"/>
                    <a:pt x="43259" y="485130"/>
                  </a:cubicBezTo>
                  <a:cubicBezTo>
                    <a:pt x="48438" y="469591"/>
                    <a:pt x="20815" y="441969"/>
                    <a:pt x="27721" y="428157"/>
                  </a:cubicBezTo>
                  <a:close/>
                </a:path>
              </a:pathLst>
            </a:custGeom>
            <a:grpFill/>
            <a:ln w="22151" cap="flat">
              <a:noFill/>
              <a:prstDash val="solid"/>
              <a:miter/>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a:ln>
                  <a:noFill/>
                </a:ln>
                <a:solidFill>
                  <a:srgbClr val="FFFFFF"/>
                </a:solidFill>
                <a:effectLst/>
                <a:uLnTx/>
                <a:uFillTx/>
                <a:latin typeface="TT Norms Pro" panose="02000503030000020003" pitchFamily="2" charset="0"/>
                <a:ea typeface="+mn-ea"/>
                <a:cs typeface="+mn-cs"/>
              </a:endParaRPr>
            </a:p>
          </p:txBody>
        </p:sp>
        <p:pic>
          <p:nvPicPr>
            <p:cNvPr id="33" name="Graphic 32">
              <a:extLst>
                <a:ext uri="{FF2B5EF4-FFF2-40B4-BE49-F238E27FC236}">
                  <a16:creationId xmlns:a16="http://schemas.microsoft.com/office/drawing/2014/main" id="{54CAD62A-B203-F01B-2CE1-847A0D2C974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9604866" y="377227"/>
              <a:ext cx="611416" cy="679936"/>
            </a:xfrm>
            <a:prstGeom prst="rect">
              <a:avLst/>
            </a:prstGeom>
          </p:spPr>
        </p:pic>
        <p:pic>
          <p:nvPicPr>
            <p:cNvPr id="34" name="Graphic 33">
              <a:extLst>
                <a:ext uri="{FF2B5EF4-FFF2-40B4-BE49-F238E27FC236}">
                  <a16:creationId xmlns:a16="http://schemas.microsoft.com/office/drawing/2014/main" id="{BC6FBC0C-D716-F2B5-7D2A-59F072D4DF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10384833" y="250098"/>
              <a:ext cx="611416" cy="679936"/>
            </a:xfrm>
            <a:prstGeom prst="rect">
              <a:avLst/>
            </a:prstGeom>
          </p:spPr>
        </p:pic>
        <p:pic>
          <p:nvPicPr>
            <p:cNvPr id="17" name="Graphic 16">
              <a:extLst>
                <a:ext uri="{FF2B5EF4-FFF2-40B4-BE49-F238E27FC236}">
                  <a16:creationId xmlns:a16="http://schemas.microsoft.com/office/drawing/2014/main" id="{06DE7199-F987-F1D6-7B22-52AA899245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9912"/>
            <a:stretch>
              <a:fillRect/>
            </a:stretch>
          </p:blipFill>
          <p:spPr>
            <a:xfrm rot="14912638">
              <a:off x="10094824" y="-264909"/>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sp>
          <p:nvSpPr>
            <p:cNvPr id="45" name="Freeform: Shape 44">
              <a:extLst>
                <a:ext uri="{FF2B5EF4-FFF2-40B4-BE49-F238E27FC236}">
                  <a16:creationId xmlns:a16="http://schemas.microsoft.com/office/drawing/2014/main" id="{9D92F409-FA32-23D4-09EE-C8037395B906}"/>
                </a:ext>
              </a:extLst>
            </p:cNvPr>
            <p:cNvSpPr/>
            <p:nvPr/>
          </p:nvSpPr>
          <p:spPr>
            <a:xfrm rot="19394395">
              <a:off x="302036" y="-179531"/>
              <a:ext cx="306159" cy="1283212"/>
            </a:xfrm>
            <a:custGeom>
              <a:avLst/>
              <a:gdLst>
                <a:gd name="connsiteX0" fmla="*/ 66280 w 306159"/>
                <a:gd name="connsiteY0" fmla="*/ 0 h 1283212"/>
                <a:gd name="connsiteX1" fmla="*/ 72368 w 306159"/>
                <a:gd name="connsiteY1" fmla="*/ 4547 h 1283212"/>
                <a:gd name="connsiteX2" fmla="*/ 55892 w 306159"/>
                <a:gd name="connsiteY2" fmla="*/ 30957 h 1283212"/>
                <a:gd name="connsiteX3" fmla="*/ 37819 w 306159"/>
                <a:gd name="connsiteY3" fmla="*/ 67070 h 1283212"/>
                <a:gd name="connsiteX4" fmla="*/ 28388 w 306159"/>
                <a:gd name="connsiteY4" fmla="*/ 135780 h 1283212"/>
                <a:gd name="connsiteX5" fmla="*/ 60723 w 306159"/>
                <a:gd name="connsiteY5" fmla="*/ 69090 h 1283212"/>
                <a:gd name="connsiteX6" fmla="*/ 89352 w 306159"/>
                <a:gd name="connsiteY6" fmla="*/ 31872 h 1283212"/>
                <a:gd name="connsiteX7" fmla="*/ 95581 w 306159"/>
                <a:gd name="connsiteY7" fmla="*/ 21888 h 1283212"/>
                <a:gd name="connsiteX8" fmla="*/ 144709 w 306159"/>
                <a:gd name="connsiteY8" fmla="*/ 58587 h 1283212"/>
                <a:gd name="connsiteX9" fmla="*/ 165726 w 306159"/>
                <a:gd name="connsiteY9" fmla="*/ 123486 h 1283212"/>
                <a:gd name="connsiteX10" fmla="*/ 206901 w 306159"/>
                <a:gd name="connsiteY10" fmla="*/ 304862 h 1283212"/>
                <a:gd name="connsiteX11" fmla="*/ 200838 w 306159"/>
                <a:gd name="connsiteY11" fmla="*/ 519077 h 1283212"/>
                <a:gd name="connsiteX12" fmla="*/ 236541 w 306159"/>
                <a:gd name="connsiteY12" fmla="*/ 742050 h 1283212"/>
                <a:gd name="connsiteX13" fmla="*/ 262139 w 306159"/>
                <a:gd name="connsiteY13" fmla="*/ 960307 h 1283212"/>
                <a:gd name="connsiteX14" fmla="*/ 262139 w 306159"/>
                <a:gd name="connsiteY14" fmla="*/ 963001 h 1283212"/>
                <a:gd name="connsiteX15" fmla="*/ 261465 w 306159"/>
                <a:gd name="connsiteY15" fmla="*/ 983210 h 1283212"/>
                <a:gd name="connsiteX16" fmla="*/ 254729 w 306159"/>
                <a:gd name="connsiteY16" fmla="*/ 1013523 h 1283212"/>
                <a:gd name="connsiteX17" fmla="*/ 196796 w 306159"/>
                <a:gd name="connsiteY17" fmla="*/ 1101770 h 1283212"/>
                <a:gd name="connsiteX18" fmla="*/ 148969 w 306159"/>
                <a:gd name="connsiteY18" fmla="*/ 1199446 h 1283212"/>
                <a:gd name="connsiteX19" fmla="*/ 216332 w 306159"/>
                <a:gd name="connsiteY19" fmla="*/ 1133430 h 1283212"/>
                <a:gd name="connsiteX20" fmla="*/ 252034 w 306159"/>
                <a:gd name="connsiteY20" fmla="*/ 1093686 h 1283212"/>
                <a:gd name="connsiteX21" fmla="*/ 251361 w 306159"/>
                <a:gd name="connsiteY21" fmla="*/ 1096381 h 1283212"/>
                <a:gd name="connsiteX22" fmla="*/ 250687 w 306159"/>
                <a:gd name="connsiteY22" fmla="*/ 1100422 h 1283212"/>
                <a:gd name="connsiteX23" fmla="*/ 251361 w 306159"/>
                <a:gd name="connsiteY23" fmla="*/ 1097728 h 1283212"/>
                <a:gd name="connsiteX24" fmla="*/ 302557 w 306159"/>
                <a:gd name="connsiteY24" fmla="*/ 1245253 h 1283212"/>
                <a:gd name="connsiteX25" fmla="*/ 148295 w 306159"/>
                <a:gd name="connsiteY25" fmla="*/ 1282303 h 1283212"/>
                <a:gd name="connsiteX26" fmla="*/ 128086 w 306159"/>
                <a:gd name="connsiteY26" fmla="*/ 1225044 h 1283212"/>
                <a:gd name="connsiteX27" fmla="*/ 47924 w 306159"/>
                <a:gd name="connsiteY27" fmla="*/ 972432 h 1283212"/>
                <a:gd name="connsiteX28" fmla="*/ 47250 w 306159"/>
                <a:gd name="connsiteY28" fmla="*/ 901700 h 1283212"/>
                <a:gd name="connsiteX29" fmla="*/ 53986 w 306159"/>
                <a:gd name="connsiteY29" fmla="*/ 849157 h 1283212"/>
                <a:gd name="connsiteX30" fmla="*/ 150316 w 306159"/>
                <a:gd name="connsiteY30" fmla="*/ 620796 h 1283212"/>
                <a:gd name="connsiteX31" fmla="*/ 173893 w 306159"/>
                <a:gd name="connsiteY31" fmla="*/ 563537 h 1283212"/>
                <a:gd name="connsiteX32" fmla="*/ 89689 w 306159"/>
                <a:gd name="connsiteY32" fmla="*/ 650436 h 1283212"/>
                <a:gd name="connsiteX33" fmla="*/ 58702 w 306159"/>
                <a:gd name="connsiteY33" fmla="*/ 700285 h 1283212"/>
                <a:gd name="connsiteX34" fmla="*/ 58702 w 306159"/>
                <a:gd name="connsiteY34" fmla="*/ 699611 h 1283212"/>
                <a:gd name="connsiteX35" fmla="*/ 2117 w 306159"/>
                <a:gd name="connsiteY35" fmla="*/ 369531 h 1283212"/>
                <a:gd name="connsiteX36" fmla="*/ 7043 w 306159"/>
                <a:gd name="connsiteY36" fmla="*/ 151084 h 1283212"/>
                <a:gd name="connsiteX37" fmla="*/ 690 w 306159"/>
                <a:gd name="connsiteY37" fmla="*/ 87804 h 12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6159" h="1283212">
                  <a:moveTo>
                    <a:pt x="66280" y="0"/>
                  </a:moveTo>
                  <a:lnTo>
                    <a:pt x="72368" y="4547"/>
                  </a:lnTo>
                  <a:lnTo>
                    <a:pt x="55892" y="30957"/>
                  </a:lnTo>
                  <a:cubicBezTo>
                    <a:pt x="49145" y="42145"/>
                    <a:pt x="42872" y="53766"/>
                    <a:pt x="37819" y="67070"/>
                  </a:cubicBezTo>
                  <a:cubicBezTo>
                    <a:pt x="25694" y="98057"/>
                    <a:pt x="28388" y="135780"/>
                    <a:pt x="28388" y="135780"/>
                  </a:cubicBezTo>
                  <a:cubicBezTo>
                    <a:pt x="28388" y="135780"/>
                    <a:pt x="27041" y="118939"/>
                    <a:pt x="60723" y="69090"/>
                  </a:cubicBezTo>
                  <a:cubicBezTo>
                    <a:pt x="67796" y="58312"/>
                    <a:pt x="78237" y="46355"/>
                    <a:pt x="89352" y="31872"/>
                  </a:cubicBezTo>
                  <a:lnTo>
                    <a:pt x="95581" y="21888"/>
                  </a:lnTo>
                  <a:lnTo>
                    <a:pt x="144709" y="58587"/>
                  </a:lnTo>
                  <a:lnTo>
                    <a:pt x="165726" y="123486"/>
                  </a:lnTo>
                  <a:cubicBezTo>
                    <a:pt x="184335" y="183777"/>
                    <a:pt x="202860" y="252656"/>
                    <a:pt x="206901" y="304862"/>
                  </a:cubicBezTo>
                  <a:cubicBezTo>
                    <a:pt x="214985" y="409275"/>
                    <a:pt x="210269" y="484048"/>
                    <a:pt x="200838" y="519077"/>
                  </a:cubicBezTo>
                  <a:cubicBezTo>
                    <a:pt x="191407" y="554106"/>
                    <a:pt x="212290" y="686138"/>
                    <a:pt x="236541" y="742050"/>
                  </a:cubicBezTo>
                  <a:cubicBezTo>
                    <a:pt x="252708" y="779099"/>
                    <a:pt x="262812" y="868693"/>
                    <a:pt x="262139" y="960307"/>
                  </a:cubicBezTo>
                  <a:cubicBezTo>
                    <a:pt x="262139" y="960307"/>
                    <a:pt x="262139" y="961654"/>
                    <a:pt x="262139" y="963001"/>
                  </a:cubicBezTo>
                  <a:cubicBezTo>
                    <a:pt x="261465" y="969738"/>
                    <a:pt x="261465" y="976474"/>
                    <a:pt x="261465" y="983210"/>
                  </a:cubicBezTo>
                  <a:cubicBezTo>
                    <a:pt x="260792" y="991967"/>
                    <a:pt x="258771" y="1002745"/>
                    <a:pt x="254729" y="1013523"/>
                  </a:cubicBezTo>
                  <a:cubicBezTo>
                    <a:pt x="244625" y="1041143"/>
                    <a:pt x="221047" y="1070109"/>
                    <a:pt x="196796" y="1101770"/>
                  </a:cubicBezTo>
                  <a:cubicBezTo>
                    <a:pt x="137517" y="1179911"/>
                    <a:pt x="148969" y="1199446"/>
                    <a:pt x="148969" y="1199446"/>
                  </a:cubicBezTo>
                  <a:cubicBezTo>
                    <a:pt x="148969" y="1199446"/>
                    <a:pt x="174567" y="1163744"/>
                    <a:pt x="216332" y="1133430"/>
                  </a:cubicBezTo>
                  <a:cubicBezTo>
                    <a:pt x="227784" y="1125346"/>
                    <a:pt x="239909" y="1111200"/>
                    <a:pt x="252034" y="1093686"/>
                  </a:cubicBezTo>
                  <a:cubicBezTo>
                    <a:pt x="251361" y="1095033"/>
                    <a:pt x="251361" y="1095707"/>
                    <a:pt x="251361" y="1096381"/>
                  </a:cubicBezTo>
                  <a:cubicBezTo>
                    <a:pt x="251361" y="1097728"/>
                    <a:pt x="250687" y="1099075"/>
                    <a:pt x="250687" y="1100422"/>
                  </a:cubicBezTo>
                  <a:cubicBezTo>
                    <a:pt x="251361" y="1098401"/>
                    <a:pt x="251361" y="1097728"/>
                    <a:pt x="251361" y="1097728"/>
                  </a:cubicBezTo>
                  <a:cubicBezTo>
                    <a:pt x="251361" y="1097728"/>
                    <a:pt x="322766" y="1216287"/>
                    <a:pt x="302557" y="1245253"/>
                  </a:cubicBezTo>
                  <a:cubicBezTo>
                    <a:pt x="290432" y="1262768"/>
                    <a:pt x="165136" y="1288366"/>
                    <a:pt x="148295" y="1282303"/>
                  </a:cubicBezTo>
                  <a:cubicBezTo>
                    <a:pt x="113266" y="1268831"/>
                    <a:pt x="128086" y="1225044"/>
                    <a:pt x="128086" y="1225044"/>
                  </a:cubicBezTo>
                  <a:cubicBezTo>
                    <a:pt x="128086" y="1225044"/>
                    <a:pt x="57355" y="1049226"/>
                    <a:pt x="47924" y="972432"/>
                  </a:cubicBezTo>
                  <a:cubicBezTo>
                    <a:pt x="45903" y="953570"/>
                    <a:pt x="45903" y="928646"/>
                    <a:pt x="47250" y="901700"/>
                  </a:cubicBezTo>
                  <a:cubicBezTo>
                    <a:pt x="48597" y="884860"/>
                    <a:pt x="51292" y="867346"/>
                    <a:pt x="53986" y="849157"/>
                  </a:cubicBezTo>
                  <a:cubicBezTo>
                    <a:pt x="75543" y="712410"/>
                    <a:pt x="122697" y="655825"/>
                    <a:pt x="150316" y="620796"/>
                  </a:cubicBezTo>
                  <a:cubicBezTo>
                    <a:pt x="183324" y="578357"/>
                    <a:pt x="173893" y="563537"/>
                    <a:pt x="173893" y="563537"/>
                  </a:cubicBezTo>
                  <a:cubicBezTo>
                    <a:pt x="173893" y="563537"/>
                    <a:pt x="143580" y="593177"/>
                    <a:pt x="89689" y="650436"/>
                  </a:cubicBezTo>
                  <a:cubicBezTo>
                    <a:pt x="76217" y="664582"/>
                    <a:pt x="66112" y="682096"/>
                    <a:pt x="58702" y="700285"/>
                  </a:cubicBezTo>
                  <a:cubicBezTo>
                    <a:pt x="58702" y="700285"/>
                    <a:pt x="58702" y="699611"/>
                    <a:pt x="58702" y="699611"/>
                  </a:cubicBezTo>
                  <a:cubicBezTo>
                    <a:pt x="33777" y="616754"/>
                    <a:pt x="11548" y="471923"/>
                    <a:pt x="2117" y="369531"/>
                  </a:cubicBezTo>
                  <a:cubicBezTo>
                    <a:pt x="-4956" y="292736"/>
                    <a:pt x="8053" y="220868"/>
                    <a:pt x="7043" y="151084"/>
                  </a:cubicBezTo>
                  <a:lnTo>
                    <a:pt x="690" y="87804"/>
                  </a:ln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41" name="Freeform: Shape 40">
              <a:extLst>
                <a:ext uri="{FF2B5EF4-FFF2-40B4-BE49-F238E27FC236}">
                  <a16:creationId xmlns:a16="http://schemas.microsoft.com/office/drawing/2014/main" id="{2A39F323-183C-35A3-F393-C888E45E5792}"/>
                </a:ext>
              </a:extLst>
            </p:cNvPr>
            <p:cNvSpPr/>
            <p:nvPr/>
          </p:nvSpPr>
          <p:spPr>
            <a:xfrm rot="19394395">
              <a:off x="694905" y="-54825"/>
              <a:ext cx="354168" cy="638032"/>
            </a:xfrm>
            <a:custGeom>
              <a:avLst/>
              <a:gdLst>
                <a:gd name="connsiteX0" fmla="*/ 191474 w 354168"/>
                <a:gd name="connsiteY0" fmla="*/ 0 h 638032"/>
                <a:gd name="connsiteX1" fmla="*/ 354168 w 354168"/>
                <a:gd name="connsiteY1" fmla="*/ 121534 h 638032"/>
                <a:gd name="connsiteX2" fmla="*/ 353651 w 354168"/>
                <a:gd name="connsiteY2" fmla="*/ 124462 h 638032"/>
                <a:gd name="connsiteX3" fmla="*/ 335326 w 354168"/>
                <a:gd name="connsiteY3" fmla="*/ 187320 h 638032"/>
                <a:gd name="connsiteX4" fmla="*/ 234955 w 354168"/>
                <a:gd name="connsiteY4" fmla="*/ 397494 h 638032"/>
                <a:gd name="connsiteX5" fmla="*/ 216766 w 354168"/>
                <a:gd name="connsiteY5" fmla="*/ 560513 h 638032"/>
                <a:gd name="connsiteX6" fmla="*/ 162876 w 354168"/>
                <a:gd name="connsiteY6" fmla="*/ 637980 h 638032"/>
                <a:gd name="connsiteX7" fmla="*/ 9961 w 354168"/>
                <a:gd name="connsiteY7" fmla="*/ 583416 h 638032"/>
                <a:gd name="connsiteX8" fmla="*/ 20065 w 354168"/>
                <a:gd name="connsiteY8" fmla="*/ 503254 h 638032"/>
                <a:gd name="connsiteX9" fmla="*/ 72609 w 354168"/>
                <a:gd name="connsiteY9" fmla="*/ 373242 h 638032"/>
                <a:gd name="connsiteX10" fmla="*/ 144688 w 354168"/>
                <a:gd name="connsiteY10" fmla="*/ 219655 h 638032"/>
                <a:gd name="connsiteX11" fmla="*/ 144688 w 354168"/>
                <a:gd name="connsiteY11" fmla="*/ 212244 h 638032"/>
                <a:gd name="connsiteX12" fmla="*/ 194537 w 354168"/>
                <a:gd name="connsiteY12" fmla="*/ 303185 h 638032"/>
                <a:gd name="connsiteX13" fmla="*/ 225524 w 354168"/>
                <a:gd name="connsiteY13" fmla="*/ 370548 h 638032"/>
                <a:gd name="connsiteX14" fmla="*/ 226871 w 354168"/>
                <a:gd name="connsiteY14" fmla="*/ 371896 h 638032"/>
                <a:gd name="connsiteX15" fmla="*/ 221482 w 354168"/>
                <a:gd name="connsiteY15" fmla="*/ 300491 h 638032"/>
                <a:gd name="connsiteX16" fmla="*/ 176348 w 354168"/>
                <a:gd name="connsiteY16" fmla="*/ 164416 h 638032"/>
                <a:gd name="connsiteX17" fmla="*/ 180390 w 354168"/>
                <a:gd name="connsiteY17" fmla="*/ 33732 h 63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68" h="638032">
                  <a:moveTo>
                    <a:pt x="191474" y="0"/>
                  </a:moveTo>
                  <a:lnTo>
                    <a:pt x="354168" y="121534"/>
                  </a:lnTo>
                  <a:lnTo>
                    <a:pt x="353651" y="124462"/>
                  </a:lnTo>
                  <a:cubicBezTo>
                    <a:pt x="349472" y="142145"/>
                    <a:pt x="343578" y="162733"/>
                    <a:pt x="335326" y="187320"/>
                  </a:cubicBezTo>
                  <a:cubicBezTo>
                    <a:pt x="317811" y="238516"/>
                    <a:pt x="286824" y="337540"/>
                    <a:pt x="234955" y="397494"/>
                  </a:cubicBezTo>
                  <a:cubicBezTo>
                    <a:pt x="234281" y="415008"/>
                    <a:pt x="232934" y="500559"/>
                    <a:pt x="216766" y="560513"/>
                  </a:cubicBezTo>
                  <a:cubicBezTo>
                    <a:pt x="199252" y="625182"/>
                    <a:pt x="188474" y="637307"/>
                    <a:pt x="162876" y="637980"/>
                  </a:cubicBezTo>
                  <a:cubicBezTo>
                    <a:pt x="129868" y="639328"/>
                    <a:pt x="30844" y="614404"/>
                    <a:pt x="9961" y="583416"/>
                  </a:cubicBezTo>
                  <a:cubicBezTo>
                    <a:pt x="-10922" y="552429"/>
                    <a:pt x="5246" y="536262"/>
                    <a:pt x="20065" y="503254"/>
                  </a:cubicBezTo>
                  <a:cubicBezTo>
                    <a:pt x="34885" y="470919"/>
                    <a:pt x="65872" y="392778"/>
                    <a:pt x="72609" y="373242"/>
                  </a:cubicBezTo>
                  <a:cubicBezTo>
                    <a:pt x="98881" y="301838"/>
                    <a:pt x="144688" y="219655"/>
                    <a:pt x="144688" y="219655"/>
                  </a:cubicBezTo>
                  <a:cubicBezTo>
                    <a:pt x="144688" y="216960"/>
                    <a:pt x="144688" y="214939"/>
                    <a:pt x="144688" y="212244"/>
                  </a:cubicBezTo>
                  <a:cubicBezTo>
                    <a:pt x="161528" y="249968"/>
                    <a:pt x="179717" y="279608"/>
                    <a:pt x="194537" y="303185"/>
                  </a:cubicBezTo>
                  <a:cubicBezTo>
                    <a:pt x="219461" y="342256"/>
                    <a:pt x="218788" y="359770"/>
                    <a:pt x="225524" y="370548"/>
                  </a:cubicBezTo>
                  <a:cubicBezTo>
                    <a:pt x="226197" y="371222"/>
                    <a:pt x="226197" y="371896"/>
                    <a:pt x="226871" y="371896"/>
                  </a:cubicBezTo>
                  <a:cubicBezTo>
                    <a:pt x="231586" y="374590"/>
                    <a:pt x="228218" y="336193"/>
                    <a:pt x="221482" y="300491"/>
                  </a:cubicBezTo>
                  <a:cubicBezTo>
                    <a:pt x="213399" y="261420"/>
                    <a:pt x="187126" y="229086"/>
                    <a:pt x="176348" y="164416"/>
                  </a:cubicBezTo>
                  <a:cubicBezTo>
                    <a:pt x="168939" y="119283"/>
                    <a:pt x="172307" y="73476"/>
                    <a:pt x="180390" y="33732"/>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grpSp>
      <p:sp>
        <p:nvSpPr>
          <p:cNvPr id="2" name="Title 1">
            <a:extLst>
              <a:ext uri="{FF2B5EF4-FFF2-40B4-BE49-F238E27FC236}">
                <a16:creationId xmlns:a16="http://schemas.microsoft.com/office/drawing/2014/main" id="{085F9FA4-5D17-F3D1-8F72-8ED9620539A2}"/>
              </a:ext>
            </a:extLst>
          </p:cNvPr>
          <p:cNvSpPr>
            <a:spLocks noGrp="1"/>
          </p:cNvSpPr>
          <p:nvPr>
            <p:ph type="title" hasCustomPrompt="1"/>
          </p:nvPr>
        </p:nvSpPr>
        <p:spPr>
          <a:xfrm>
            <a:off x="2794083" y="2967560"/>
            <a:ext cx="6603835" cy="922881"/>
          </a:xfrm>
          <a:prstGeom prst="rect">
            <a:avLst/>
          </a:prstGeom>
          <a:noFill/>
        </p:spPr>
        <p:txBody>
          <a:bodyPr wrap="square" lIns="0" tIns="0" rIns="0" bIns="0" rtlCol="0" anchor="ctr">
            <a:noAutofit/>
          </a:bodyPr>
          <a:lstStyle>
            <a:lvl1pPr algn="ctr">
              <a:lnSpc>
                <a:spcPct val="100000"/>
              </a:lnSpc>
              <a:defRPr lang="en-IN" sz="5997" b="1" i="0">
                <a:solidFill>
                  <a:srgbClr val="FEF0DC"/>
                </a:solidFill>
                <a:latin typeface="Gazpacho Light" pitchFamily="2" charset="77"/>
                <a:ea typeface="+mn-ea"/>
                <a:cs typeface="+mn-cs"/>
              </a:defRPr>
            </a:lvl1pPr>
          </a:lstStyle>
          <a:p>
            <a:pPr marL="0" lvl="0" defTabSz="913943"/>
            <a:r>
              <a:rPr lang="en-US"/>
              <a:t>Section Title</a:t>
            </a:r>
            <a:endParaRPr lang="en-IN"/>
          </a:p>
        </p:txBody>
      </p:sp>
      <p:sp>
        <p:nvSpPr>
          <p:cNvPr id="3" name="Text Placeholder 9">
            <a:extLst>
              <a:ext uri="{FF2B5EF4-FFF2-40B4-BE49-F238E27FC236}">
                <a16:creationId xmlns:a16="http://schemas.microsoft.com/office/drawing/2014/main" id="{314CF62A-83C1-626D-21DB-32673A2E4955}"/>
              </a:ext>
            </a:extLst>
          </p:cNvPr>
          <p:cNvSpPr>
            <a:spLocks noGrp="1"/>
          </p:cNvSpPr>
          <p:nvPr>
            <p:ph type="body" sz="quarter" idx="10" hasCustomPrompt="1"/>
          </p:nvPr>
        </p:nvSpPr>
        <p:spPr>
          <a:xfrm>
            <a:off x="2810125" y="3913749"/>
            <a:ext cx="6603834" cy="430887"/>
          </a:xfrm>
          <a:noFill/>
        </p:spPr>
        <p:txBody>
          <a:bodyPr wrap="square" lIns="0" tIns="0" rIns="0" bIns="0" rtlCol="0" anchor="ctr">
            <a:noAutofit/>
          </a:bodyPr>
          <a:lstStyle>
            <a:lvl1pPr marL="0" indent="0" algn="ctr">
              <a:lnSpc>
                <a:spcPct val="100000"/>
              </a:lnSpc>
              <a:buNone/>
              <a:defRPr lang="en-US" sz="2800" b="0" i="0" smtClean="0">
                <a:solidFill>
                  <a:srgbClr val="FEF0DC"/>
                </a:solidFill>
                <a:latin typeface="TT Norms Pro" panose="02000503030000020003" pitchFamily="2" charset="0"/>
                <a:cs typeface="TT Norms Pro" panose="02000503030000020003" pitchFamily="2" charset="0"/>
              </a:defRPr>
            </a:lvl1pPr>
            <a:lvl2pPr marL="380863" indent="0">
              <a:buNone/>
              <a:defRPr lang="en-US" sz="2399" smtClean="0">
                <a:latin typeface="+mn-lt"/>
              </a:defRPr>
            </a:lvl2pPr>
            <a:lvl3pPr marL="990097" indent="0">
              <a:buNone/>
              <a:defRPr lang="en-US" sz="2399" smtClean="0">
                <a:latin typeface="+mn-lt"/>
              </a:defRPr>
            </a:lvl3pPr>
            <a:lvl4pPr marL="1599330" indent="0">
              <a:buNone/>
              <a:defRPr lang="en-US" sz="2399" smtClean="0">
                <a:latin typeface="+mn-lt"/>
              </a:defRPr>
            </a:lvl4pPr>
            <a:lvl5pPr marL="2208565" indent="0">
              <a:buNone/>
              <a:defRPr lang="en-IN" sz="2399">
                <a:latin typeface="+mn-lt"/>
              </a:defRPr>
            </a:lvl5pPr>
          </a:lstStyle>
          <a:p>
            <a:pPr marL="0" lvl="0" defTabSz="913943"/>
            <a:r>
              <a:rPr lang="en-US"/>
              <a:t>Date Goes Here</a:t>
            </a:r>
            <a:endParaRPr lang="en-IN"/>
          </a:p>
        </p:txBody>
      </p:sp>
      <p:grpSp>
        <p:nvGrpSpPr>
          <p:cNvPr id="4" name="Group 3">
            <a:extLst>
              <a:ext uri="{FF2B5EF4-FFF2-40B4-BE49-F238E27FC236}">
                <a16:creationId xmlns:a16="http://schemas.microsoft.com/office/drawing/2014/main" id="{D9635391-1A82-A0F8-E8E0-44135407B729}"/>
              </a:ext>
            </a:extLst>
          </p:cNvPr>
          <p:cNvGrpSpPr/>
          <p:nvPr userDrawn="1"/>
        </p:nvGrpSpPr>
        <p:grpSpPr>
          <a:xfrm>
            <a:off x="-268379" y="-235812"/>
            <a:ext cx="12709513" cy="2768410"/>
            <a:chOff x="-268379" y="-235812"/>
            <a:chExt cx="12709513" cy="2768410"/>
          </a:xfrm>
          <a:solidFill>
            <a:schemeClr val="accent5">
              <a:alpha val="30222"/>
            </a:schemeClr>
          </a:solidFill>
        </p:grpSpPr>
        <p:sp>
          <p:nvSpPr>
            <p:cNvPr id="5" name="Freeform: Shape 4">
              <a:extLst>
                <a:ext uri="{FF2B5EF4-FFF2-40B4-BE49-F238E27FC236}">
                  <a16:creationId xmlns:a16="http://schemas.microsoft.com/office/drawing/2014/main" id="{1D792D8E-C5DA-69A8-CF85-B7A416A1FC05}"/>
                </a:ext>
              </a:extLst>
            </p:cNvPr>
            <p:cNvSpPr/>
            <p:nvPr userDrawn="1"/>
          </p:nvSpPr>
          <p:spPr>
            <a:xfrm rot="20481175">
              <a:off x="7455640" y="58626"/>
              <a:ext cx="1448104" cy="1389865"/>
            </a:xfrm>
            <a:custGeom>
              <a:avLst/>
              <a:gdLst>
                <a:gd name="connsiteX0" fmla="*/ 1021496 w 1448104"/>
                <a:gd name="connsiteY0" fmla="*/ 0 h 1389865"/>
                <a:gd name="connsiteX1" fmla="*/ 1301750 w 1448104"/>
                <a:gd name="connsiteY1" fmla="*/ 94572 h 1389865"/>
                <a:gd name="connsiteX2" fmla="*/ 1300912 w 1448104"/>
                <a:gd name="connsiteY2" fmla="*/ 127519 h 1389865"/>
                <a:gd name="connsiteX3" fmla="*/ 1334529 w 1448104"/>
                <a:gd name="connsiteY3" fmla="*/ 396741 h 1389865"/>
                <a:gd name="connsiteX4" fmla="*/ 1436926 w 1448104"/>
                <a:gd name="connsiteY4" fmla="*/ 833636 h 1389865"/>
                <a:gd name="connsiteX5" fmla="*/ 980174 w 1448104"/>
                <a:gd name="connsiteY5" fmla="*/ 1353687 h 1389865"/>
                <a:gd name="connsiteX6" fmla="*/ 131865 w 1448104"/>
                <a:gd name="connsiteY6" fmla="*/ 858914 h 1389865"/>
                <a:gd name="connsiteX7" fmla="*/ 367037 w 1448104"/>
                <a:gd name="connsiteY7" fmla="*/ 209611 h 1389865"/>
                <a:gd name="connsiteX8" fmla="*/ 801214 w 1448104"/>
                <a:gd name="connsiteY8" fmla="*/ 85675 h 1389865"/>
                <a:gd name="connsiteX9" fmla="*/ 980777 w 1448104"/>
                <a:gd name="connsiteY9" fmla="*/ 19983 h 138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04" h="1389865">
                  <a:moveTo>
                    <a:pt x="1021496" y="0"/>
                  </a:moveTo>
                  <a:lnTo>
                    <a:pt x="1301750" y="94572"/>
                  </a:lnTo>
                  <a:lnTo>
                    <a:pt x="1300912" y="127519"/>
                  </a:lnTo>
                  <a:cubicBezTo>
                    <a:pt x="1301839" y="205476"/>
                    <a:pt x="1311698" y="293691"/>
                    <a:pt x="1334529" y="396741"/>
                  </a:cubicBezTo>
                  <a:cubicBezTo>
                    <a:pt x="1366264" y="540643"/>
                    <a:pt x="1411834" y="686317"/>
                    <a:pt x="1436926" y="833636"/>
                  </a:cubicBezTo>
                  <a:cubicBezTo>
                    <a:pt x="1511708" y="1273220"/>
                    <a:pt x="1194682" y="1478785"/>
                    <a:pt x="980174" y="1353687"/>
                  </a:cubicBezTo>
                  <a:lnTo>
                    <a:pt x="131865" y="858914"/>
                  </a:lnTo>
                  <a:cubicBezTo>
                    <a:pt x="-82825" y="733692"/>
                    <a:pt x="-56135" y="358765"/>
                    <a:pt x="367037" y="209611"/>
                  </a:cubicBezTo>
                  <a:cubicBezTo>
                    <a:pt x="508790" y="159611"/>
                    <a:pt x="659153" y="128230"/>
                    <a:pt x="801214" y="85675"/>
                  </a:cubicBezTo>
                  <a:cubicBezTo>
                    <a:pt x="869093" y="65451"/>
                    <a:pt x="928355" y="43426"/>
                    <a:pt x="980777" y="19983"/>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6" name="Freeform: Shape 5">
              <a:extLst>
                <a:ext uri="{FF2B5EF4-FFF2-40B4-BE49-F238E27FC236}">
                  <a16:creationId xmlns:a16="http://schemas.microsoft.com/office/drawing/2014/main" id="{3CF7B5EB-1B0D-D083-E778-18B7CDA1E5EE}"/>
                </a:ext>
              </a:extLst>
            </p:cNvPr>
            <p:cNvSpPr/>
            <p:nvPr userDrawn="1"/>
          </p:nvSpPr>
          <p:spPr>
            <a:xfrm rot="3903520">
              <a:off x="11517816" y="417078"/>
              <a:ext cx="218602" cy="1274125"/>
            </a:xfrm>
            <a:custGeom>
              <a:avLst/>
              <a:gdLst>
                <a:gd name="connsiteX0" fmla="*/ 79026 w 218602"/>
                <a:gd name="connsiteY0" fmla="*/ 0 h 1274125"/>
                <a:gd name="connsiteX1" fmla="*/ 216280 w 218602"/>
                <a:gd name="connsiteY1" fmla="*/ 63832 h 1274125"/>
                <a:gd name="connsiteX2" fmla="*/ 217873 w 218602"/>
                <a:gd name="connsiteY2" fmla="*/ 80524 h 1274125"/>
                <a:gd name="connsiteX3" fmla="*/ 218602 w 218602"/>
                <a:gd name="connsiteY3" fmla="*/ 114523 h 1274125"/>
                <a:gd name="connsiteX4" fmla="*/ 216683 w 218602"/>
                <a:gd name="connsiteY4" fmla="*/ 152888 h 1274125"/>
                <a:gd name="connsiteX5" fmla="*/ 212216 w 218602"/>
                <a:gd name="connsiteY5" fmla="*/ 190901 h 1274125"/>
                <a:gd name="connsiteX6" fmla="*/ 205893 w 218602"/>
                <a:gd name="connsiteY6" fmla="*/ 223900 h 1274125"/>
                <a:gd name="connsiteX7" fmla="*/ 198113 w 218602"/>
                <a:gd name="connsiteY7" fmla="*/ 252538 h 1274125"/>
                <a:gd name="connsiteX8" fmla="*/ 189272 w 218602"/>
                <a:gd name="connsiteY8" fmla="*/ 277475 h 1274125"/>
                <a:gd name="connsiteX9" fmla="*/ 184999 w 218602"/>
                <a:gd name="connsiteY9" fmla="*/ 291369 h 1274125"/>
                <a:gd name="connsiteX10" fmla="*/ 182864 w 218602"/>
                <a:gd name="connsiteY10" fmla="*/ 305941 h 1274125"/>
                <a:gd name="connsiteX11" fmla="*/ 182890 w 218602"/>
                <a:gd name="connsiteY11" fmla="*/ 320770 h 1274125"/>
                <a:gd name="connsiteX12" fmla="*/ 185109 w 218602"/>
                <a:gd name="connsiteY12" fmla="*/ 335438 h 1274125"/>
                <a:gd name="connsiteX13" fmla="*/ 190258 w 218602"/>
                <a:gd name="connsiteY13" fmla="*/ 362044 h 1274125"/>
                <a:gd name="connsiteX14" fmla="*/ 193832 w 218602"/>
                <a:gd name="connsiteY14" fmla="*/ 392031 h 1274125"/>
                <a:gd name="connsiteX15" fmla="*/ 195350 w 218602"/>
                <a:gd name="connsiteY15" fmla="*/ 425939 h 1274125"/>
                <a:gd name="connsiteX16" fmla="*/ 194329 w 218602"/>
                <a:gd name="connsiteY16" fmla="*/ 464308 h 1274125"/>
                <a:gd name="connsiteX17" fmla="*/ 190762 w 218602"/>
                <a:gd name="connsiteY17" fmla="*/ 502424 h 1274125"/>
                <a:gd name="connsiteX18" fmla="*/ 185217 w 218602"/>
                <a:gd name="connsiteY18" fmla="*/ 535609 h 1274125"/>
                <a:gd name="connsiteX19" fmla="*/ 178106 w 218602"/>
                <a:gd name="connsiteY19" fmla="*/ 564498 h 1274125"/>
                <a:gd name="connsiteX20" fmla="*/ 169845 w 218602"/>
                <a:gd name="connsiteY20" fmla="*/ 589731 h 1274125"/>
                <a:gd name="connsiteX21" fmla="*/ 165897 w 218602"/>
                <a:gd name="connsiteY21" fmla="*/ 603763 h 1274125"/>
                <a:gd name="connsiteX22" fmla="*/ 164104 w 218602"/>
                <a:gd name="connsiteY22" fmla="*/ 618388 h 1274125"/>
                <a:gd name="connsiteX23" fmla="*/ 164477 w 218602"/>
                <a:gd name="connsiteY23" fmla="*/ 633186 h 1274125"/>
                <a:gd name="connsiteX24" fmla="*/ 167031 w 218602"/>
                <a:gd name="connsiteY24" fmla="*/ 647744 h 1274125"/>
                <a:gd name="connsiteX25" fmla="*/ 172801 w 218602"/>
                <a:gd name="connsiteY25" fmla="*/ 674109 h 1274125"/>
                <a:gd name="connsiteX26" fmla="*/ 177077 w 218602"/>
                <a:gd name="connsiteY26" fmla="*/ 703906 h 1274125"/>
                <a:gd name="connsiteX27" fmla="*/ 179387 w 218602"/>
                <a:gd name="connsiteY27" fmla="*/ 737696 h 1274125"/>
                <a:gd name="connsiteX28" fmla="*/ 179255 w 218602"/>
                <a:gd name="connsiteY28" fmla="*/ 776046 h 1274125"/>
                <a:gd name="connsiteX29" fmla="*/ 176579 w 218602"/>
                <a:gd name="connsiteY29" fmla="*/ 814234 h 1274125"/>
                <a:gd name="connsiteX30" fmla="*/ 171806 w 218602"/>
                <a:gd name="connsiteY30" fmla="*/ 847579 h 1274125"/>
                <a:gd name="connsiteX31" fmla="*/ 165368 w 218602"/>
                <a:gd name="connsiteY31" fmla="*/ 876697 h 1274125"/>
                <a:gd name="connsiteX32" fmla="*/ 157698 w 218602"/>
                <a:gd name="connsiteY32" fmla="*/ 902208 h 1274125"/>
                <a:gd name="connsiteX33" fmla="*/ 154085 w 218602"/>
                <a:gd name="connsiteY33" fmla="*/ 916369 h 1274125"/>
                <a:gd name="connsiteX34" fmla="*/ 152632 w 218602"/>
                <a:gd name="connsiteY34" fmla="*/ 931041 h 1274125"/>
                <a:gd name="connsiteX35" fmla="*/ 153346 w 218602"/>
                <a:gd name="connsiteY35" fmla="*/ 945807 h 1274125"/>
                <a:gd name="connsiteX36" fmla="*/ 156234 w 218602"/>
                <a:gd name="connsiteY36" fmla="*/ 960245 h 1274125"/>
                <a:gd name="connsiteX37" fmla="*/ 162612 w 218602"/>
                <a:gd name="connsiteY37" fmla="*/ 986341 h 1274125"/>
                <a:gd name="connsiteX38" fmla="*/ 167580 w 218602"/>
                <a:gd name="connsiteY38" fmla="*/ 1015928 h 1274125"/>
                <a:gd name="connsiteX39" fmla="*/ 170677 w 218602"/>
                <a:gd name="connsiteY39" fmla="*/ 1049584 h 1274125"/>
                <a:gd name="connsiteX40" fmla="*/ 171442 w 218602"/>
                <a:gd name="connsiteY40" fmla="*/ 1087884 h 1274125"/>
                <a:gd name="connsiteX41" fmla="*/ 169639 w 218602"/>
                <a:gd name="connsiteY41" fmla="*/ 1126120 h 1274125"/>
                <a:gd name="connsiteX42" fmla="*/ 165642 w 218602"/>
                <a:gd name="connsiteY42" fmla="*/ 1159600 h 1274125"/>
                <a:gd name="connsiteX43" fmla="*/ 159885 w 218602"/>
                <a:gd name="connsiteY43" fmla="*/ 1188929 h 1274125"/>
                <a:gd name="connsiteX44" fmla="*/ 152813 w 218602"/>
                <a:gd name="connsiteY44" fmla="*/ 1214709 h 1274125"/>
                <a:gd name="connsiteX45" fmla="*/ 149523 w 218602"/>
                <a:gd name="connsiteY45" fmla="*/ 1228992 h 1274125"/>
                <a:gd name="connsiteX46" fmla="*/ 148408 w 218602"/>
                <a:gd name="connsiteY46" fmla="*/ 1243697 h 1274125"/>
                <a:gd name="connsiteX47" fmla="*/ 149467 w 218602"/>
                <a:gd name="connsiteY47" fmla="*/ 1258412 h 1274125"/>
                <a:gd name="connsiteX48" fmla="*/ 153117 w 218602"/>
                <a:gd name="connsiteY48" fmla="*/ 1274125 h 1274125"/>
                <a:gd name="connsiteX49" fmla="*/ 19711 w 218602"/>
                <a:gd name="connsiteY49" fmla="*/ 1274125 h 1274125"/>
                <a:gd name="connsiteX50" fmla="*/ 21859 w 218602"/>
                <a:gd name="connsiteY50" fmla="*/ 1259315 h 1274125"/>
                <a:gd name="connsiteX51" fmla="*/ 20795 w 218602"/>
                <a:gd name="connsiteY51" fmla="*/ 1243912 h 1274125"/>
                <a:gd name="connsiteX52" fmla="*/ 16537 w 218602"/>
                <a:gd name="connsiteY52" fmla="*/ 1229694 h 1274125"/>
                <a:gd name="connsiteX53" fmla="*/ 9687 w 218602"/>
                <a:gd name="connsiteY53" fmla="*/ 1203366 h 1274125"/>
                <a:gd name="connsiteX54" fmla="*/ 4305 w 218602"/>
                <a:gd name="connsiteY54" fmla="*/ 1173343 h 1274125"/>
                <a:gd name="connsiteX55" fmla="*/ 904 w 218602"/>
                <a:gd name="connsiteY55" fmla="*/ 1139065 h 1274125"/>
                <a:gd name="connsiteX56" fmla="*/ 0 w 218602"/>
                <a:gd name="connsiteY56" fmla="*/ 1099964 h 1274125"/>
                <a:gd name="connsiteX57" fmla="*/ 1867 w 218602"/>
                <a:gd name="connsiteY57" fmla="*/ 1060918 h 1274125"/>
                <a:gd name="connsiteX58" fmla="*/ 6108 w 218602"/>
                <a:gd name="connsiteY58" fmla="*/ 1026790 h 1274125"/>
                <a:gd name="connsiteX59" fmla="*/ 12229 w 218602"/>
                <a:gd name="connsiteY59" fmla="*/ 996988 h 1274125"/>
                <a:gd name="connsiteX60" fmla="*/ 19731 w 218602"/>
                <a:gd name="connsiteY60" fmla="*/ 970923 h 1274125"/>
                <a:gd name="connsiteX61" fmla="*/ 23287 w 218602"/>
                <a:gd name="connsiteY61" fmla="*/ 956504 h 1274125"/>
                <a:gd name="connsiteX62" fmla="*/ 24711 w 218602"/>
                <a:gd name="connsiteY62" fmla="*/ 941598 h 1274125"/>
                <a:gd name="connsiteX63" fmla="*/ 23996 w 218602"/>
                <a:gd name="connsiteY63" fmla="*/ 926597 h 1274125"/>
                <a:gd name="connsiteX64" fmla="*/ 21138 w 218602"/>
                <a:gd name="connsiteY64" fmla="*/ 911902 h 1274125"/>
                <a:gd name="connsiteX65" fmla="*/ 14899 w 218602"/>
                <a:gd name="connsiteY65" fmla="*/ 885289 h 1274125"/>
                <a:gd name="connsiteX66" fmla="*/ 10217 w 218602"/>
                <a:gd name="connsiteY66" fmla="*/ 855051 h 1274125"/>
                <a:gd name="connsiteX67" fmla="*/ 7617 w 218602"/>
                <a:gd name="connsiteY67" fmla="*/ 820634 h 1274125"/>
                <a:gd name="connsiteX68" fmla="*/ 7622 w 218602"/>
                <a:gd name="connsiteY68" fmla="*/ 781483 h 1274125"/>
                <a:gd name="connsiteX69" fmla="*/ 10397 w 218602"/>
                <a:gd name="connsiteY69" fmla="*/ 742488 h 1274125"/>
                <a:gd name="connsiteX70" fmla="*/ 15430 w 218602"/>
                <a:gd name="connsiteY70" fmla="*/ 708507 h 1274125"/>
                <a:gd name="connsiteX71" fmla="*/ 22239 w 218602"/>
                <a:gd name="connsiteY71" fmla="*/ 678923 h 1274125"/>
                <a:gd name="connsiteX72" fmla="*/ 30338 w 218602"/>
                <a:gd name="connsiteY72" fmla="*/ 653131 h 1274125"/>
                <a:gd name="connsiteX73" fmla="*/ 34223 w 218602"/>
                <a:gd name="connsiteY73" fmla="*/ 638838 h 1274125"/>
                <a:gd name="connsiteX74" fmla="*/ 35996 w 218602"/>
                <a:gd name="connsiteY74" fmla="*/ 623975 h 1274125"/>
                <a:gd name="connsiteX75" fmla="*/ 35634 w 218602"/>
                <a:gd name="connsiteY75" fmla="*/ 608940 h 1274125"/>
                <a:gd name="connsiteX76" fmla="*/ 33113 w 218602"/>
                <a:gd name="connsiteY76" fmla="*/ 594135 h 1274125"/>
                <a:gd name="connsiteX77" fmla="*/ 27506 w 218602"/>
                <a:gd name="connsiteY77" fmla="*/ 567263 h 1274125"/>
                <a:gd name="connsiteX78" fmla="*/ 23536 w 218602"/>
                <a:gd name="connsiteY78" fmla="*/ 536817 h 1274125"/>
                <a:gd name="connsiteX79" fmla="*/ 21733 w 218602"/>
                <a:gd name="connsiteY79" fmla="*/ 502266 h 1274125"/>
                <a:gd name="connsiteX80" fmla="*/ 22639 w 218602"/>
                <a:gd name="connsiteY80" fmla="*/ 463077 h 1274125"/>
                <a:gd name="connsiteX81" fmla="*/ 26328 w 218602"/>
                <a:gd name="connsiteY81" fmla="*/ 424169 h 1274125"/>
                <a:gd name="connsiteX82" fmla="*/ 32154 w 218602"/>
                <a:gd name="connsiteY82" fmla="*/ 390359 h 1274125"/>
                <a:gd name="connsiteX83" fmla="*/ 39645 w 218602"/>
                <a:gd name="connsiteY83" fmla="*/ 361021 h 1274125"/>
                <a:gd name="connsiteX84" fmla="*/ 48339 w 218602"/>
                <a:gd name="connsiteY84" fmla="*/ 335537 h 1274125"/>
                <a:gd name="connsiteX85" fmla="*/ 52558 w 218602"/>
                <a:gd name="connsiteY85" fmla="*/ 321382 h 1274125"/>
                <a:gd name="connsiteX86" fmla="*/ 54676 w 218602"/>
                <a:gd name="connsiteY86" fmla="*/ 306570 h 1274125"/>
                <a:gd name="connsiteX87" fmla="*/ 54666 w 218602"/>
                <a:gd name="connsiteY87" fmla="*/ 291504 h 1274125"/>
                <a:gd name="connsiteX88" fmla="*/ 52502 w 218602"/>
                <a:gd name="connsiteY88" fmla="*/ 276590 h 1274125"/>
                <a:gd name="connsiteX89" fmla="*/ 47518 w 218602"/>
                <a:gd name="connsiteY89" fmla="*/ 249467 h 1274125"/>
                <a:gd name="connsiteX90" fmla="*/ 44255 w 218602"/>
                <a:gd name="connsiteY90" fmla="*/ 218837 h 1274125"/>
                <a:gd name="connsiteX91" fmla="*/ 43261 w 218602"/>
                <a:gd name="connsiteY91" fmla="*/ 184191 h 1274125"/>
                <a:gd name="connsiteX92" fmla="*/ 45089 w 218602"/>
                <a:gd name="connsiteY92" fmla="*/ 145015 h 1274125"/>
                <a:gd name="connsiteX93" fmla="*/ 49686 w 218602"/>
                <a:gd name="connsiteY93" fmla="*/ 106199 h 1274125"/>
                <a:gd name="connsiteX94" fmla="*/ 56300 w 218602"/>
                <a:gd name="connsiteY94" fmla="*/ 72579 h 1274125"/>
                <a:gd name="connsiteX95" fmla="*/ 64475 w 218602"/>
                <a:gd name="connsiteY95" fmla="*/ 43507 h 1274125"/>
                <a:gd name="connsiteX96" fmla="*/ 73755 w 218602"/>
                <a:gd name="connsiteY96" fmla="*/ 18337 h 1274125"/>
                <a:gd name="connsiteX97" fmla="*/ 78302 w 218602"/>
                <a:gd name="connsiteY97" fmla="*/ 4329 h 127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18602" h="1274125">
                  <a:moveTo>
                    <a:pt x="79026" y="0"/>
                  </a:moveTo>
                  <a:lnTo>
                    <a:pt x="216280" y="63832"/>
                  </a:lnTo>
                  <a:lnTo>
                    <a:pt x="217873" y="80524"/>
                  </a:lnTo>
                  <a:lnTo>
                    <a:pt x="218602" y="114523"/>
                  </a:lnTo>
                  <a:lnTo>
                    <a:pt x="216683" y="152888"/>
                  </a:lnTo>
                  <a:lnTo>
                    <a:pt x="212216" y="190901"/>
                  </a:lnTo>
                  <a:lnTo>
                    <a:pt x="205893" y="223900"/>
                  </a:lnTo>
                  <a:lnTo>
                    <a:pt x="198113" y="252538"/>
                  </a:lnTo>
                  <a:lnTo>
                    <a:pt x="189272" y="277475"/>
                  </a:lnTo>
                  <a:lnTo>
                    <a:pt x="184999" y="291369"/>
                  </a:lnTo>
                  <a:lnTo>
                    <a:pt x="182864" y="305941"/>
                  </a:lnTo>
                  <a:lnTo>
                    <a:pt x="182890" y="320770"/>
                  </a:lnTo>
                  <a:lnTo>
                    <a:pt x="185109" y="335438"/>
                  </a:lnTo>
                  <a:lnTo>
                    <a:pt x="190258" y="362044"/>
                  </a:lnTo>
                  <a:lnTo>
                    <a:pt x="193832" y="392031"/>
                  </a:lnTo>
                  <a:lnTo>
                    <a:pt x="195350" y="425939"/>
                  </a:lnTo>
                  <a:lnTo>
                    <a:pt x="194329" y="464308"/>
                  </a:lnTo>
                  <a:lnTo>
                    <a:pt x="190762" y="502424"/>
                  </a:lnTo>
                  <a:lnTo>
                    <a:pt x="185217" y="535609"/>
                  </a:lnTo>
                  <a:lnTo>
                    <a:pt x="178106" y="564498"/>
                  </a:lnTo>
                  <a:lnTo>
                    <a:pt x="169845" y="589731"/>
                  </a:lnTo>
                  <a:lnTo>
                    <a:pt x="165897" y="603763"/>
                  </a:lnTo>
                  <a:lnTo>
                    <a:pt x="164104" y="618388"/>
                  </a:lnTo>
                  <a:lnTo>
                    <a:pt x="164477" y="633186"/>
                  </a:lnTo>
                  <a:lnTo>
                    <a:pt x="167031" y="647744"/>
                  </a:lnTo>
                  <a:lnTo>
                    <a:pt x="172801" y="674109"/>
                  </a:lnTo>
                  <a:lnTo>
                    <a:pt x="177077" y="703906"/>
                  </a:lnTo>
                  <a:lnTo>
                    <a:pt x="179387" y="737696"/>
                  </a:lnTo>
                  <a:lnTo>
                    <a:pt x="179255" y="776046"/>
                  </a:lnTo>
                  <a:lnTo>
                    <a:pt x="176579" y="814234"/>
                  </a:lnTo>
                  <a:lnTo>
                    <a:pt x="171806" y="847579"/>
                  </a:lnTo>
                  <a:lnTo>
                    <a:pt x="165368" y="876697"/>
                  </a:lnTo>
                  <a:lnTo>
                    <a:pt x="157698" y="902208"/>
                  </a:lnTo>
                  <a:lnTo>
                    <a:pt x="154085" y="916369"/>
                  </a:lnTo>
                  <a:lnTo>
                    <a:pt x="152632" y="931041"/>
                  </a:lnTo>
                  <a:lnTo>
                    <a:pt x="153346" y="945807"/>
                  </a:lnTo>
                  <a:lnTo>
                    <a:pt x="156234" y="960245"/>
                  </a:lnTo>
                  <a:lnTo>
                    <a:pt x="162612" y="986341"/>
                  </a:lnTo>
                  <a:lnTo>
                    <a:pt x="167580" y="1015928"/>
                  </a:lnTo>
                  <a:lnTo>
                    <a:pt x="170677" y="1049584"/>
                  </a:lnTo>
                  <a:lnTo>
                    <a:pt x="171442" y="1087884"/>
                  </a:lnTo>
                  <a:lnTo>
                    <a:pt x="169639" y="1126120"/>
                  </a:lnTo>
                  <a:lnTo>
                    <a:pt x="165642" y="1159600"/>
                  </a:lnTo>
                  <a:lnTo>
                    <a:pt x="159885" y="1188929"/>
                  </a:lnTo>
                  <a:lnTo>
                    <a:pt x="152813" y="1214709"/>
                  </a:lnTo>
                  <a:lnTo>
                    <a:pt x="149523" y="1228992"/>
                  </a:lnTo>
                  <a:lnTo>
                    <a:pt x="148408" y="1243697"/>
                  </a:lnTo>
                  <a:lnTo>
                    <a:pt x="149467" y="1258412"/>
                  </a:lnTo>
                  <a:lnTo>
                    <a:pt x="153117" y="1274125"/>
                  </a:lnTo>
                  <a:lnTo>
                    <a:pt x="19711" y="1274125"/>
                  </a:lnTo>
                  <a:lnTo>
                    <a:pt x="21859" y="1259315"/>
                  </a:lnTo>
                  <a:lnTo>
                    <a:pt x="20795" y="1243912"/>
                  </a:lnTo>
                  <a:lnTo>
                    <a:pt x="16537" y="1229694"/>
                  </a:lnTo>
                  <a:lnTo>
                    <a:pt x="9687" y="1203366"/>
                  </a:lnTo>
                  <a:lnTo>
                    <a:pt x="4305" y="1173343"/>
                  </a:lnTo>
                  <a:lnTo>
                    <a:pt x="904" y="1139065"/>
                  </a:lnTo>
                  <a:lnTo>
                    <a:pt x="0" y="1099964"/>
                  </a:lnTo>
                  <a:lnTo>
                    <a:pt x="1867" y="1060918"/>
                  </a:lnTo>
                  <a:lnTo>
                    <a:pt x="6108" y="1026790"/>
                  </a:lnTo>
                  <a:lnTo>
                    <a:pt x="12229" y="996988"/>
                  </a:lnTo>
                  <a:lnTo>
                    <a:pt x="19731" y="970923"/>
                  </a:lnTo>
                  <a:lnTo>
                    <a:pt x="23287" y="956504"/>
                  </a:lnTo>
                  <a:lnTo>
                    <a:pt x="24711" y="941598"/>
                  </a:lnTo>
                  <a:lnTo>
                    <a:pt x="23996" y="926597"/>
                  </a:lnTo>
                  <a:lnTo>
                    <a:pt x="21138" y="911902"/>
                  </a:lnTo>
                  <a:lnTo>
                    <a:pt x="14899" y="885289"/>
                  </a:lnTo>
                  <a:lnTo>
                    <a:pt x="10217" y="855051"/>
                  </a:lnTo>
                  <a:lnTo>
                    <a:pt x="7617" y="820634"/>
                  </a:lnTo>
                  <a:lnTo>
                    <a:pt x="7622" y="781483"/>
                  </a:lnTo>
                  <a:lnTo>
                    <a:pt x="10397" y="742488"/>
                  </a:lnTo>
                  <a:lnTo>
                    <a:pt x="15430" y="708507"/>
                  </a:lnTo>
                  <a:lnTo>
                    <a:pt x="22239" y="678923"/>
                  </a:lnTo>
                  <a:lnTo>
                    <a:pt x="30338" y="653131"/>
                  </a:lnTo>
                  <a:lnTo>
                    <a:pt x="34223" y="638838"/>
                  </a:lnTo>
                  <a:lnTo>
                    <a:pt x="35996" y="623975"/>
                  </a:lnTo>
                  <a:lnTo>
                    <a:pt x="35634" y="608940"/>
                  </a:lnTo>
                  <a:lnTo>
                    <a:pt x="33113" y="594135"/>
                  </a:lnTo>
                  <a:lnTo>
                    <a:pt x="27506" y="567263"/>
                  </a:lnTo>
                  <a:lnTo>
                    <a:pt x="23536" y="536817"/>
                  </a:lnTo>
                  <a:lnTo>
                    <a:pt x="21733" y="502266"/>
                  </a:lnTo>
                  <a:lnTo>
                    <a:pt x="22639" y="463077"/>
                  </a:lnTo>
                  <a:lnTo>
                    <a:pt x="26328" y="424169"/>
                  </a:lnTo>
                  <a:lnTo>
                    <a:pt x="32154" y="390359"/>
                  </a:lnTo>
                  <a:lnTo>
                    <a:pt x="39645" y="361021"/>
                  </a:lnTo>
                  <a:lnTo>
                    <a:pt x="48339" y="335537"/>
                  </a:lnTo>
                  <a:lnTo>
                    <a:pt x="52558" y="321382"/>
                  </a:lnTo>
                  <a:lnTo>
                    <a:pt x="54676" y="306570"/>
                  </a:lnTo>
                  <a:lnTo>
                    <a:pt x="54666" y="291504"/>
                  </a:lnTo>
                  <a:lnTo>
                    <a:pt x="52502" y="276590"/>
                  </a:lnTo>
                  <a:lnTo>
                    <a:pt x="47518" y="249467"/>
                  </a:lnTo>
                  <a:lnTo>
                    <a:pt x="44255" y="218837"/>
                  </a:lnTo>
                  <a:lnTo>
                    <a:pt x="43261" y="184191"/>
                  </a:lnTo>
                  <a:lnTo>
                    <a:pt x="45089" y="145015"/>
                  </a:lnTo>
                  <a:lnTo>
                    <a:pt x="49686" y="106199"/>
                  </a:lnTo>
                  <a:lnTo>
                    <a:pt x="56300" y="72579"/>
                  </a:lnTo>
                  <a:lnTo>
                    <a:pt x="64475" y="43507"/>
                  </a:lnTo>
                  <a:lnTo>
                    <a:pt x="73755" y="18337"/>
                  </a:lnTo>
                  <a:lnTo>
                    <a:pt x="78302" y="4329"/>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7" name="Freeform: Shape 6">
              <a:extLst>
                <a:ext uri="{FF2B5EF4-FFF2-40B4-BE49-F238E27FC236}">
                  <a16:creationId xmlns:a16="http://schemas.microsoft.com/office/drawing/2014/main" id="{D442EB8F-4649-7541-66B6-4336474163FD}"/>
                </a:ext>
              </a:extLst>
            </p:cNvPr>
            <p:cNvSpPr/>
            <p:nvPr userDrawn="1"/>
          </p:nvSpPr>
          <p:spPr>
            <a:xfrm rot="13654353">
              <a:off x="11464201" y="736041"/>
              <a:ext cx="387391" cy="1362193"/>
            </a:xfrm>
            <a:custGeom>
              <a:avLst/>
              <a:gdLst>
                <a:gd name="connsiteX0" fmla="*/ 147207 w 387391"/>
                <a:gd name="connsiteY0" fmla="*/ 1362193 h 1362193"/>
                <a:gd name="connsiteX1" fmla="*/ 0 w 387391"/>
                <a:gd name="connsiteY1" fmla="*/ 1227645 h 1362193"/>
                <a:gd name="connsiteX2" fmla="*/ 1801 w 387391"/>
                <a:gd name="connsiteY2" fmla="*/ 1216824 h 1362193"/>
                <a:gd name="connsiteX3" fmla="*/ 9982 w 387391"/>
                <a:gd name="connsiteY3" fmla="*/ 1183657 h 1362193"/>
                <a:gd name="connsiteX4" fmla="*/ 19511 w 387391"/>
                <a:gd name="connsiteY4" fmla="*/ 1155162 h 1362193"/>
                <a:gd name="connsiteX5" fmla="*/ 29965 w 387391"/>
                <a:gd name="connsiteY5" fmla="*/ 1130658 h 1362193"/>
                <a:gd name="connsiteX6" fmla="*/ 35174 w 387391"/>
                <a:gd name="connsiteY6" fmla="*/ 1116977 h 1362193"/>
                <a:gd name="connsiteX7" fmla="*/ 38332 w 387391"/>
                <a:gd name="connsiteY7" fmla="*/ 1102401 h 1362193"/>
                <a:gd name="connsiteX8" fmla="*/ 39384 w 387391"/>
                <a:gd name="connsiteY8" fmla="*/ 1087320 h 1362193"/>
                <a:gd name="connsiteX9" fmla="*/ 38273 w 387391"/>
                <a:gd name="connsiteY9" fmla="*/ 1072129 h 1362193"/>
                <a:gd name="connsiteX10" fmla="*/ 35227 w 387391"/>
                <a:gd name="connsiteY10" fmla="*/ 1044400 h 1362193"/>
                <a:gd name="connsiteX11" fmla="*/ 34146 w 387391"/>
                <a:gd name="connsiteY11" fmla="*/ 1013355 h 1362193"/>
                <a:gd name="connsiteX12" fmla="*/ 35613 w 387391"/>
                <a:gd name="connsiteY12" fmla="*/ 978542 h 1362193"/>
                <a:gd name="connsiteX13" fmla="*/ 40211 w 387391"/>
                <a:gd name="connsiteY13" fmla="*/ 939522 h 1362193"/>
                <a:gd name="connsiteX14" fmla="*/ 47532 w 387391"/>
                <a:gd name="connsiteY14" fmla="*/ 901192 h 1362193"/>
                <a:gd name="connsiteX15" fmla="*/ 56501 w 387391"/>
                <a:gd name="connsiteY15" fmla="*/ 868288 h 1362193"/>
                <a:gd name="connsiteX16" fmla="*/ 66705 w 387391"/>
                <a:gd name="connsiteY16" fmla="*/ 840114 h 1362193"/>
                <a:gd name="connsiteX17" fmla="*/ 77736 w 387391"/>
                <a:gd name="connsiteY17" fmla="*/ 815968 h 1362193"/>
                <a:gd name="connsiteX18" fmla="*/ 83263 w 387391"/>
                <a:gd name="connsiteY18" fmla="*/ 802466 h 1362193"/>
                <a:gd name="connsiteX19" fmla="*/ 86767 w 387391"/>
                <a:gd name="connsiteY19" fmla="*/ 787986 h 1362193"/>
                <a:gd name="connsiteX20" fmla="*/ 88180 w 387391"/>
                <a:gd name="connsiteY20" fmla="*/ 772917 h 1362193"/>
                <a:gd name="connsiteX21" fmla="*/ 87430 w 387391"/>
                <a:gd name="connsiteY21" fmla="*/ 757660 h 1362193"/>
                <a:gd name="connsiteX22" fmla="*/ 85045 w 387391"/>
                <a:gd name="connsiteY22" fmla="*/ 729759 h 1362193"/>
                <a:gd name="connsiteX23" fmla="*/ 84702 w 387391"/>
                <a:gd name="connsiteY23" fmla="*/ 698614 h 1362193"/>
                <a:gd name="connsiteX24" fmla="*/ 86996 w 387391"/>
                <a:gd name="connsiteY24" fmla="*/ 663797 h 1362193"/>
                <a:gd name="connsiteX25" fmla="*/ 92525 w 387391"/>
                <a:gd name="connsiteY25" fmla="*/ 624880 h 1362193"/>
                <a:gd name="connsiteX26" fmla="*/ 100755 w 387391"/>
                <a:gd name="connsiteY26" fmla="*/ 586757 h 1362193"/>
                <a:gd name="connsiteX27" fmla="*/ 110503 w 387391"/>
                <a:gd name="connsiteY27" fmla="*/ 554139 h 1362193"/>
                <a:gd name="connsiteX28" fmla="*/ 121375 w 387391"/>
                <a:gd name="connsiteY28" fmla="*/ 526301 h 1362193"/>
                <a:gd name="connsiteX29" fmla="*/ 132975 w 387391"/>
                <a:gd name="connsiteY29" fmla="*/ 502531 h 1362193"/>
                <a:gd name="connsiteX30" fmla="*/ 138829 w 387391"/>
                <a:gd name="connsiteY30" fmla="*/ 489213 h 1362193"/>
                <a:gd name="connsiteX31" fmla="*/ 142681 w 387391"/>
                <a:gd name="connsiteY31" fmla="*/ 474842 h 1362193"/>
                <a:gd name="connsiteX32" fmla="*/ 144456 w 387391"/>
                <a:gd name="connsiteY32" fmla="*/ 459803 h 1362193"/>
                <a:gd name="connsiteX33" fmla="*/ 144076 w 387391"/>
                <a:gd name="connsiteY33" fmla="*/ 444493 h 1362193"/>
                <a:gd name="connsiteX34" fmla="*/ 142357 w 387391"/>
                <a:gd name="connsiteY34" fmla="*/ 416450 h 1362193"/>
                <a:gd name="connsiteX35" fmla="*/ 142758 w 387391"/>
                <a:gd name="connsiteY35" fmla="*/ 385226 h 1362193"/>
                <a:gd name="connsiteX36" fmla="*/ 152346 w 387391"/>
                <a:gd name="connsiteY36" fmla="*/ 311639 h 1362193"/>
                <a:gd name="connsiteX37" fmla="*/ 172019 w 387391"/>
                <a:gd name="connsiteY37" fmla="*/ 241430 h 1362193"/>
                <a:gd name="connsiteX38" fmla="*/ 183555 w 387391"/>
                <a:gd name="connsiteY38" fmla="*/ 213957 h 1362193"/>
                <a:gd name="connsiteX39" fmla="*/ 195724 w 387391"/>
                <a:gd name="connsiteY39" fmla="*/ 190594 h 1362193"/>
                <a:gd name="connsiteX40" fmla="*/ 201893 w 387391"/>
                <a:gd name="connsiteY40" fmla="*/ 177476 h 1362193"/>
                <a:gd name="connsiteX41" fmla="*/ 206090 w 387391"/>
                <a:gd name="connsiteY41" fmla="*/ 163216 h 1362193"/>
                <a:gd name="connsiteX42" fmla="*/ 208224 w 387391"/>
                <a:gd name="connsiteY42" fmla="*/ 148202 h 1362193"/>
                <a:gd name="connsiteX43" fmla="*/ 208213 w 387391"/>
                <a:gd name="connsiteY43" fmla="*/ 132829 h 1362193"/>
                <a:gd name="connsiteX44" fmla="*/ 207176 w 387391"/>
                <a:gd name="connsiteY44" fmla="*/ 104665 h 1362193"/>
                <a:gd name="connsiteX45" fmla="*/ 208326 w 387391"/>
                <a:gd name="connsiteY45" fmla="*/ 73397 h 1362193"/>
                <a:gd name="connsiteX46" fmla="*/ 212288 w 387391"/>
                <a:gd name="connsiteY46" fmla="*/ 38637 h 1362193"/>
                <a:gd name="connsiteX47" fmla="*/ 219676 w 387391"/>
                <a:gd name="connsiteY47" fmla="*/ 0 h 1362193"/>
                <a:gd name="connsiteX48" fmla="*/ 287633 w 387391"/>
                <a:gd name="connsiteY48" fmla="*/ 26053 h 1362193"/>
                <a:gd name="connsiteX49" fmla="*/ 319472 w 387391"/>
                <a:gd name="connsiteY49" fmla="*/ 21526 h 1362193"/>
                <a:gd name="connsiteX50" fmla="*/ 387391 w 387391"/>
                <a:gd name="connsiteY50" fmla="*/ 47704 h 1362193"/>
                <a:gd name="connsiteX51" fmla="*/ 377580 w 387391"/>
                <a:gd name="connsiteY51" fmla="*/ 84557 h 1362193"/>
                <a:gd name="connsiteX52" fmla="*/ 366651 w 387391"/>
                <a:gd name="connsiteY52" fmla="*/ 115974 h 1362193"/>
                <a:gd name="connsiteX53" fmla="*/ 354905 w 387391"/>
                <a:gd name="connsiteY53" fmla="*/ 142708 h 1362193"/>
                <a:gd name="connsiteX54" fmla="*/ 342644 w 387391"/>
                <a:gd name="connsiteY54" fmla="*/ 165500 h 1362193"/>
                <a:gd name="connsiteX55" fmla="*/ 336471 w 387391"/>
                <a:gd name="connsiteY55" fmla="*/ 178343 h 1362193"/>
                <a:gd name="connsiteX56" fmla="*/ 332298 w 387391"/>
                <a:gd name="connsiteY56" fmla="*/ 192357 h 1362193"/>
                <a:gd name="connsiteX57" fmla="*/ 330215 w 387391"/>
                <a:gd name="connsiteY57" fmla="*/ 207132 h 1362193"/>
                <a:gd name="connsiteX58" fmla="*/ 330307 w 387391"/>
                <a:gd name="connsiteY58" fmla="*/ 222258 h 1362193"/>
                <a:gd name="connsiteX59" fmla="*/ 331589 w 387391"/>
                <a:gd name="connsiteY59" fmla="*/ 249962 h 1362193"/>
                <a:gd name="connsiteX60" fmla="*/ 327519 w 387391"/>
                <a:gd name="connsiteY60" fmla="*/ 314780 h 1362193"/>
                <a:gd name="connsiteX61" fmla="*/ 302000 w 387391"/>
                <a:gd name="connsiteY61" fmla="*/ 421596 h 1362193"/>
                <a:gd name="connsiteX62" fmla="*/ 290914 w 387391"/>
                <a:gd name="connsiteY62" fmla="*/ 448689 h 1362193"/>
                <a:gd name="connsiteX63" fmla="*/ 279212 w 387391"/>
                <a:gd name="connsiteY63" fmla="*/ 471876 h 1362193"/>
                <a:gd name="connsiteX64" fmla="*/ 273344 w 387391"/>
                <a:gd name="connsiteY64" fmla="*/ 484919 h 1362193"/>
                <a:gd name="connsiteX65" fmla="*/ 269507 w 387391"/>
                <a:gd name="connsiteY65" fmla="*/ 499050 h 1362193"/>
                <a:gd name="connsiteX66" fmla="*/ 267781 w 387391"/>
                <a:gd name="connsiteY66" fmla="*/ 513865 h 1362193"/>
                <a:gd name="connsiteX67" fmla="*/ 268244 w 387391"/>
                <a:gd name="connsiteY67" fmla="*/ 528953 h 1362193"/>
                <a:gd name="connsiteX68" fmla="*/ 270189 w 387391"/>
                <a:gd name="connsiteY68" fmla="*/ 556508 h 1362193"/>
                <a:gd name="connsiteX69" fmla="*/ 267683 w 387391"/>
                <a:gd name="connsiteY69" fmla="*/ 621274 h 1362193"/>
                <a:gd name="connsiteX70" fmla="*/ 244719 w 387391"/>
                <a:gd name="connsiteY70" fmla="*/ 728742 h 1362193"/>
                <a:gd name="connsiteX71" fmla="*/ 234282 w 387391"/>
                <a:gd name="connsiteY71" fmla="*/ 756186 h 1362193"/>
                <a:gd name="connsiteX72" fmla="*/ 223136 w 387391"/>
                <a:gd name="connsiteY72" fmla="*/ 779752 h 1362193"/>
                <a:gd name="connsiteX73" fmla="*/ 217590 w 387391"/>
                <a:gd name="connsiteY73" fmla="*/ 792993 h 1362193"/>
                <a:gd name="connsiteX74" fmla="*/ 214094 w 387391"/>
                <a:gd name="connsiteY74" fmla="*/ 807234 h 1362193"/>
                <a:gd name="connsiteX75" fmla="*/ 212719 w 387391"/>
                <a:gd name="connsiteY75" fmla="*/ 822065 h 1362193"/>
                <a:gd name="connsiteX76" fmla="*/ 213536 w 387391"/>
                <a:gd name="connsiteY76" fmla="*/ 837076 h 1362193"/>
                <a:gd name="connsiteX77" fmla="*/ 216138 w 387391"/>
                <a:gd name="connsiteY77" fmla="*/ 864486 h 1362193"/>
                <a:gd name="connsiteX78" fmla="*/ 216861 w 387391"/>
                <a:gd name="connsiteY78" fmla="*/ 895028 h 1362193"/>
                <a:gd name="connsiteX79" fmla="*/ 215178 w 387391"/>
                <a:gd name="connsiteY79" fmla="*/ 929167 h 1362193"/>
                <a:gd name="connsiteX80" fmla="*/ 210551 w 387391"/>
                <a:gd name="connsiteY80" fmla="*/ 967371 h 1362193"/>
                <a:gd name="connsiteX81" fmla="*/ 203422 w 387391"/>
                <a:gd name="connsiteY81" fmla="*/ 1004914 h 1362193"/>
                <a:gd name="connsiteX82" fmla="*/ 194788 w 387391"/>
                <a:gd name="connsiteY82" fmla="*/ 1037221 h 1362193"/>
                <a:gd name="connsiteX83" fmla="*/ 185007 w 387391"/>
                <a:gd name="connsiteY83" fmla="*/ 1064994 h 1362193"/>
                <a:gd name="connsiteX84" fmla="*/ 174434 w 387391"/>
                <a:gd name="connsiteY84" fmla="*/ 1088933 h 1362193"/>
                <a:gd name="connsiteX85" fmla="*/ 169197 w 387391"/>
                <a:gd name="connsiteY85" fmla="*/ 1102354 h 1362193"/>
                <a:gd name="connsiteX86" fmla="*/ 166041 w 387391"/>
                <a:gd name="connsiteY86" fmla="*/ 1116692 h 1362193"/>
                <a:gd name="connsiteX87" fmla="*/ 165025 w 387391"/>
                <a:gd name="connsiteY87" fmla="*/ 1131536 h 1362193"/>
                <a:gd name="connsiteX88" fmla="*/ 166203 w 387391"/>
                <a:gd name="connsiteY88" fmla="*/ 1146478 h 1362193"/>
                <a:gd name="connsiteX89" fmla="*/ 169452 w 387391"/>
                <a:gd name="connsiteY89" fmla="*/ 1173714 h 1362193"/>
                <a:gd name="connsiteX90" fmla="*/ 170899 w 387391"/>
                <a:gd name="connsiteY90" fmla="*/ 1204152 h 1362193"/>
                <a:gd name="connsiteX91" fmla="*/ 170020 w 387391"/>
                <a:gd name="connsiteY91" fmla="*/ 1238273 h 1362193"/>
                <a:gd name="connsiteX92" fmla="*/ 166299 w 387391"/>
                <a:gd name="connsiteY92" fmla="*/ 1276551 h 1362193"/>
                <a:gd name="connsiteX93" fmla="*/ 160059 w 387391"/>
                <a:gd name="connsiteY93" fmla="*/ 1314281 h 1362193"/>
                <a:gd name="connsiteX94" fmla="*/ 152194 w 387391"/>
                <a:gd name="connsiteY94" fmla="*/ 1346841 h 136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87391" h="1362193">
                  <a:moveTo>
                    <a:pt x="147207" y="1362193"/>
                  </a:moveTo>
                  <a:lnTo>
                    <a:pt x="0" y="1227645"/>
                  </a:lnTo>
                  <a:lnTo>
                    <a:pt x="1801" y="1216824"/>
                  </a:lnTo>
                  <a:lnTo>
                    <a:pt x="9982" y="1183657"/>
                  </a:lnTo>
                  <a:lnTo>
                    <a:pt x="19511" y="1155162"/>
                  </a:lnTo>
                  <a:lnTo>
                    <a:pt x="29965" y="1130658"/>
                  </a:lnTo>
                  <a:lnTo>
                    <a:pt x="35174" y="1116977"/>
                  </a:lnTo>
                  <a:lnTo>
                    <a:pt x="38332" y="1102401"/>
                  </a:lnTo>
                  <a:lnTo>
                    <a:pt x="39384" y="1087320"/>
                  </a:lnTo>
                  <a:lnTo>
                    <a:pt x="38273" y="1072129"/>
                  </a:lnTo>
                  <a:lnTo>
                    <a:pt x="35227" y="1044400"/>
                  </a:lnTo>
                  <a:lnTo>
                    <a:pt x="34146" y="1013355"/>
                  </a:lnTo>
                  <a:lnTo>
                    <a:pt x="35613" y="978542"/>
                  </a:lnTo>
                  <a:lnTo>
                    <a:pt x="40211" y="939522"/>
                  </a:lnTo>
                  <a:lnTo>
                    <a:pt x="47532" y="901192"/>
                  </a:lnTo>
                  <a:lnTo>
                    <a:pt x="56501" y="868288"/>
                  </a:lnTo>
                  <a:lnTo>
                    <a:pt x="66705" y="840114"/>
                  </a:lnTo>
                  <a:lnTo>
                    <a:pt x="77736" y="815968"/>
                  </a:lnTo>
                  <a:lnTo>
                    <a:pt x="83263" y="802466"/>
                  </a:lnTo>
                  <a:lnTo>
                    <a:pt x="86767" y="787986"/>
                  </a:lnTo>
                  <a:lnTo>
                    <a:pt x="88180" y="772917"/>
                  </a:lnTo>
                  <a:lnTo>
                    <a:pt x="87430" y="757660"/>
                  </a:lnTo>
                  <a:lnTo>
                    <a:pt x="85045" y="729759"/>
                  </a:lnTo>
                  <a:lnTo>
                    <a:pt x="84702" y="698614"/>
                  </a:lnTo>
                  <a:lnTo>
                    <a:pt x="86996" y="663797"/>
                  </a:lnTo>
                  <a:lnTo>
                    <a:pt x="92525" y="624880"/>
                  </a:lnTo>
                  <a:lnTo>
                    <a:pt x="100755" y="586757"/>
                  </a:lnTo>
                  <a:lnTo>
                    <a:pt x="110503" y="554139"/>
                  </a:lnTo>
                  <a:lnTo>
                    <a:pt x="121375" y="526301"/>
                  </a:lnTo>
                  <a:lnTo>
                    <a:pt x="132975" y="502531"/>
                  </a:lnTo>
                  <a:lnTo>
                    <a:pt x="138829" y="489213"/>
                  </a:lnTo>
                  <a:lnTo>
                    <a:pt x="142681" y="474842"/>
                  </a:lnTo>
                  <a:lnTo>
                    <a:pt x="144456" y="459803"/>
                  </a:lnTo>
                  <a:lnTo>
                    <a:pt x="144076" y="444493"/>
                  </a:lnTo>
                  <a:lnTo>
                    <a:pt x="142357" y="416450"/>
                  </a:lnTo>
                  <a:lnTo>
                    <a:pt x="142758" y="385226"/>
                  </a:lnTo>
                  <a:lnTo>
                    <a:pt x="152346" y="311639"/>
                  </a:lnTo>
                  <a:lnTo>
                    <a:pt x="172019" y="241430"/>
                  </a:lnTo>
                  <a:lnTo>
                    <a:pt x="183555" y="213957"/>
                  </a:lnTo>
                  <a:lnTo>
                    <a:pt x="195724" y="190594"/>
                  </a:lnTo>
                  <a:lnTo>
                    <a:pt x="201893" y="177476"/>
                  </a:lnTo>
                  <a:lnTo>
                    <a:pt x="206090" y="163216"/>
                  </a:lnTo>
                  <a:lnTo>
                    <a:pt x="208224" y="148202"/>
                  </a:lnTo>
                  <a:lnTo>
                    <a:pt x="208213" y="132829"/>
                  </a:lnTo>
                  <a:lnTo>
                    <a:pt x="207176" y="104665"/>
                  </a:lnTo>
                  <a:lnTo>
                    <a:pt x="208326" y="73397"/>
                  </a:lnTo>
                  <a:lnTo>
                    <a:pt x="212288" y="38637"/>
                  </a:lnTo>
                  <a:lnTo>
                    <a:pt x="219676" y="0"/>
                  </a:lnTo>
                  <a:lnTo>
                    <a:pt x="287633" y="26053"/>
                  </a:lnTo>
                  <a:lnTo>
                    <a:pt x="319472" y="21526"/>
                  </a:lnTo>
                  <a:lnTo>
                    <a:pt x="387391" y="47704"/>
                  </a:lnTo>
                  <a:lnTo>
                    <a:pt x="377580" y="84557"/>
                  </a:lnTo>
                  <a:lnTo>
                    <a:pt x="366651" y="115974"/>
                  </a:lnTo>
                  <a:lnTo>
                    <a:pt x="354905" y="142708"/>
                  </a:lnTo>
                  <a:lnTo>
                    <a:pt x="342644" y="165500"/>
                  </a:lnTo>
                  <a:lnTo>
                    <a:pt x="336471" y="178343"/>
                  </a:lnTo>
                  <a:lnTo>
                    <a:pt x="332298" y="192357"/>
                  </a:lnTo>
                  <a:lnTo>
                    <a:pt x="330215" y="207132"/>
                  </a:lnTo>
                  <a:lnTo>
                    <a:pt x="330307" y="222258"/>
                  </a:lnTo>
                  <a:lnTo>
                    <a:pt x="331589" y="249962"/>
                  </a:lnTo>
                  <a:lnTo>
                    <a:pt x="327519" y="314780"/>
                  </a:lnTo>
                  <a:lnTo>
                    <a:pt x="302000" y="421596"/>
                  </a:lnTo>
                  <a:lnTo>
                    <a:pt x="290914" y="448689"/>
                  </a:lnTo>
                  <a:lnTo>
                    <a:pt x="279212" y="471876"/>
                  </a:lnTo>
                  <a:lnTo>
                    <a:pt x="273344" y="484919"/>
                  </a:lnTo>
                  <a:lnTo>
                    <a:pt x="269507" y="499050"/>
                  </a:lnTo>
                  <a:lnTo>
                    <a:pt x="267781" y="513865"/>
                  </a:lnTo>
                  <a:lnTo>
                    <a:pt x="268244" y="528953"/>
                  </a:lnTo>
                  <a:lnTo>
                    <a:pt x="270189" y="556508"/>
                  </a:lnTo>
                  <a:lnTo>
                    <a:pt x="267683" y="621274"/>
                  </a:lnTo>
                  <a:lnTo>
                    <a:pt x="244719" y="728742"/>
                  </a:lnTo>
                  <a:lnTo>
                    <a:pt x="234282" y="756186"/>
                  </a:lnTo>
                  <a:lnTo>
                    <a:pt x="223136" y="779752"/>
                  </a:lnTo>
                  <a:lnTo>
                    <a:pt x="217590" y="792993"/>
                  </a:lnTo>
                  <a:lnTo>
                    <a:pt x="214094" y="807234"/>
                  </a:lnTo>
                  <a:lnTo>
                    <a:pt x="212719" y="822065"/>
                  </a:lnTo>
                  <a:lnTo>
                    <a:pt x="213536" y="837076"/>
                  </a:lnTo>
                  <a:lnTo>
                    <a:pt x="216138" y="864486"/>
                  </a:lnTo>
                  <a:lnTo>
                    <a:pt x="216861" y="895028"/>
                  </a:lnTo>
                  <a:lnTo>
                    <a:pt x="215178" y="929167"/>
                  </a:lnTo>
                  <a:lnTo>
                    <a:pt x="210551" y="967371"/>
                  </a:lnTo>
                  <a:lnTo>
                    <a:pt x="203422" y="1004914"/>
                  </a:lnTo>
                  <a:lnTo>
                    <a:pt x="194788" y="1037221"/>
                  </a:lnTo>
                  <a:lnTo>
                    <a:pt x="185007" y="1064994"/>
                  </a:lnTo>
                  <a:lnTo>
                    <a:pt x="174434" y="1088933"/>
                  </a:lnTo>
                  <a:lnTo>
                    <a:pt x="169197" y="1102354"/>
                  </a:lnTo>
                  <a:lnTo>
                    <a:pt x="166041" y="1116692"/>
                  </a:lnTo>
                  <a:lnTo>
                    <a:pt x="165025" y="1131536"/>
                  </a:lnTo>
                  <a:lnTo>
                    <a:pt x="166203" y="1146478"/>
                  </a:lnTo>
                  <a:lnTo>
                    <a:pt x="169452" y="1173714"/>
                  </a:lnTo>
                  <a:lnTo>
                    <a:pt x="170899" y="1204152"/>
                  </a:lnTo>
                  <a:lnTo>
                    <a:pt x="170020" y="1238273"/>
                  </a:lnTo>
                  <a:lnTo>
                    <a:pt x="166299" y="1276551"/>
                  </a:lnTo>
                  <a:lnTo>
                    <a:pt x="160059" y="1314281"/>
                  </a:lnTo>
                  <a:lnTo>
                    <a:pt x="152194" y="1346841"/>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8" name="Freeform: Shape 7">
              <a:extLst>
                <a:ext uri="{FF2B5EF4-FFF2-40B4-BE49-F238E27FC236}">
                  <a16:creationId xmlns:a16="http://schemas.microsoft.com/office/drawing/2014/main" id="{16BE7719-7193-AA1A-9136-2ED1A785165B}"/>
                </a:ext>
              </a:extLst>
            </p:cNvPr>
            <p:cNvSpPr/>
            <p:nvPr userDrawn="1"/>
          </p:nvSpPr>
          <p:spPr>
            <a:xfrm rot="14016479" flipH="1">
              <a:off x="11562598" y="1072719"/>
              <a:ext cx="396316" cy="1360756"/>
            </a:xfrm>
            <a:custGeom>
              <a:avLst/>
              <a:gdLst>
                <a:gd name="connsiteX0" fmla="*/ 1895 w 396316"/>
                <a:gd name="connsiteY0" fmla="*/ 1360756 h 1360756"/>
                <a:gd name="connsiteX1" fmla="*/ 179155 w 396316"/>
                <a:gd name="connsiteY1" fmla="*/ 1230107 h 1360756"/>
                <a:gd name="connsiteX2" fmla="*/ 179823 w 396316"/>
                <a:gd name="connsiteY2" fmla="*/ 1204153 h 1360756"/>
                <a:gd name="connsiteX3" fmla="*/ 178378 w 396316"/>
                <a:gd name="connsiteY3" fmla="*/ 1173715 h 1360756"/>
                <a:gd name="connsiteX4" fmla="*/ 175128 w 396316"/>
                <a:gd name="connsiteY4" fmla="*/ 1146478 h 1360756"/>
                <a:gd name="connsiteX5" fmla="*/ 173950 w 396316"/>
                <a:gd name="connsiteY5" fmla="*/ 1131536 h 1360756"/>
                <a:gd name="connsiteX6" fmla="*/ 174966 w 396316"/>
                <a:gd name="connsiteY6" fmla="*/ 1116691 h 1360756"/>
                <a:gd name="connsiteX7" fmla="*/ 178122 w 396316"/>
                <a:gd name="connsiteY7" fmla="*/ 1102354 h 1360756"/>
                <a:gd name="connsiteX8" fmla="*/ 183359 w 396316"/>
                <a:gd name="connsiteY8" fmla="*/ 1088934 h 1360756"/>
                <a:gd name="connsiteX9" fmla="*/ 193932 w 396316"/>
                <a:gd name="connsiteY9" fmla="*/ 1064996 h 1360756"/>
                <a:gd name="connsiteX10" fmla="*/ 203713 w 396316"/>
                <a:gd name="connsiteY10" fmla="*/ 1037221 h 1360756"/>
                <a:gd name="connsiteX11" fmla="*/ 212347 w 396316"/>
                <a:gd name="connsiteY11" fmla="*/ 1004914 h 1360756"/>
                <a:gd name="connsiteX12" fmla="*/ 219475 w 396316"/>
                <a:gd name="connsiteY12" fmla="*/ 967371 h 1360756"/>
                <a:gd name="connsiteX13" fmla="*/ 224102 w 396316"/>
                <a:gd name="connsiteY13" fmla="*/ 929167 h 1360756"/>
                <a:gd name="connsiteX14" fmla="*/ 225786 w 396316"/>
                <a:gd name="connsiteY14" fmla="*/ 895028 h 1360756"/>
                <a:gd name="connsiteX15" fmla="*/ 225064 w 396316"/>
                <a:gd name="connsiteY15" fmla="*/ 864486 h 1360756"/>
                <a:gd name="connsiteX16" fmla="*/ 222460 w 396316"/>
                <a:gd name="connsiteY16" fmla="*/ 837076 h 1360756"/>
                <a:gd name="connsiteX17" fmla="*/ 221643 w 396316"/>
                <a:gd name="connsiteY17" fmla="*/ 822065 h 1360756"/>
                <a:gd name="connsiteX18" fmla="*/ 223019 w 396316"/>
                <a:gd name="connsiteY18" fmla="*/ 807234 h 1360756"/>
                <a:gd name="connsiteX19" fmla="*/ 226515 w 396316"/>
                <a:gd name="connsiteY19" fmla="*/ 792993 h 1360756"/>
                <a:gd name="connsiteX20" fmla="*/ 232061 w 396316"/>
                <a:gd name="connsiteY20" fmla="*/ 779753 h 1360756"/>
                <a:gd name="connsiteX21" fmla="*/ 243207 w 396316"/>
                <a:gd name="connsiteY21" fmla="*/ 756187 h 1360756"/>
                <a:gd name="connsiteX22" fmla="*/ 253644 w 396316"/>
                <a:gd name="connsiteY22" fmla="*/ 728742 h 1360756"/>
                <a:gd name="connsiteX23" fmla="*/ 276608 w 396316"/>
                <a:gd name="connsiteY23" fmla="*/ 621274 h 1360756"/>
                <a:gd name="connsiteX24" fmla="*/ 279113 w 396316"/>
                <a:gd name="connsiteY24" fmla="*/ 556509 h 1360756"/>
                <a:gd name="connsiteX25" fmla="*/ 277169 w 396316"/>
                <a:gd name="connsiteY25" fmla="*/ 528954 h 1360756"/>
                <a:gd name="connsiteX26" fmla="*/ 276706 w 396316"/>
                <a:gd name="connsiteY26" fmla="*/ 513865 h 1360756"/>
                <a:gd name="connsiteX27" fmla="*/ 278432 w 396316"/>
                <a:gd name="connsiteY27" fmla="*/ 499051 h 1360756"/>
                <a:gd name="connsiteX28" fmla="*/ 282268 w 396316"/>
                <a:gd name="connsiteY28" fmla="*/ 484919 h 1360756"/>
                <a:gd name="connsiteX29" fmla="*/ 288136 w 396316"/>
                <a:gd name="connsiteY29" fmla="*/ 471875 h 1360756"/>
                <a:gd name="connsiteX30" fmla="*/ 299838 w 396316"/>
                <a:gd name="connsiteY30" fmla="*/ 448689 h 1360756"/>
                <a:gd name="connsiteX31" fmla="*/ 310926 w 396316"/>
                <a:gd name="connsiteY31" fmla="*/ 421596 h 1360756"/>
                <a:gd name="connsiteX32" fmla="*/ 336445 w 396316"/>
                <a:gd name="connsiteY32" fmla="*/ 314779 h 1360756"/>
                <a:gd name="connsiteX33" fmla="*/ 340514 w 396316"/>
                <a:gd name="connsiteY33" fmla="*/ 249962 h 1360756"/>
                <a:gd name="connsiteX34" fmla="*/ 339232 w 396316"/>
                <a:gd name="connsiteY34" fmla="*/ 222259 h 1360756"/>
                <a:gd name="connsiteX35" fmla="*/ 339139 w 396316"/>
                <a:gd name="connsiteY35" fmla="*/ 207132 h 1360756"/>
                <a:gd name="connsiteX36" fmla="*/ 341223 w 396316"/>
                <a:gd name="connsiteY36" fmla="*/ 192357 h 1360756"/>
                <a:gd name="connsiteX37" fmla="*/ 345396 w 396316"/>
                <a:gd name="connsiteY37" fmla="*/ 178344 h 1360756"/>
                <a:gd name="connsiteX38" fmla="*/ 351569 w 396316"/>
                <a:gd name="connsiteY38" fmla="*/ 165499 h 1360756"/>
                <a:gd name="connsiteX39" fmla="*/ 363830 w 396316"/>
                <a:gd name="connsiteY39" fmla="*/ 142708 h 1360756"/>
                <a:gd name="connsiteX40" fmla="*/ 375575 w 396316"/>
                <a:gd name="connsiteY40" fmla="*/ 115974 h 1360756"/>
                <a:gd name="connsiteX41" fmla="*/ 386505 w 396316"/>
                <a:gd name="connsiteY41" fmla="*/ 84557 h 1360756"/>
                <a:gd name="connsiteX42" fmla="*/ 396316 w 396316"/>
                <a:gd name="connsiteY42" fmla="*/ 47704 h 1360756"/>
                <a:gd name="connsiteX43" fmla="*/ 328398 w 396316"/>
                <a:gd name="connsiteY43" fmla="*/ 21526 h 1360756"/>
                <a:gd name="connsiteX44" fmla="*/ 296558 w 396316"/>
                <a:gd name="connsiteY44" fmla="*/ 26054 h 1360756"/>
                <a:gd name="connsiteX45" fmla="*/ 228600 w 396316"/>
                <a:gd name="connsiteY45" fmla="*/ 0 h 1360756"/>
                <a:gd name="connsiteX46" fmla="*/ 221212 w 396316"/>
                <a:gd name="connsiteY46" fmla="*/ 38637 h 1360756"/>
                <a:gd name="connsiteX47" fmla="*/ 217251 w 396316"/>
                <a:gd name="connsiteY47" fmla="*/ 73398 h 1360756"/>
                <a:gd name="connsiteX48" fmla="*/ 216101 w 396316"/>
                <a:gd name="connsiteY48" fmla="*/ 104666 h 1360756"/>
                <a:gd name="connsiteX49" fmla="*/ 217137 w 396316"/>
                <a:gd name="connsiteY49" fmla="*/ 132829 h 1360756"/>
                <a:gd name="connsiteX50" fmla="*/ 217148 w 396316"/>
                <a:gd name="connsiteY50" fmla="*/ 148202 h 1360756"/>
                <a:gd name="connsiteX51" fmla="*/ 215014 w 396316"/>
                <a:gd name="connsiteY51" fmla="*/ 163216 h 1360756"/>
                <a:gd name="connsiteX52" fmla="*/ 210819 w 396316"/>
                <a:gd name="connsiteY52" fmla="*/ 177476 h 1360756"/>
                <a:gd name="connsiteX53" fmla="*/ 204649 w 396316"/>
                <a:gd name="connsiteY53" fmla="*/ 190595 h 1360756"/>
                <a:gd name="connsiteX54" fmla="*/ 192480 w 396316"/>
                <a:gd name="connsiteY54" fmla="*/ 213957 h 1360756"/>
                <a:gd name="connsiteX55" fmla="*/ 180943 w 396316"/>
                <a:gd name="connsiteY55" fmla="*/ 241431 h 1360756"/>
                <a:gd name="connsiteX56" fmla="*/ 161271 w 396316"/>
                <a:gd name="connsiteY56" fmla="*/ 311640 h 1360756"/>
                <a:gd name="connsiteX57" fmla="*/ 151682 w 396316"/>
                <a:gd name="connsiteY57" fmla="*/ 385226 h 1360756"/>
                <a:gd name="connsiteX58" fmla="*/ 151281 w 396316"/>
                <a:gd name="connsiteY58" fmla="*/ 416450 h 1360756"/>
                <a:gd name="connsiteX59" fmla="*/ 153002 w 396316"/>
                <a:gd name="connsiteY59" fmla="*/ 444494 h 1360756"/>
                <a:gd name="connsiteX60" fmla="*/ 153382 w 396316"/>
                <a:gd name="connsiteY60" fmla="*/ 459803 h 1360756"/>
                <a:gd name="connsiteX61" fmla="*/ 151607 w 396316"/>
                <a:gd name="connsiteY61" fmla="*/ 474842 h 1360756"/>
                <a:gd name="connsiteX62" fmla="*/ 147754 w 396316"/>
                <a:gd name="connsiteY62" fmla="*/ 489214 h 1360756"/>
                <a:gd name="connsiteX63" fmla="*/ 141899 w 396316"/>
                <a:gd name="connsiteY63" fmla="*/ 502531 h 1360756"/>
                <a:gd name="connsiteX64" fmla="*/ 130300 w 396316"/>
                <a:gd name="connsiteY64" fmla="*/ 526301 h 1360756"/>
                <a:gd name="connsiteX65" fmla="*/ 119429 w 396316"/>
                <a:gd name="connsiteY65" fmla="*/ 554139 h 1360756"/>
                <a:gd name="connsiteX66" fmla="*/ 109680 w 396316"/>
                <a:gd name="connsiteY66" fmla="*/ 586758 h 1360756"/>
                <a:gd name="connsiteX67" fmla="*/ 101449 w 396316"/>
                <a:gd name="connsiteY67" fmla="*/ 624880 h 1360756"/>
                <a:gd name="connsiteX68" fmla="*/ 95922 w 396316"/>
                <a:gd name="connsiteY68" fmla="*/ 663796 h 1360756"/>
                <a:gd name="connsiteX69" fmla="*/ 93627 w 396316"/>
                <a:gd name="connsiteY69" fmla="*/ 698615 h 1360756"/>
                <a:gd name="connsiteX70" fmla="*/ 93970 w 396316"/>
                <a:gd name="connsiteY70" fmla="*/ 729759 h 1360756"/>
                <a:gd name="connsiteX71" fmla="*/ 96355 w 396316"/>
                <a:gd name="connsiteY71" fmla="*/ 757660 h 1360756"/>
                <a:gd name="connsiteX72" fmla="*/ 97105 w 396316"/>
                <a:gd name="connsiteY72" fmla="*/ 772918 h 1360756"/>
                <a:gd name="connsiteX73" fmla="*/ 95692 w 396316"/>
                <a:gd name="connsiteY73" fmla="*/ 787986 h 1360756"/>
                <a:gd name="connsiteX74" fmla="*/ 92188 w 396316"/>
                <a:gd name="connsiteY74" fmla="*/ 802466 h 1360756"/>
                <a:gd name="connsiteX75" fmla="*/ 86660 w 396316"/>
                <a:gd name="connsiteY75" fmla="*/ 815968 h 1360756"/>
                <a:gd name="connsiteX76" fmla="*/ 75630 w 396316"/>
                <a:gd name="connsiteY76" fmla="*/ 840114 h 1360756"/>
                <a:gd name="connsiteX77" fmla="*/ 65425 w 396316"/>
                <a:gd name="connsiteY77" fmla="*/ 868288 h 1360756"/>
                <a:gd name="connsiteX78" fmla="*/ 56457 w 396316"/>
                <a:gd name="connsiteY78" fmla="*/ 901192 h 1360756"/>
                <a:gd name="connsiteX79" fmla="*/ 49136 w 396316"/>
                <a:gd name="connsiteY79" fmla="*/ 939522 h 1360756"/>
                <a:gd name="connsiteX80" fmla="*/ 44538 w 396316"/>
                <a:gd name="connsiteY80" fmla="*/ 978543 h 1360756"/>
                <a:gd name="connsiteX81" fmla="*/ 43071 w 396316"/>
                <a:gd name="connsiteY81" fmla="*/ 1013355 h 1360756"/>
                <a:gd name="connsiteX82" fmla="*/ 44152 w 396316"/>
                <a:gd name="connsiteY82" fmla="*/ 1044400 h 1360756"/>
                <a:gd name="connsiteX83" fmla="*/ 47198 w 396316"/>
                <a:gd name="connsiteY83" fmla="*/ 1072130 h 1360756"/>
                <a:gd name="connsiteX84" fmla="*/ 48308 w 396316"/>
                <a:gd name="connsiteY84" fmla="*/ 1087319 h 1360756"/>
                <a:gd name="connsiteX85" fmla="*/ 47258 w 396316"/>
                <a:gd name="connsiteY85" fmla="*/ 1102401 h 1360756"/>
                <a:gd name="connsiteX86" fmla="*/ 44099 w 396316"/>
                <a:gd name="connsiteY86" fmla="*/ 1116978 h 1360756"/>
                <a:gd name="connsiteX87" fmla="*/ 38890 w 396316"/>
                <a:gd name="connsiteY87" fmla="*/ 1130659 h 1360756"/>
                <a:gd name="connsiteX88" fmla="*/ 28435 w 396316"/>
                <a:gd name="connsiteY88" fmla="*/ 1155163 h 1360756"/>
                <a:gd name="connsiteX89" fmla="*/ 18907 w 396316"/>
                <a:gd name="connsiteY89" fmla="*/ 1183657 h 1360756"/>
                <a:gd name="connsiteX90" fmla="*/ 10725 w 396316"/>
                <a:gd name="connsiteY90" fmla="*/ 1216824 h 1360756"/>
                <a:gd name="connsiteX91" fmla="*/ 4314 w 396316"/>
                <a:gd name="connsiteY91" fmla="*/ 1255345 h 1360756"/>
                <a:gd name="connsiteX92" fmla="*/ 643 w 396316"/>
                <a:gd name="connsiteY92" fmla="*/ 1294449 h 1360756"/>
                <a:gd name="connsiteX93" fmla="*/ 0 w 396316"/>
                <a:gd name="connsiteY93" fmla="*/ 1329231 h 1360756"/>
                <a:gd name="connsiteX94" fmla="*/ 1814 w 396316"/>
                <a:gd name="connsiteY94" fmla="*/ 1360158 h 136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396316" h="1360756">
                  <a:moveTo>
                    <a:pt x="1895" y="1360756"/>
                  </a:moveTo>
                  <a:lnTo>
                    <a:pt x="179155" y="1230107"/>
                  </a:lnTo>
                  <a:lnTo>
                    <a:pt x="179823" y="1204153"/>
                  </a:lnTo>
                  <a:lnTo>
                    <a:pt x="178378" y="1173715"/>
                  </a:lnTo>
                  <a:lnTo>
                    <a:pt x="175128" y="1146478"/>
                  </a:lnTo>
                  <a:lnTo>
                    <a:pt x="173950" y="1131536"/>
                  </a:lnTo>
                  <a:lnTo>
                    <a:pt x="174966" y="1116691"/>
                  </a:lnTo>
                  <a:lnTo>
                    <a:pt x="178122" y="1102354"/>
                  </a:lnTo>
                  <a:lnTo>
                    <a:pt x="183359" y="1088934"/>
                  </a:lnTo>
                  <a:lnTo>
                    <a:pt x="193932" y="1064996"/>
                  </a:lnTo>
                  <a:lnTo>
                    <a:pt x="203713" y="1037221"/>
                  </a:lnTo>
                  <a:lnTo>
                    <a:pt x="212347" y="1004914"/>
                  </a:lnTo>
                  <a:lnTo>
                    <a:pt x="219475" y="967371"/>
                  </a:lnTo>
                  <a:lnTo>
                    <a:pt x="224102" y="929167"/>
                  </a:lnTo>
                  <a:lnTo>
                    <a:pt x="225786" y="895028"/>
                  </a:lnTo>
                  <a:lnTo>
                    <a:pt x="225064" y="864486"/>
                  </a:lnTo>
                  <a:lnTo>
                    <a:pt x="222460" y="837076"/>
                  </a:lnTo>
                  <a:lnTo>
                    <a:pt x="221643" y="822065"/>
                  </a:lnTo>
                  <a:lnTo>
                    <a:pt x="223019" y="807234"/>
                  </a:lnTo>
                  <a:lnTo>
                    <a:pt x="226515" y="792993"/>
                  </a:lnTo>
                  <a:lnTo>
                    <a:pt x="232061" y="779753"/>
                  </a:lnTo>
                  <a:lnTo>
                    <a:pt x="243207" y="756187"/>
                  </a:lnTo>
                  <a:lnTo>
                    <a:pt x="253644" y="728742"/>
                  </a:lnTo>
                  <a:lnTo>
                    <a:pt x="276608" y="621274"/>
                  </a:lnTo>
                  <a:lnTo>
                    <a:pt x="279113" y="556509"/>
                  </a:lnTo>
                  <a:lnTo>
                    <a:pt x="277169" y="528954"/>
                  </a:lnTo>
                  <a:lnTo>
                    <a:pt x="276706" y="513865"/>
                  </a:lnTo>
                  <a:lnTo>
                    <a:pt x="278432" y="499051"/>
                  </a:lnTo>
                  <a:lnTo>
                    <a:pt x="282268" y="484919"/>
                  </a:lnTo>
                  <a:lnTo>
                    <a:pt x="288136" y="471875"/>
                  </a:lnTo>
                  <a:lnTo>
                    <a:pt x="299838" y="448689"/>
                  </a:lnTo>
                  <a:lnTo>
                    <a:pt x="310926" y="421596"/>
                  </a:lnTo>
                  <a:lnTo>
                    <a:pt x="336445" y="314779"/>
                  </a:lnTo>
                  <a:lnTo>
                    <a:pt x="340514" y="249962"/>
                  </a:lnTo>
                  <a:lnTo>
                    <a:pt x="339232" y="222259"/>
                  </a:lnTo>
                  <a:lnTo>
                    <a:pt x="339139" y="207132"/>
                  </a:lnTo>
                  <a:lnTo>
                    <a:pt x="341223" y="192357"/>
                  </a:lnTo>
                  <a:lnTo>
                    <a:pt x="345396" y="178344"/>
                  </a:lnTo>
                  <a:lnTo>
                    <a:pt x="351569" y="165499"/>
                  </a:lnTo>
                  <a:lnTo>
                    <a:pt x="363830" y="142708"/>
                  </a:lnTo>
                  <a:lnTo>
                    <a:pt x="375575" y="115974"/>
                  </a:lnTo>
                  <a:lnTo>
                    <a:pt x="386505" y="84557"/>
                  </a:lnTo>
                  <a:lnTo>
                    <a:pt x="396316" y="47704"/>
                  </a:lnTo>
                  <a:lnTo>
                    <a:pt x="328398" y="21526"/>
                  </a:lnTo>
                  <a:lnTo>
                    <a:pt x="296558" y="26054"/>
                  </a:lnTo>
                  <a:lnTo>
                    <a:pt x="228600" y="0"/>
                  </a:lnTo>
                  <a:lnTo>
                    <a:pt x="221212" y="38637"/>
                  </a:lnTo>
                  <a:lnTo>
                    <a:pt x="217251" y="73398"/>
                  </a:lnTo>
                  <a:lnTo>
                    <a:pt x="216101" y="104666"/>
                  </a:lnTo>
                  <a:lnTo>
                    <a:pt x="217137" y="132829"/>
                  </a:lnTo>
                  <a:lnTo>
                    <a:pt x="217148" y="148202"/>
                  </a:lnTo>
                  <a:lnTo>
                    <a:pt x="215014" y="163216"/>
                  </a:lnTo>
                  <a:lnTo>
                    <a:pt x="210819" y="177476"/>
                  </a:lnTo>
                  <a:lnTo>
                    <a:pt x="204649" y="190595"/>
                  </a:lnTo>
                  <a:lnTo>
                    <a:pt x="192480" y="213957"/>
                  </a:lnTo>
                  <a:lnTo>
                    <a:pt x="180943" y="241431"/>
                  </a:lnTo>
                  <a:lnTo>
                    <a:pt x="161271" y="311640"/>
                  </a:lnTo>
                  <a:lnTo>
                    <a:pt x="151682" y="385226"/>
                  </a:lnTo>
                  <a:lnTo>
                    <a:pt x="151281" y="416450"/>
                  </a:lnTo>
                  <a:lnTo>
                    <a:pt x="153002" y="444494"/>
                  </a:lnTo>
                  <a:lnTo>
                    <a:pt x="153382" y="459803"/>
                  </a:lnTo>
                  <a:lnTo>
                    <a:pt x="151607" y="474842"/>
                  </a:lnTo>
                  <a:lnTo>
                    <a:pt x="147754" y="489214"/>
                  </a:lnTo>
                  <a:lnTo>
                    <a:pt x="141899" y="502531"/>
                  </a:lnTo>
                  <a:lnTo>
                    <a:pt x="130300" y="526301"/>
                  </a:lnTo>
                  <a:lnTo>
                    <a:pt x="119429" y="554139"/>
                  </a:lnTo>
                  <a:lnTo>
                    <a:pt x="109680" y="586758"/>
                  </a:lnTo>
                  <a:lnTo>
                    <a:pt x="101449" y="624880"/>
                  </a:lnTo>
                  <a:lnTo>
                    <a:pt x="95922" y="663796"/>
                  </a:lnTo>
                  <a:lnTo>
                    <a:pt x="93627" y="698615"/>
                  </a:lnTo>
                  <a:lnTo>
                    <a:pt x="93970" y="729759"/>
                  </a:lnTo>
                  <a:lnTo>
                    <a:pt x="96355" y="757660"/>
                  </a:lnTo>
                  <a:lnTo>
                    <a:pt x="97105" y="772918"/>
                  </a:lnTo>
                  <a:lnTo>
                    <a:pt x="95692" y="787986"/>
                  </a:lnTo>
                  <a:lnTo>
                    <a:pt x="92188" y="802466"/>
                  </a:lnTo>
                  <a:lnTo>
                    <a:pt x="86660" y="815968"/>
                  </a:lnTo>
                  <a:lnTo>
                    <a:pt x="75630" y="840114"/>
                  </a:lnTo>
                  <a:lnTo>
                    <a:pt x="65425" y="868288"/>
                  </a:lnTo>
                  <a:lnTo>
                    <a:pt x="56457" y="901192"/>
                  </a:lnTo>
                  <a:lnTo>
                    <a:pt x="49136" y="939522"/>
                  </a:lnTo>
                  <a:lnTo>
                    <a:pt x="44538" y="978543"/>
                  </a:lnTo>
                  <a:lnTo>
                    <a:pt x="43071" y="1013355"/>
                  </a:lnTo>
                  <a:lnTo>
                    <a:pt x="44152" y="1044400"/>
                  </a:lnTo>
                  <a:lnTo>
                    <a:pt x="47198" y="1072130"/>
                  </a:lnTo>
                  <a:lnTo>
                    <a:pt x="48308" y="1087319"/>
                  </a:lnTo>
                  <a:lnTo>
                    <a:pt x="47258" y="1102401"/>
                  </a:lnTo>
                  <a:lnTo>
                    <a:pt x="44099" y="1116978"/>
                  </a:lnTo>
                  <a:lnTo>
                    <a:pt x="38890" y="1130659"/>
                  </a:lnTo>
                  <a:lnTo>
                    <a:pt x="28435" y="1155163"/>
                  </a:lnTo>
                  <a:lnTo>
                    <a:pt x="18907" y="1183657"/>
                  </a:lnTo>
                  <a:lnTo>
                    <a:pt x="10725" y="1216824"/>
                  </a:lnTo>
                  <a:lnTo>
                    <a:pt x="4314" y="1255345"/>
                  </a:lnTo>
                  <a:lnTo>
                    <a:pt x="643" y="1294449"/>
                  </a:lnTo>
                  <a:lnTo>
                    <a:pt x="0" y="1329231"/>
                  </a:lnTo>
                  <a:lnTo>
                    <a:pt x="1814" y="1360158"/>
                  </a:lnTo>
                  <a:close/>
                </a:path>
              </a:pathLst>
            </a:custGeom>
            <a:grpFill/>
          </p:spPr>
          <p:txBody>
            <a:bodyPr wrap="square" lIns="0" tIns="0" rIns="0" bIns="0" rtlCol="0">
              <a:noAutofit/>
            </a:bodyPr>
            <a:lstStyle/>
            <a:p>
              <a:pPr marL="0" marR="0" lvl="0" indent="0" algn="l" defTabSz="1217859" rtl="0" eaLnBrk="1" fontAlgn="auto" latinLnBrk="0" hangingPunct="1">
                <a:lnSpc>
                  <a:spcPct val="100000"/>
                </a:lnSpc>
                <a:spcBef>
                  <a:spcPts val="0"/>
                </a:spcBef>
                <a:spcAft>
                  <a:spcPts val="0"/>
                </a:spcAft>
                <a:buClrTx/>
                <a:buSzTx/>
                <a:buFontTx/>
                <a:buNone/>
                <a:tabLst/>
                <a:defRPr/>
              </a:pPr>
              <a:endParaRPr kumimoji="0" sz="2398"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Shape 9">
              <a:extLst>
                <a:ext uri="{FF2B5EF4-FFF2-40B4-BE49-F238E27FC236}">
                  <a16:creationId xmlns:a16="http://schemas.microsoft.com/office/drawing/2014/main" id="{181693D7-6DE7-354B-1CDE-182AC5FEEE47}"/>
                </a:ext>
              </a:extLst>
            </p:cNvPr>
            <p:cNvSpPr/>
            <p:nvPr/>
          </p:nvSpPr>
          <p:spPr>
            <a:xfrm rot="2178052">
              <a:off x="3337106" y="-195329"/>
              <a:ext cx="824420" cy="956250"/>
            </a:xfrm>
            <a:custGeom>
              <a:avLst/>
              <a:gdLst>
                <a:gd name="connsiteX0" fmla="*/ 7604 w 824420"/>
                <a:gd name="connsiteY0" fmla="*/ 424448 h 956250"/>
                <a:gd name="connsiteX1" fmla="*/ 585403 w 824420"/>
                <a:gd name="connsiteY1" fmla="*/ 0 h 956250"/>
                <a:gd name="connsiteX2" fmla="*/ 586429 w 824420"/>
                <a:gd name="connsiteY2" fmla="*/ 500 h 956250"/>
                <a:gd name="connsiteX3" fmla="*/ 608584 w 824420"/>
                <a:gd name="connsiteY3" fmla="*/ 15155 h 956250"/>
                <a:gd name="connsiteX4" fmla="*/ 665559 w 824420"/>
                <a:gd name="connsiteY4" fmla="*/ 46054 h 956250"/>
                <a:gd name="connsiteX5" fmla="*/ 696328 w 824420"/>
                <a:gd name="connsiteY5" fmla="*/ 82429 h 956250"/>
                <a:gd name="connsiteX6" fmla="*/ 763602 w 824420"/>
                <a:gd name="connsiteY6" fmla="*/ 138099 h 956250"/>
                <a:gd name="connsiteX7" fmla="*/ 824357 w 824420"/>
                <a:gd name="connsiteY7" fmla="*/ 267302 h 956250"/>
                <a:gd name="connsiteX8" fmla="*/ 779769 w 824420"/>
                <a:gd name="connsiteY8" fmla="*/ 384118 h 956250"/>
                <a:gd name="connsiteX9" fmla="*/ 654868 w 824420"/>
                <a:gd name="connsiteY9" fmla="*/ 444613 h 956250"/>
                <a:gd name="connsiteX10" fmla="*/ 515887 w 824420"/>
                <a:gd name="connsiteY10" fmla="*/ 439007 h 956250"/>
                <a:gd name="connsiteX11" fmla="*/ 445614 w 824420"/>
                <a:gd name="connsiteY11" fmla="*/ 369386 h 956250"/>
                <a:gd name="connsiteX12" fmla="*/ 419669 w 824420"/>
                <a:gd name="connsiteY12" fmla="*/ 372254 h 956250"/>
                <a:gd name="connsiteX13" fmla="*/ 385510 w 824420"/>
                <a:gd name="connsiteY13" fmla="*/ 384640 h 956250"/>
                <a:gd name="connsiteX14" fmla="*/ 386684 w 824420"/>
                <a:gd name="connsiteY14" fmla="*/ 412280 h 956250"/>
                <a:gd name="connsiteX15" fmla="*/ 364520 w 824420"/>
                <a:gd name="connsiteY15" fmla="*/ 460128 h 956250"/>
                <a:gd name="connsiteX16" fmla="*/ 412759 w 824420"/>
                <a:gd name="connsiteY16" fmla="*/ 484769 h 956250"/>
                <a:gd name="connsiteX17" fmla="*/ 429838 w 824420"/>
                <a:gd name="connsiteY17" fmla="*/ 512017 h 956250"/>
                <a:gd name="connsiteX18" fmla="*/ 564256 w 824420"/>
                <a:gd name="connsiteY18" fmla="*/ 492070 h 956250"/>
                <a:gd name="connsiteX19" fmla="*/ 722143 w 824420"/>
                <a:gd name="connsiteY19" fmla="*/ 609930 h 956250"/>
                <a:gd name="connsiteX20" fmla="*/ 716666 w 824420"/>
                <a:gd name="connsiteY20" fmla="*/ 832612 h 956250"/>
                <a:gd name="connsiteX21" fmla="*/ 606889 w 824420"/>
                <a:gd name="connsiteY21" fmla="*/ 916574 h 956250"/>
                <a:gd name="connsiteX22" fmla="*/ 531662 w 824420"/>
                <a:gd name="connsiteY22" fmla="*/ 956078 h 956250"/>
                <a:gd name="connsiteX23" fmla="*/ 402720 w 824420"/>
                <a:gd name="connsiteY23" fmla="*/ 906535 h 956250"/>
                <a:gd name="connsiteX24" fmla="*/ 314586 w 824420"/>
                <a:gd name="connsiteY24" fmla="*/ 887761 h 956250"/>
                <a:gd name="connsiteX25" fmla="*/ 267781 w 824420"/>
                <a:gd name="connsiteY25" fmla="*/ 855819 h 956250"/>
                <a:gd name="connsiteX26" fmla="*/ 174822 w 824420"/>
                <a:gd name="connsiteY26" fmla="*/ 807189 h 956250"/>
                <a:gd name="connsiteX27" fmla="*/ 107027 w 824420"/>
                <a:gd name="connsiteY27" fmla="*/ 730919 h 956250"/>
                <a:gd name="connsiteX28" fmla="*/ 37014 w 824420"/>
                <a:gd name="connsiteY28" fmla="*/ 609148 h 956250"/>
                <a:gd name="connsiteX29" fmla="*/ 2204 w 824420"/>
                <a:gd name="connsiteY29" fmla="*/ 524012 h 956250"/>
                <a:gd name="connsiteX30" fmla="*/ 14590 w 824420"/>
                <a:gd name="connsiteY30" fmla="*/ 457520 h 956250"/>
                <a:gd name="connsiteX31" fmla="*/ 9880 w 824420"/>
                <a:gd name="connsiteY31" fmla="*/ 431771 h 9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420" h="956250">
                  <a:moveTo>
                    <a:pt x="7604" y="424448"/>
                  </a:moveTo>
                  <a:lnTo>
                    <a:pt x="585403" y="0"/>
                  </a:lnTo>
                  <a:lnTo>
                    <a:pt x="586429" y="500"/>
                  </a:lnTo>
                  <a:cubicBezTo>
                    <a:pt x="595172" y="5792"/>
                    <a:pt x="602457" y="11015"/>
                    <a:pt x="608584" y="15155"/>
                  </a:cubicBezTo>
                  <a:cubicBezTo>
                    <a:pt x="633095" y="31712"/>
                    <a:pt x="642091" y="30278"/>
                    <a:pt x="665559" y="46054"/>
                  </a:cubicBezTo>
                  <a:cubicBezTo>
                    <a:pt x="674033" y="51790"/>
                    <a:pt x="688375" y="63002"/>
                    <a:pt x="696328" y="82429"/>
                  </a:cubicBezTo>
                  <a:cubicBezTo>
                    <a:pt x="704281" y="101855"/>
                    <a:pt x="723446" y="108634"/>
                    <a:pt x="763602" y="138099"/>
                  </a:cubicBezTo>
                  <a:cubicBezTo>
                    <a:pt x="803627" y="167564"/>
                    <a:pt x="824357" y="267302"/>
                    <a:pt x="824357" y="267302"/>
                  </a:cubicBezTo>
                  <a:cubicBezTo>
                    <a:pt x="824357" y="267302"/>
                    <a:pt x="828008" y="308631"/>
                    <a:pt x="779769" y="384118"/>
                  </a:cubicBezTo>
                  <a:cubicBezTo>
                    <a:pt x="731660" y="459607"/>
                    <a:pt x="683681" y="448785"/>
                    <a:pt x="654868" y="444613"/>
                  </a:cubicBezTo>
                  <a:cubicBezTo>
                    <a:pt x="626055" y="440441"/>
                    <a:pt x="591505" y="465604"/>
                    <a:pt x="515887" y="439007"/>
                  </a:cubicBezTo>
                  <a:cubicBezTo>
                    <a:pt x="440269" y="412410"/>
                    <a:pt x="445614" y="369386"/>
                    <a:pt x="445614" y="369386"/>
                  </a:cubicBezTo>
                  <a:cubicBezTo>
                    <a:pt x="445614" y="369386"/>
                    <a:pt x="445614" y="369386"/>
                    <a:pt x="419669" y="372254"/>
                  </a:cubicBezTo>
                  <a:cubicBezTo>
                    <a:pt x="405589" y="373819"/>
                    <a:pt x="393724" y="379686"/>
                    <a:pt x="385510" y="384640"/>
                  </a:cubicBezTo>
                  <a:cubicBezTo>
                    <a:pt x="387205" y="394418"/>
                    <a:pt x="387988" y="403936"/>
                    <a:pt x="386684" y="412280"/>
                  </a:cubicBezTo>
                  <a:cubicBezTo>
                    <a:pt x="381730" y="444091"/>
                    <a:pt x="364520" y="460128"/>
                    <a:pt x="364520" y="460128"/>
                  </a:cubicBezTo>
                  <a:cubicBezTo>
                    <a:pt x="364520" y="460128"/>
                    <a:pt x="400634" y="468863"/>
                    <a:pt x="412759" y="484769"/>
                  </a:cubicBezTo>
                  <a:cubicBezTo>
                    <a:pt x="425015" y="500675"/>
                    <a:pt x="429838" y="512017"/>
                    <a:pt x="429838" y="512017"/>
                  </a:cubicBezTo>
                  <a:cubicBezTo>
                    <a:pt x="429838" y="512017"/>
                    <a:pt x="483423" y="465212"/>
                    <a:pt x="564256" y="492070"/>
                  </a:cubicBezTo>
                  <a:cubicBezTo>
                    <a:pt x="645090" y="518928"/>
                    <a:pt x="694894" y="545784"/>
                    <a:pt x="722143" y="609930"/>
                  </a:cubicBezTo>
                  <a:cubicBezTo>
                    <a:pt x="749391" y="674205"/>
                    <a:pt x="770512" y="753865"/>
                    <a:pt x="716666" y="832612"/>
                  </a:cubicBezTo>
                  <a:cubicBezTo>
                    <a:pt x="662561" y="911489"/>
                    <a:pt x="634790" y="907969"/>
                    <a:pt x="606889" y="916574"/>
                  </a:cubicBezTo>
                  <a:cubicBezTo>
                    <a:pt x="578990" y="925179"/>
                    <a:pt x="573383" y="958946"/>
                    <a:pt x="531662" y="956078"/>
                  </a:cubicBezTo>
                  <a:cubicBezTo>
                    <a:pt x="489942" y="953209"/>
                    <a:pt x="421625" y="918530"/>
                    <a:pt x="402720" y="906535"/>
                  </a:cubicBezTo>
                  <a:cubicBezTo>
                    <a:pt x="383815" y="894541"/>
                    <a:pt x="341313" y="900277"/>
                    <a:pt x="314586" y="887761"/>
                  </a:cubicBezTo>
                  <a:cubicBezTo>
                    <a:pt x="287859" y="875375"/>
                    <a:pt x="267781" y="855819"/>
                    <a:pt x="267781" y="855819"/>
                  </a:cubicBezTo>
                  <a:cubicBezTo>
                    <a:pt x="267781" y="855819"/>
                    <a:pt x="211980" y="853993"/>
                    <a:pt x="174822" y="807189"/>
                  </a:cubicBezTo>
                  <a:cubicBezTo>
                    <a:pt x="137665" y="760514"/>
                    <a:pt x="136491" y="752952"/>
                    <a:pt x="107027" y="730919"/>
                  </a:cubicBezTo>
                  <a:cubicBezTo>
                    <a:pt x="77561" y="708755"/>
                    <a:pt x="47836" y="648260"/>
                    <a:pt x="37014" y="609148"/>
                  </a:cubicBezTo>
                  <a:cubicBezTo>
                    <a:pt x="26193" y="570035"/>
                    <a:pt x="9896" y="567688"/>
                    <a:pt x="2204" y="524012"/>
                  </a:cubicBezTo>
                  <a:cubicBezTo>
                    <a:pt x="-5619" y="480336"/>
                    <a:pt x="9505" y="474469"/>
                    <a:pt x="14590" y="457520"/>
                  </a:cubicBezTo>
                  <a:cubicBezTo>
                    <a:pt x="17132" y="449046"/>
                    <a:pt x="13253" y="440213"/>
                    <a:pt x="9880" y="431771"/>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1" name="Freeform: Shape 38">
              <a:extLst>
                <a:ext uri="{FF2B5EF4-FFF2-40B4-BE49-F238E27FC236}">
                  <a16:creationId xmlns:a16="http://schemas.microsoft.com/office/drawing/2014/main" id="{0885D886-D352-AF17-0B15-55E549FF0581}"/>
                </a:ext>
              </a:extLst>
            </p:cNvPr>
            <p:cNvSpPr/>
            <p:nvPr/>
          </p:nvSpPr>
          <p:spPr>
            <a:xfrm rot="2178052">
              <a:off x="4018658" y="599530"/>
              <a:ext cx="811337" cy="846750"/>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grp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2" name="Freeform: Shape 11">
              <a:extLst>
                <a:ext uri="{FF2B5EF4-FFF2-40B4-BE49-F238E27FC236}">
                  <a16:creationId xmlns:a16="http://schemas.microsoft.com/office/drawing/2014/main" id="{ED22066F-7883-0AD2-30D4-7F2B9B2C467C}"/>
                </a:ext>
              </a:extLst>
            </p:cNvPr>
            <p:cNvSpPr/>
            <p:nvPr/>
          </p:nvSpPr>
          <p:spPr>
            <a:xfrm rot="2178052">
              <a:off x="4437060" y="-235812"/>
              <a:ext cx="896460" cy="864605"/>
            </a:xfrm>
            <a:custGeom>
              <a:avLst/>
              <a:gdLst>
                <a:gd name="connsiteX0" fmla="*/ 0 w 896460"/>
                <a:gd name="connsiteY0" fmla="*/ 517761 h 864605"/>
                <a:gd name="connsiteX1" fmla="*/ 341535 w 896460"/>
                <a:gd name="connsiteY1" fmla="*/ 266871 h 864605"/>
                <a:gd name="connsiteX2" fmla="*/ 348784 w 896460"/>
                <a:gd name="connsiteY2" fmla="*/ 284936 h 864605"/>
                <a:gd name="connsiteX3" fmla="*/ 355026 w 896460"/>
                <a:gd name="connsiteY3" fmla="*/ 317547 h 864605"/>
                <a:gd name="connsiteX4" fmla="*/ 346682 w 896460"/>
                <a:gd name="connsiteY4" fmla="*/ 367220 h 864605"/>
                <a:gd name="connsiteX5" fmla="*/ 347464 w 896460"/>
                <a:gd name="connsiteY5" fmla="*/ 368654 h 864605"/>
                <a:gd name="connsiteX6" fmla="*/ 364283 w 896460"/>
                <a:gd name="connsiteY6" fmla="*/ 417285 h 864605"/>
                <a:gd name="connsiteX7" fmla="*/ 406394 w 896460"/>
                <a:gd name="connsiteY7" fmla="*/ 437623 h 864605"/>
                <a:gd name="connsiteX8" fmla="*/ 428819 w 896460"/>
                <a:gd name="connsiteY8" fmla="*/ 460048 h 864605"/>
                <a:gd name="connsiteX9" fmla="*/ 449418 w 896460"/>
                <a:gd name="connsiteY9" fmla="*/ 454442 h 864605"/>
                <a:gd name="connsiteX10" fmla="*/ 463368 w 896460"/>
                <a:gd name="connsiteY10" fmla="*/ 442578 h 864605"/>
                <a:gd name="connsiteX11" fmla="*/ 503785 w 896460"/>
                <a:gd name="connsiteY11" fmla="*/ 420674 h 864605"/>
                <a:gd name="connsiteX12" fmla="*/ 481360 w 896460"/>
                <a:gd name="connsiteY12" fmla="*/ 378041 h 864605"/>
                <a:gd name="connsiteX13" fmla="*/ 471451 w 896460"/>
                <a:gd name="connsiteY13" fmla="*/ 303727 h 864605"/>
                <a:gd name="connsiteX14" fmla="*/ 403917 w 896460"/>
                <a:gd name="connsiteY14" fmla="*/ 228892 h 864605"/>
                <a:gd name="connsiteX15" fmla="*/ 401186 w 896460"/>
                <a:gd name="connsiteY15" fmla="*/ 223052 h 864605"/>
                <a:gd name="connsiteX16" fmla="*/ 704824 w 896460"/>
                <a:gd name="connsiteY16" fmla="*/ 0 h 864605"/>
                <a:gd name="connsiteX17" fmla="*/ 720340 w 896460"/>
                <a:gd name="connsiteY17" fmla="*/ 17422 h 864605"/>
                <a:gd name="connsiteX18" fmla="*/ 738593 w 896460"/>
                <a:gd name="connsiteY18" fmla="*/ 29155 h 864605"/>
                <a:gd name="connsiteX19" fmla="*/ 828553 w 896460"/>
                <a:gd name="connsiteY19" fmla="*/ 103861 h 864605"/>
                <a:gd name="connsiteX20" fmla="*/ 862320 w 896460"/>
                <a:gd name="connsiteY20" fmla="*/ 222112 h 864605"/>
                <a:gd name="connsiteX21" fmla="*/ 864015 w 896460"/>
                <a:gd name="connsiteY21" fmla="*/ 246493 h 864605"/>
                <a:gd name="connsiteX22" fmla="*/ 867927 w 896460"/>
                <a:gd name="connsiteY22" fmla="*/ 265136 h 864605"/>
                <a:gd name="connsiteX23" fmla="*/ 878617 w 896460"/>
                <a:gd name="connsiteY23" fmla="*/ 314418 h 864605"/>
                <a:gd name="connsiteX24" fmla="*/ 895957 w 896460"/>
                <a:gd name="connsiteY24" fmla="*/ 402943 h 864605"/>
                <a:gd name="connsiteX25" fmla="*/ 871838 w 896460"/>
                <a:gd name="connsiteY25" fmla="*/ 465394 h 864605"/>
                <a:gd name="connsiteX26" fmla="*/ 843285 w 896460"/>
                <a:gd name="connsiteY26" fmla="*/ 575692 h 864605"/>
                <a:gd name="connsiteX27" fmla="*/ 836114 w 896460"/>
                <a:gd name="connsiteY27" fmla="*/ 586122 h 864605"/>
                <a:gd name="connsiteX28" fmla="*/ 818513 w 896460"/>
                <a:gd name="connsiteY28" fmla="*/ 616499 h 864605"/>
                <a:gd name="connsiteX29" fmla="*/ 808214 w 896460"/>
                <a:gd name="connsiteY29" fmla="*/ 639836 h 864605"/>
                <a:gd name="connsiteX30" fmla="*/ 728163 w 896460"/>
                <a:gd name="connsiteY30" fmla="*/ 712717 h 864605"/>
                <a:gd name="connsiteX31" fmla="*/ 671449 w 896460"/>
                <a:gd name="connsiteY31" fmla="*/ 762520 h 864605"/>
                <a:gd name="connsiteX32" fmla="*/ 590615 w 896460"/>
                <a:gd name="connsiteY32" fmla="*/ 787422 h 864605"/>
                <a:gd name="connsiteX33" fmla="*/ 541594 w 896460"/>
                <a:gd name="connsiteY33" fmla="*/ 814932 h 864605"/>
                <a:gd name="connsiteX34" fmla="*/ 509522 w 896460"/>
                <a:gd name="connsiteY34" fmla="*/ 818322 h 864605"/>
                <a:gd name="connsiteX35" fmla="*/ 426472 w 896460"/>
                <a:gd name="connsiteY35" fmla="*/ 862518 h 864605"/>
                <a:gd name="connsiteX36" fmla="*/ 407307 w 896460"/>
                <a:gd name="connsiteY36" fmla="*/ 864605 h 864605"/>
                <a:gd name="connsiteX37" fmla="*/ 341075 w 896460"/>
                <a:gd name="connsiteY37" fmla="*/ 843354 h 864605"/>
                <a:gd name="connsiteX38" fmla="*/ 326212 w 896460"/>
                <a:gd name="connsiteY38" fmla="*/ 836052 h 864605"/>
                <a:gd name="connsiteX39" fmla="*/ 288534 w 896460"/>
                <a:gd name="connsiteY39" fmla="*/ 832011 h 864605"/>
                <a:gd name="connsiteX40" fmla="*/ 207440 w 896460"/>
                <a:gd name="connsiteY40" fmla="*/ 819233 h 864605"/>
                <a:gd name="connsiteX41" fmla="*/ 78497 w 896460"/>
                <a:gd name="connsiteY41" fmla="*/ 701374 h 864605"/>
                <a:gd name="connsiteX42" fmla="*/ 46164 w 896460"/>
                <a:gd name="connsiteY42" fmla="*/ 607373 h 864605"/>
                <a:gd name="connsiteX43" fmla="*/ 43034 w 896460"/>
                <a:gd name="connsiteY43" fmla="*/ 582471 h 864605"/>
                <a:gd name="connsiteX44" fmla="*/ 40688 w 896460"/>
                <a:gd name="connsiteY44" fmla="*/ 579473 h 864605"/>
                <a:gd name="connsiteX45" fmla="*/ 8697 w 896460"/>
                <a:gd name="connsiteY45" fmla="*/ 534656 h 86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96460" h="864605">
                  <a:moveTo>
                    <a:pt x="0" y="517761"/>
                  </a:moveTo>
                  <a:lnTo>
                    <a:pt x="341535" y="266871"/>
                  </a:lnTo>
                  <a:lnTo>
                    <a:pt x="348784" y="284936"/>
                  </a:lnTo>
                  <a:cubicBezTo>
                    <a:pt x="351277" y="293297"/>
                    <a:pt x="353592" y="304053"/>
                    <a:pt x="355026" y="317547"/>
                  </a:cubicBezTo>
                  <a:cubicBezTo>
                    <a:pt x="357633" y="343231"/>
                    <a:pt x="352157" y="358615"/>
                    <a:pt x="346682" y="367220"/>
                  </a:cubicBezTo>
                  <a:lnTo>
                    <a:pt x="347464" y="368654"/>
                  </a:lnTo>
                  <a:cubicBezTo>
                    <a:pt x="352418" y="377650"/>
                    <a:pt x="359589" y="400858"/>
                    <a:pt x="364283" y="417285"/>
                  </a:cubicBezTo>
                  <a:cubicBezTo>
                    <a:pt x="378233" y="420805"/>
                    <a:pt x="394790" y="426933"/>
                    <a:pt x="406394" y="437623"/>
                  </a:cubicBezTo>
                  <a:cubicBezTo>
                    <a:pt x="416694" y="447010"/>
                    <a:pt x="423995" y="454702"/>
                    <a:pt x="428819" y="460048"/>
                  </a:cubicBezTo>
                  <a:cubicBezTo>
                    <a:pt x="434816" y="457571"/>
                    <a:pt x="442508" y="454963"/>
                    <a:pt x="449418" y="454442"/>
                  </a:cubicBezTo>
                  <a:cubicBezTo>
                    <a:pt x="454503" y="449879"/>
                    <a:pt x="459066" y="445967"/>
                    <a:pt x="463368" y="442578"/>
                  </a:cubicBezTo>
                  <a:cubicBezTo>
                    <a:pt x="473407" y="434625"/>
                    <a:pt x="486966" y="427193"/>
                    <a:pt x="503785" y="420674"/>
                  </a:cubicBezTo>
                  <a:cubicBezTo>
                    <a:pt x="495571" y="407116"/>
                    <a:pt x="486966" y="391471"/>
                    <a:pt x="481360" y="378041"/>
                  </a:cubicBezTo>
                  <a:cubicBezTo>
                    <a:pt x="471191" y="353922"/>
                    <a:pt x="471060" y="318720"/>
                    <a:pt x="471451" y="303727"/>
                  </a:cubicBezTo>
                  <a:cubicBezTo>
                    <a:pt x="458805" y="293558"/>
                    <a:pt x="427775" y="266831"/>
                    <a:pt x="403917" y="228892"/>
                  </a:cubicBezTo>
                  <a:lnTo>
                    <a:pt x="401186" y="223052"/>
                  </a:lnTo>
                  <a:lnTo>
                    <a:pt x="704824" y="0"/>
                  </a:lnTo>
                  <a:lnTo>
                    <a:pt x="720340" y="17422"/>
                  </a:lnTo>
                  <a:cubicBezTo>
                    <a:pt x="722036" y="19638"/>
                    <a:pt x="731162" y="24853"/>
                    <a:pt x="738593" y="29155"/>
                  </a:cubicBezTo>
                  <a:cubicBezTo>
                    <a:pt x="762061" y="42584"/>
                    <a:pt x="797523" y="63053"/>
                    <a:pt x="828553" y="103861"/>
                  </a:cubicBezTo>
                  <a:cubicBezTo>
                    <a:pt x="854106" y="137367"/>
                    <a:pt x="856844" y="165659"/>
                    <a:pt x="862320" y="222112"/>
                  </a:cubicBezTo>
                  <a:cubicBezTo>
                    <a:pt x="863363" y="232803"/>
                    <a:pt x="863754" y="240495"/>
                    <a:pt x="864015" y="246493"/>
                  </a:cubicBezTo>
                  <a:cubicBezTo>
                    <a:pt x="864537" y="258356"/>
                    <a:pt x="864797" y="260051"/>
                    <a:pt x="867927" y="265136"/>
                  </a:cubicBezTo>
                  <a:cubicBezTo>
                    <a:pt x="878095" y="281303"/>
                    <a:pt x="878748" y="305422"/>
                    <a:pt x="878617" y="314418"/>
                  </a:cubicBezTo>
                  <a:cubicBezTo>
                    <a:pt x="883572" y="325630"/>
                    <a:pt x="899477" y="365656"/>
                    <a:pt x="895957" y="402943"/>
                  </a:cubicBezTo>
                  <a:cubicBezTo>
                    <a:pt x="892698" y="436319"/>
                    <a:pt x="878878" y="456919"/>
                    <a:pt x="871838" y="465394"/>
                  </a:cubicBezTo>
                  <a:cubicBezTo>
                    <a:pt x="871447" y="482864"/>
                    <a:pt x="868057" y="539577"/>
                    <a:pt x="843285" y="575692"/>
                  </a:cubicBezTo>
                  <a:lnTo>
                    <a:pt x="836114" y="586122"/>
                  </a:lnTo>
                  <a:cubicBezTo>
                    <a:pt x="823859" y="603984"/>
                    <a:pt x="823859" y="603984"/>
                    <a:pt x="818513" y="616499"/>
                  </a:cubicBezTo>
                  <a:cubicBezTo>
                    <a:pt x="816297" y="621715"/>
                    <a:pt x="813168" y="628885"/>
                    <a:pt x="808214" y="639836"/>
                  </a:cubicBezTo>
                  <a:cubicBezTo>
                    <a:pt x="789049" y="682208"/>
                    <a:pt x="741201" y="706720"/>
                    <a:pt x="728163" y="712717"/>
                  </a:cubicBezTo>
                  <a:cubicBezTo>
                    <a:pt x="722035" y="720279"/>
                    <a:pt x="703913" y="740748"/>
                    <a:pt x="671449" y="762520"/>
                  </a:cubicBezTo>
                  <a:cubicBezTo>
                    <a:pt x="638203" y="785075"/>
                    <a:pt x="603262" y="787422"/>
                    <a:pt x="590615" y="787422"/>
                  </a:cubicBezTo>
                  <a:cubicBezTo>
                    <a:pt x="581750" y="793550"/>
                    <a:pt x="558152" y="809065"/>
                    <a:pt x="541594" y="814932"/>
                  </a:cubicBezTo>
                  <a:cubicBezTo>
                    <a:pt x="529469" y="819103"/>
                    <a:pt x="518257" y="818843"/>
                    <a:pt x="509522" y="818322"/>
                  </a:cubicBezTo>
                  <a:cubicBezTo>
                    <a:pt x="482143" y="842180"/>
                    <a:pt x="447723" y="857825"/>
                    <a:pt x="426472" y="862518"/>
                  </a:cubicBezTo>
                  <a:cubicBezTo>
                    <a:pt x="419953" y="863953"/>
                    <a:pt x="413434" y="864605"/>
                    <a:pt x="407307" y="864605"/>
                  </a:cubicBezTo>
                  <a:cubicBezTo>
                    <a:pt x="379928" y="864605"/>
                    <a:pt x="357112" y="852219"/>
                    <a:pt x="341075" y="843354"/>
                  </a:cubicBezTo>
                  <a:cubicBezTo>
                    <a:pt x="335208" y="840094"/>
                    <a:pt x="329603" y="837095"/>
                    <a:pt x="326212" y="836052"/>
                  </a:cubicBezTo>
                  <a:cubicBezTo>
                    <a:pt x="318520" y="833706"/>
                    <a:pt x="303918" y="832924"/>
                    <a:pt x="288534" y="832011"/>
                  </a:cubicBezTo>
                  <a:cubicBezTo>
                    <a:pt x="263371" y="830577"/>
                    <a:pt x="232080" y="828882"/>
                    <a:pt x="207440" y="819233"/>
                  </a:cubicBezTo>
                  <a:cubicBezTo>
                    <a:pt x="159591" y="800590"/>
                    <a:pt x="121130" y="765389"/>
                    <a:pt x="78497" y="701374"/>
                  </a:cubicBezTo>
                  <a:cubicBezTo>
                    <a:pt x="51248" y="660306"/>
                    <a:pt x="48641" y="633448"/>
                    <a:pt x="46164" y="607373"/>
                  </a:cubicBezTo>
                  <a:cubicBezTo>
                    <a:pt x="45382" y="598898"/>
                    <a:pt x="44599" y="590945"/>
                    <a:pt x="43034" y="582471"/>
                  </a:cubicBezTo>
                  <a:lnTo>
                    <a:pt x="40688" y="579473"/>
                  </a:lnTo>
                  <a:cubicBezTo>
                    <a:pt x="32344" y="569042"/>
                    <a:pt x="20382" y="554147"/>
                    <a:pt x="8697" y="534656"/>
                  </a:cubicBezTo>
                  <a:close/>
                </a:path>
              </a:pathLst>
            </a:custGeom>
            <a:grp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4" name="Freeform 804">
              <a:extLst>
                <a:ext uri="{FF2B5EF4-FFF2-40B4-BE49-F238E27FC236}">
                  <a16:creationId xmlns:a16="http://schemas.microsoft.com/office/drawing/2014/main" id="{990E9FD4-E3D4-4520-412F-2D1E9B763451}"/>
                </a:ext>
              </a:extLst>
            </p:cNvPr>
            <p:cNvSpPr/>
            <p:nvPr userDrawn="1"/>
          </p:nvSpPr>
          <p:spPr>
            <a:xfrm rot="2446866">
              <a:off x="1632046" y="308867"/>
              <a:ext cx="1252773" cy="581372"/>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grp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5" name="Freeform: Shape 14">
              <a:extLst>
                <a:ext uri="{FF2B5EF4-FFF2-40B4-BE49-F238E27FC236}">
                  <a16:creationId xmlns:a16="http://schemas.microsoft.com/office/drawing/2014/main" id="{30B3320C-6613-2260-3CAB-0E41A5CE2C4C}"/>
                </a:ext>
              </a:extLst>
            </p:cNvPr>
            <p:cNvSpPr/>
            <p:nvPr userDrawn="1"/>
          </p:nvSpPr>
          <p:spPr>
            <a:xfrm rot="7810828">
              <a:off x="6121498" y="55300"/>
              <a:ext cx="830632" cy="452973"/>
            </a:xfrm>
            <a:custGeom>
              <a:avLst/>
              <a:gdLst>
                <a:gd name="connsiteX0" fmla="*/ 237757 w 830632"/>
                <a:gd name="connsiteY0" fmla="*/ 452973 h 452973"/>
                <a:gd name="connsiteX1" fmla="*/ 0 w 830632"/>
                <a:gd name="connsiteY1" fmla="*/ 171431 h 452973"/>
                <a:gd name="connsiteX2" fmla="*/ 400522 w 830632"/>
                <a:gd name="connsiteY2" fmla="*/ 91373 h 452973"/>
                <a:gd name="connsiteX3" fmla="*/ 447867 w 830632"/>
                <a:gd name="connsiteY3" fmla="*/ 116410 h 452973"/>
                <a:gd name="connsiteX4" fmla="*/ 483002 w 830632"/>
                <a:gd name="connsiteY4" fmla="*/ 208749 h 452973"/>
                <a:gd name="connsiteX5" fmla="*/ 599632 w 830632"/>
                <a:gd name="connsiteY5" fmla="*/ 95808 h 452973"/>
                <a:gd name="connsiteX6" fmla="*/ 751650 w 830632"/>
                <a:gd name="connsiteY6" fmla="*/ 0 h 452973"/>
                <a:gd name="connsiteX7" fmla="*/ 830632 w 830632"/>
                <a:gd name="connsiteY7" fmla="*/ 355627 h 452973"/>
                <a:gd name="connsiteX8" fmla="*/ 650793 w 830632"/>
                <a:gd name="connsiteY8" fmla="*/ 326186 h 452973"/>
                <a:gd name="connsiteX9" fmla="*/ 496038 w 830632"/>
                <a:gd name="connsiteY9" fmla="*/ 267513 h 452973"/>
                <a:gd name="connsiteX10" fmla="*/ 503162 w 830632"/>
                <a:gd name="connsiteY10" fmla="*/ 365431 h 452973"/>
                <a:gd name="connsiteX11" fmla="*/ 470474 w 830632"/>
                <a:gd name="connsiteY11" fmla="*/ 406457 h 45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632" h="452973">
                  <a:moveTo>
                    <a:pt x="237757" y="452973"/>
                  </a:moveTo>
                  <a:lnTo>
                    <a:pt x="0" y="171431"/>
                  </a:lnTo>
                  <a:lnTo>
                    <a:pt x="400522" y="91373"/>
                  </a:lnTo>
                  <a:cubicBezTo>
                    <a:pt x="420682" y="87361"/>
                    <a:pt x="440872" y="98040"/>
                    <a:pt x="447867" y="116410"/>
                  </a:cubicBezTo>
                  <a:lnTo>
                    <a:pt x="483002" y="208749"/>
                  </a:lnTo>
                  <a:cubicBezTo>
                    <a:pt x="538742" y="197376"/>
                    <a:pt x="553463" y="147632"/>
                    <a:pt x="599632" y="95808"/>
                  </a:cubicBezTo>
                  <a:cubicBezTo>
                    <a:pt x="631524" y="60030"/>
                    <a:pt x="682556" y="13815"/>
                    <a:pt x="751650" y="0"/>
                  </a:cubicBezTo>
                  <a:cubicBezTo>
                    <a:pt x="836197" y="82746"/>
                    <a:pt x="747517" y="282505"/>
                    <a:pt x="830632" y="355627"/>
                  </a:cubicBezTo>
                  <a:cubicBezTo>
                    <a:pt x="761539" y="369444"/>
                    <a:pt x="695180" y="346699"/>
                    <a:pt x="650793" y="326186"/>
                  </a:cubicBezTo>
                  <a:cubicBezTo>
                    <a:pt x="586500" y="296471"/>
                    <a:pt x="551874" y="256592"/>
                    <a:pt x="496038" y="267513"/>
                  </a:cubicBezTo>
                  <a:lnTo>
                    <a:pt x="503162" y="365431"/>
                  </a:lnTo>
                  <a:cubicBezTo>
                    <a:pt x="504592" y="384918"/>
                    <a:pt x="490634" y="402415"/>
                    <a:pt x="470474" y="406457"/>
                  </a:cubicBezTo>
                  <a:close/>
                </a:path>
              </a:pathLst>
            </a:custGeom>
            <a:grp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6" name="Freeform: Shape 15">
              <a:extLst>
                <a:ext uri="{FF2B5EF4-FFF2-40B4-BE49-F238E27FC236}">
                  <a16:creationId xmlns:a16="http://schemas.microsoft.com/office/drawing/2014/main" id="{3C6A73A3-B58A-6BDB-54EE-161CDDCD95C2}"/>
                </a:ext>
              </a:extLst>
            </p:cNvPr>
            <p:cNvSpPr>
              <a:spLocks noChangeAspect="1"/>
            </p:cNvSpPr>
            <p:nvPr userDrawn="1"/>
          </p:nvSpPr>
          <p:spPr>
            <a:xfrm rot="4135771">
              <a:off x="-471911" y="1291003"/>
              <a:ext cx="1445127" cy="1038064"/>
            </a:xfrm>
            <a:custGeom>
              <a:avLst/>
              <a:gdLst>
                <a:gd name="connsiteX0" fmla="*/ 27721 w 1445127"/>
                <a:gd name="connsiteY0" fmla="*/ 428157 h 1038064"/>
                <a:gd name="connsiteX1" fmla="*/ 81240 w 1445127"/>
                <a:gd name="connsiteY1" fmla="*/ 403987 h 1038064"/>
                <a:gd name="connsiteX2" fmla="*/ 72608 w 1445127"/>
                <a:gd name="connsiteY2" fmla="*/ 347014 h 1038064"/>
                <a:gd name="connsiteX3" fmla="*/ 127854 w 1445127"/>
                <a:gd name="connsiteY3" fmla="*/ 329750 h 1038064"/>
                <a:gd name="connsiteX4" fmla="*/ 127854 w 1445127"/>
                <a:gd name="connsiteY4" fmla="*/ 271051 h 1038064"/>
                <a:gd name="connsiteX5" fmla="*/ 184827 w 1445127"/>
                <a:gd name="connsiteY5" fmla="*/ 260692 h 1038064"/>
                <a:gd name="connsiteX6" fmla="*/ 191732 w 1445127"/>
                <a:gd name="connsiteY6" fmla="*/ 201994 h 1038064"/>
                <a:gd name="connsiteX7" fmla="*/ 250432 w 1445127"/>
                <a:gd name="connsiteY7" fmla="*/ 198540 h 1038064"/>
                <a:gd name="connsiteX8" fmla="*/ 264243 w 1445127"/>
                <a:gd name="connsiteY8" fmla="*/ 141568 h 1038064"/>
                <a:gd name="connsiteX9" fmla="*/ 322942 w 1445127"/>
                <a:gd name="connsiteY9" fmla="*/ 146747 h 1038064"/>
                <a:gd name="connsiteX10" fmla="*/ 343659 w 1445127"/>
                <a:gd name="connsiteY10" fmla="*/ 91502 h 1038064"/>
                <a:gd name="connsiteX11" fmla="*/ 400631 w 1445127"/>
                <a:gd name="connsiteY11" fmla="*/ 103586 h 1038064"/>
                <a:gd name="connsiteX12" fmla="*/ 428255 w 1445127"/>
                <a:gd name="connsiteY12" fmla="*/ 51793 h 1038064"/>
                <a:gd name="connsiteX13" fmla="*/ 481774 w 1445127"/>
                <a:gd name="connsiteY13" fmla="*/ 70784 h 1038064"/>
                <a:gd name="connsiteX14" fmla="*/ 516303 w 1445127"/>
                <a:gd name="connsiteY14" fmla="*/ 22444 h 1038064"/>
                <a:gd name="connsiteX15" fmla="*/ 568096 w 1445127"/>
                <a:gd name="connsiteY15" fmla="*/ 48340 h 1038064"/>
                <a:gd name="connsiteX16" fmla="*/ 607804 w 1445127"/>
                <a:gd name="connsiteY16" fmla="*/ 5179 h 1038064"/>
                <a:gd name="connsiteX17" fmla="*/ 656145 w 1445127"/>
                <a:gd name="connsiteY17" fmla="*/ 37982 h 1038064"/>
                <a:gd name="connsiteX18" fmla="*/ 701032 w 1445127"/>
                <a:gd name="connsiteY18" fmla="*/ 0 h 1038064"/>
                <a:gd name="connsiteX19" fmla="*/ 745919 w 1445127"/>
                <a:gd name="connsiteY19" fmla="*/ 37982 h 1038064"/>
                <a:gd name="connsiteX20" fmla="*/ 794259 w 1445127"/>
                <a:gd name="connsiteY20" fmla="*/ 5179 h 1038064"/>
                <a:gd name="connsiteX21" fmla="*/ 833968 w 1445127"/>
                <a:gd name="connsiteY21" fmla="*/ 48340 h 1038064"/>
                <a:gd name="connsiteX22" fmla="*/ 885761 w 1445127"/>
                <a:gd name="connsiteY22" fmla="*/ 22444 h 1038064"/>
                <a:gd name="connsiteX23" fmla="*/ 920290 w 1445127"/>
                <a:gd name="connsiteY23" fmla="*/ 70784 h 1038064"/>
                <a:gd name="connsiteX24" fmla="*/ 975536 w 1445127"/>
                <a:gd name="connsiteY24" fmla="*/ 51793 h 1038064"/>
                <a:gd name="connsiteX25" fmla="*/ 1003158 w 1445127"/>
                <a:gd name="connsiteY25" fmla="*/ 103586 h 1038064"/>
                <a:gd name="connsiteX26" fmla="*/ 1060131 w 1445127"/>
                <a:gd name="connsiteY26" fmla="*/ 91502 h 1038064"/>
                <a:gd name="connsiteX27" fmla="*/ 1080848 w 1445127"/>
                <a:gd name="connsiteY27" fmla="*/ 146747 h 1038064"/>
                <a:gd name="connsiteX28" fmla="*/ 1139547 w 1445127"/>
                <a:gd name="connsiteY28" fmla="*/ 141568 h 1038064"/>
                <a:gd name="connsiteX29" fmla="*/ 1153358 w 1445127"/>
                <a:gd name="connsiteY29" fmla="*/ 198540 h 1038064"/>
                <a:gd name="connsiteX30" fmla="*/ 1212058 w 1445127"/>
                <a:gd name="connsiteY30" fmla="*/ 201994 h 1038064"/>
                <a:gd name="connsiteX31" fmla="*/ 1218963 w 1445127"/>
                <a:gd name="connsiteY31" fmla="*/ 260692 h 1038064"/>
                <a:gd name="connsiteX32" fmla="*/ 1275936 w 1445127"/>
                <a:gd name="connsiteY32" fmla="*/ 271051 h 1038064"/>
                <a:gd name="connsiteX33" fmla="*/ 1275936 w 1445127"/>
                <a:gd name="connsiteY33" fmla="*/ 329750 h 1038064"/>
                <a:gd name="connsiteX34" fmla="*/ 1331182 w 1445127"/>
                <a:gd name="connsiteY34" fmla="*/ 347014 h 1038064"/>
                <a:gd name="connsiteX35" fmla="*/ 1322550 w 1445127"/>
                <a:gd name="connsiteY35" fmla="*/ 403987 h 1038064"/>
                <a:gd name="connsiteX36" fmla="*/ 1376070 w 1445127"/>
                <a:gd name="connsiteY36" fmla="*/ 428157 h 1038064"/>
                <a:gd name="connsiteX37" fmla="*/ 1360531 w 1445127"/>
                <a:gd name="connsiteY37" fmla="*/ 485129 h 1038064"/>
                <a:gd name="connsiteX38" fmla="*/ 1410598 w 1445127"/>
                <a:gd name="connsiteY38" fmla="*/ 516205 h 1038064"/>
                <a:gd name="connsiteX39" fmla="*/ 1388155 w 1445127"/>
                <a:gd name="connsiteY39" fmla="*/ 569725 h 1038064"/>
                <a:gd name="connsiteX40" fmla="*/ 1433042 w 1445127"/>
                <a:gd name="connsiteY40" fmla="*/ 605980 h 1038064"/>
                <a:gd name="connsiteX41" fmla="*/ 1403692 w 1445127"/>
                <a:gd name="connsiteY41" fmla="*/ 656047 h 1038064"/>
                <a:gd name="connsiteX42" fmla="*/ 1443401 w 1445127"/>
                <a:gd name="connsiteY42" fmla="*/ 697481 h 1038064"/>
                <a:gd name="connsiteX43" fmla="*/ 1408872 w 1445127"/>
                <a:gd name="connsiteY43" fmla="*/ 744095 h 1038064"/>
                <a:gd name="connsiteX44" fmla="*/ 1445127 w 1445127"/>
                <a:gd name="connsiteY44" fmla="*/ 792436 h 1038064"/>
                <a:gd name="connsiteX45" fmla="*/ 1405418 w 1445127"/>
                <a:gd name="connsiteY45" fmla="*/ 833870 h 1038064"/>
                <a:gd name="connsiteX46" fmla="*/ 1434768 w 1445127"/>
                <a:gd name="connsiteY46" fmla="*/ 883937 h 1038064"/>
                <a:gd name="connsiteX47" fmla="*/ 1389881 w 1445127"/>
                <a:gd name="connsiteY47" fmla="*/ 920191 h 1038064"/>
                <a:gd name="connsiteX48" fmla="*/ 1412324 w 1445127"/>
                <a:gd name="connsiteY48" fmla="*/ 973711 h 1038064"/>
                <a:gd name="connsiteX49" fmla="*/ 1362257 w 1445127"/>
                <a:gd name="connsiteY49" fmla="*/ 1004787 h 1038064"/>
                <a:gd name="connsiteX50" fmla="*/ 1370674 w 1445127"/>
                <a:gd name="connsiteY50" fmla="*/ 1033921 h 1038064"/>
                <a:gd name="connsiteX51" fmla="*/ 1372538 w 1445127"/>
                <a:gd name="connsiteY51" fmla="*/ 1038064 h 1038064"/>
                <a:gd name="connsiteX52" fmla="*/ 0 w 1445127"/>
                <a:gd name="connsiteY52" fmla="*/ 509258 h 1038064"/>
                <a:gd name="connsiteX53" fmla="*/ 2472 w 1445127"/>
                <a:gd name="connsiteY53" fmla="*/ 506737 h 1038064"/>
                <a:gd name="connsiteX54" fmla="*/ 43259 w 1445127"/>
                <a:gd name="connsiteY54" fmla="*/ 485130 h 1038064"/>
                <a:gd name="connsiteX55" fmla="*/ 27721 w 1445127"/>
                <a:gd name="connsiteY55" fmla="*/ 428157 h 1038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5127" h="1038064">
                  <a:moveTo>
                    <a:pt x="27721" y="428157"/>
                  </a:moveTo>
                  <a:cubicBezTo>
                    <a:pt x="34627" y="414345"/>
                    <a:pt x="74335" y="417798"/>
                    <a:pt x="81240" y="403987"/>
                  </a:cubicBezTo>
                  <a:cubicBezTo>
                    <a:pt x="88146" y="391902"/>
                    <a:pt x="63976" y="359099"/>
                    <a:pt x="72608" y="347014"/>
                  </a:cubicBezTo>
                  <a:cubicBezTo>
                    <a:pt x="79514" y="334929"/>
                    <a:pt x="119222" y="341834"/>
                    <a:pt x="127854" y="329750"/>
                  </a:cubicBezTo>
                  <a:cubicBezTo>
                    <a:pt x="138213" y="317665"/>
                    <a:pt x="117495" y="283136"/>
                    <a:pt x="127854" y="271051"/>
                  </a:cubicBezTo>
                  <a:cubicBezTo>
                    <a:pt x="136486" y="258966"/>
                    <a:pt x="174469" y="271051"/>
                    <a:pt x="184827" y="260692"/>
                  </a:cubicBezTo>
                  <a:cubicBezTo>
                    <a:pt x="195186" y="248607"/>
                    <a:pt x="181374" y="212352"/>
                    <a:pt x="191732" y="201994"/>
                  </a:cubicBezTo>
                  <a:cubicBezTo>
                    <a:pt x="203818" y="191634"/>
                    <a:pt x="238346" y="208899"/>
                    <a:pt x="250432" y="198540"/>
                  </a:cubicBezTo>
                  <a:cubicBezTo>
                    <a:pt x="262517" y="188182"/>
                    <a:pt x="252158" y="150200"/>
                    <a:pt x="264243" y="141568"/>
                  </a:cubicBezTo>
                  <a:cubicBezTo>
                    <a:pt x="276328" y="132936"/>
                    <a:pt x="310857" y="155379"/>
                    <a:pt x="322942" y="146747"/>
                  </a:cubicBezTo>
                  <a:cubicBezTo>
                    <a:pt x="335027" y="138115"/>
                    <a:pt x="329848" y="98407"/>
                    <a:pt x="343659" y="91502"/>
                  </a:cubicBezTo>
                  <a:cubicBezTo>
                    <a:pt x="357470" y="84596"/>
                    <a:pt x="386820" y="110492"/>
                    <a:pt x="400631" y="103586"/>
                  </a:cubicBezTo>
                  <a:cubicBezTo>
                    <a:pt x="414443" y="96681"/>
                    <a:pt x="414443" y="56972"/>
                    <a:pt x="428255" y="51793"/>
                  </a:cubicBezTo>
                  <a:cubicBezTo>
                    <a:pt x="442066" y="46614"/>
                    <a:pt x="467962" y="75963"/>
                    <a:pt x="481774" y="70784"/>
                  </a:cubicBezTo>
                  <a:cubicBezTo>
                    <a:pt x="497312" y="65605"/>
                    <a:pt x="500765" y="25896"/>
                    <a:pt x="516303" y="22444"/>
                  </a:cubicBezTo>
                  <a:cubicBezTo>
                    <a:pt x="530114" y="18991"/>
                    <a:pt x="552558" y="51793"/>
                    <a:pt x="568096" y="48340"/>
                  </a:cubicBezTo>
                  <a:cubicBezTo>
                    <a:pt x="583634" y="44887"/>
                    <a:pt x="592266" y="6906"/>
                    <a:pt x="607804" y="5179"/>
                  </a:cubicBezTo>
                  <a:cubicBezTo>
                    <a:pt x="621616" y="3453"/>
                    <a:pt x="640606" y="39708"/>
                    <a:pt x="656145" y="37982"/>
                  </a:cubicBezTo>
                  <a:cubicBezTo>
                    <a:pt x="671682" y="36255"/>
                    <a:pt x="685494" y="0"/>
                    <a:pt x="701032" y="0"/>
                  </a:cubicBezTo>
                  <a:cubicBezTo>
                    <a:pt x="716570" y="0"/>
                    <a:pt x="730381" y="36255"/>
                    <a:pt x="745919" y="37982"/>
                  </a:cubicBezTo>
                  <a:cubicBezTo>
                    <a:pt x="761458" y="37982"/>
                    <a:pt x="778722" y="3453"/>
                    <a:pt x="794259" y="5179"/>
                  </a:cubicBezTo>
                  <a:cubicBezTo>
                    <a:pt x="809798" y="6906"/>
                    <a:pt x="818429" y="44887"/>
                    <a:pt x="833968" y="48340"/>
                  </a:cubicBezTo>
                  <a:cubicBezTo>
                    <a:pt x="847779" y="50067"/>
                    <a:pt x="871950" y="18991"/>
                    <a:pt x="885761" y="22444"/>
                  </a:cubicBezTo>
                  <a:cubicBezTo>
                    <a:pt x="901299" y="27623"/>
                    <a:pt x="906478" y="65605"/>
                    <a:pt x="920290" y="70784"/>
                  </a:cubicBezTo>
                  <a:cubicBezTo>
                    <a:pt x="934101" y="75963"/>
                    <a:pt x="961724" y="46614"/>
                    <a:pt x="975536" y="51793"/>
                  </a:cubicBezTo>
                  <a:cubicBezTo>
                    <a:pt x="989347" y="56972"/>
                    <a:pt x="989347" y="96681"/>
                    <a:pt x="1003158" y="103586"/>
                  </a:cubicBezTo>
                  <a:cubicBezTo>
                    <a:pt x="1016970" y="110492"/>
                    <a:pt x="1046319" y="84596"/>
                    <a:pt x="1060131" y="91502"/>
                  </a:cubicBezTo>
                  <a:cubicBezTo>
                    <a:pt x="1073943" y="100133"/>
                    <a:pt x="1068763" y="138115"/>
                    <a:pt x="1080848" y="146747"/>
                  </a:cubicBezTo>
                  <a:cubicBezTo>
                    <a:pt x="1092934" y="155379"/>
                    <a:pt x="1127462" y="132936"/>
                    <a:pt x="1139547" y="141568"/>
                  </a:cubicBezTo>
                  <a:cubicBezTo>
                    <a:pt x="1151632" y="150200"/>
                    <a:pt x="1141273" y="188182"/>
                    <a:pt x="1153358" y="198540"/>
                  </a:cubicBezTo>
                  <a:cubicBezTo>
                    <a:pt x="1165443" y="208899"/>
                    <a:pt x="1201699" y="191634"/>
                    <a:pt x="1212058" y="201994"/>
                  </a:cubicBezTo>
                  <a:cubicBezTo>
                    <a:pt x="1224143" y="212352"/>
                    <a:pt x="1208605" y="250334"/>
                    <a:pt x="1218963" y="260692"/>
                  </a:cubicBezTo>
                  <a:cubicBezTo>
                    <a:pt x="1229322" y="272777"/>
                    <a:pt x="1265578" y="258966"/>
                    <a:pt x="1275936" y="271051"/>
                  </a:cubicBezTo>
                  <a:cubicBezTo>
                    <a:pt x="1286294" y="283136"/>
                    <a:pt x="1267304" y="317665"/>
                    <a:pt x="1275936" y="329750"/>
                  </a:cubicBezTo>
                  <a:cubicBezTo>
                    <a:pt x="1284568" y="341834"/>
                    <a:pt x="1322550" y="334929"/>
                    <a:pt x="1331182" y="347014"/>
                  </a:cubicBezTo>
                  <a:cubicBezTo>
                    <a:pt x="1338087" y="359099"/>
                    <a:pt x="1315644" y="390175"/>
                    <a:pt x="1322550" y="403987"/>
                  </a:cubicBezTo>
                  <a:cubicBezTo>
                    <a:pt x="1329455" y="417798"/>
                    <a:pt x="1369163" y="414345"/>
                    <a:pt x="1376070" y="428157"/>
                  </a:cubicBezTo>
                  <a:cubicBezTo>
                    <a:pt x="1382975" y="441969"/>
                    <a:pt x="1355352" y="471318"/>
                    <a:pt x="1360531" y="485129"/>
                  </a:cubicBezTo>
                  <a:cubicBezTo>
                    <a:pt x="1365711" y="498941"/>
                    <a:pt x="1405418" y="502394"/>
                    <a:pt x="1410598" y="516205"/>
                  </a:cubicBezTo>
                  <a:cubicBezTo>
                    <a:pt x="1415777" y="530017"/>
                    <a:pt x="1384702" y="554187"/>
                    <a:pt x="1388155" y="569725"/>
                  </a:cubicBezTo>
                  <a:cubicBezTo>
                    <a:pt x="1391607" y="583537"/>
                    <a:pt x="1429589" y="590442"/>
                    <a:pt x="1433042" y="605980"/>
                  </a:cubicBezTo>
                  <a:cubicBezTo>
                    <a:pt x="1434768" y="619792"/>
                    <a:pt x="1401966" y="640509"/>
                    <a:pt x="1403692" y="656047"/>
                  </a:cubicBezTo>
                  <a:cubicBezTo>
                    <a:pt x="1405418" y="669859"/>
                    <a:pt x="1441674" y="681943"/>
                    <a:pt x="1443401" y="697481"/>
                  </a:cubicBezTo>
                  <a:cubicBezTo>
                    <a:pt x="1445127" y="713019"/>
                    <a:pt x="1408872" y="728557"/>
                    <a:pt x="1408872" y="744095"/>
                  </a:cubicBezTo>
                  <a:cubicBezTo>
                    <a:pt x="1408872" y="759633"/>
                    <a:pt x="1445127" y="775171"/>
                    <a:pt x="1445127" y="792436"/>
                  </a:cubicBezTo>
                  <a:cubicBezTo>
                    <a:pt x="1445127" y="806247"/>
                    <a:pt x="1407145" y="818332"/>
                    <a:pt x="1405418" y="833870"/>
                  </a:cubicBezTo>
                  <a:cubicBezTo>
                    <a:pt x="1403692" y="847682"/>
                    <a:pt x="1438221" y="868399"/>
                    <a:pt x="1434768" y="883937"/>
                  </a:cubicBezTo>
                  <a:cubicBezTo>
                    <a:pt x="1433042" y="897748"/>
                    <a:pt x="1393334" y="906380"/>
                    <a:pt x="1389881" y="920191"/>
                  </a:cubicBezTo>
                  <a:cubicBezTo>
                    <a:pt x="1386428" y="934004"/>
                    <a:pt x="1417504" y="959900"/>
                    <a:pt x="1412324" y="973711"/>
                  </a:cubicBezTo>
                  <a:cubicBezTo>
                    <a:pt x="1407145" y="989250"/>
                    <a:pt x="1367437" y="990976"/>
                    <a:pt x="1362257" y="1004787"/>
                  </a:cubicBezTo>
                  <a:cubicBezTo>
                    <a:pt x="1359668" y="1012556"/>
                    <a:pt x="1365279" y="1023347"/>
                    <a:pt x="1370674" y="1033921"/>
                  </a:cubicBezTo>
                  <a:lnTo>
                    <a:pt x="1372538" y="1038064"/>
                  </a:lnTo>
                  <a:lnTo>
                    <a:pt x="0" y="509258"/>
                  </a:lnTo>
                  <a:lnTo>
                    <a:pt x="2472" y="506737"/>
                  </a:lnTo>
                  <a:cubicBezTo>
                    <a:pt x="16067" y="499049"/>
                    <a:pt x="39374" y="495488"/>
                    <a:pt x="43259" y="485130"/>
                  </a:cubicBezTo>
                  <a:cubicBezTo>
                    <a:pt x="48438" y="469591"/>
                    <a:pt x="20815" y="441969"/>
                    <a:pt x="27721" y="428157"/>
                  </a:cubicBezTo>
                  <a:close/>
                </a:path>
              </a:pathLst>
            </a:custGeom>
            <a:grpFill/>
            <a:ln w="22151" cap="flat">
              <a:noFill/>
              <a:prstDash val="solid"/>
              <a:miter/>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u="none" strike="noStrike" kern="1200" cap="none" spc="0" normalizeH="0" baseline="0" noProof="0">
                <a:ln>
                  <a:noFill/>
                </a:ln>
                <a:solidFill>
                  <a:srgbClr val="FFFFFF"/>
                </a:solidFill>
                <a:effectLst/>
                <a:uLnTx/>
                <a:uFillTx/>
                <a:latin typeface="TT Norms Pro" panose="02000503030000020003" pitchFamily="2" charset="0"/>
                <a:ea typeface="+mn-ea"/>
                <a:cs typeface="+mn-cs"/>
              </a:endParaRPr>
            </a:p>
          </p:txBody>
        </p:sp>
        <p:pic>
          <p:nvPicPr>
            <p:cNvPr id="18" name="Graphic 17">
              <a:extLst>
                <a:ext uri="{FF2B5EF4-FFF2-40B4-BE49-F238E27FC236}">
                  <a16:creationId xmlns:a16="http://schemas.microsoft.com/office/drawing/2014/main" id="{ABA4160D-B2AB-AC78-6160-6DD30FAB6C2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4912638">
              <a:off x="9604866" y="377227"/>
              <a:ext cx="611416" cy="679936"/>
            </a:xfrm>
            <a:prstGeom prst="rect">
              <a:avLst/>
            </a:prstGeom>
          </p:spPr>
        </p:pic>
        <p:pic>
          <p:nvPicPr>
            <p:cNvPr id="20" name="Graphic 19">
              <a:extLst>
                <a:ext uri="{FF2B5EF4-FFF2-40B4-BE49-F238E27FC236}">
                  <a16:creationId xmlns:a16="http://schemas.microsoft.com/office/drawing/2014/main" id="{7D92EEE2-4B59-1A68-35FF-B0D2467A0DF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4912638">
              <a:off x="10384833" y="250098"/>
              <a:ext cx="611416" cy="679936"/>
            </a:xfrm>
            <a:prstGeom prst="rect">
              <a:avLst/>
            </a:prstGeom>
          </p:spPr>
        </p:pic>
        <p:pic>
          <p:nvPicPr>
            <p:cNvPr id="22" name="Graphic 21">
              <a:extLst>
                <a:ext uri="{FF2B5EF4-FFF2-40B4-BE49-F238E27FC236}">
                  <a16:creationId xmlns:a16="http://schemas.microsoft.com/office/drawing/2014/main" id="{F6E00E4F-9825-F989-C988-FC3A991A767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r="29912"/>
            <a:stretch>
              <a:fillRect/>
            </a:stretch>
          </p:blipFill>
          <p:spPr>
            <a:xfrm rot="14912638">
              <a:off x="10094824" y="-264909"/>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sp>
          <p:nvSpPr>
            <p:cNvPr id="24" name="Freeform: Shape 23">
              <a:extLst>
                <a:ext uri="{FF2B5EF4-FFF2-40B4-BE49-F238E27FC236}">
                  <a16:creationId xmlns:a16="http://schemas.microsoft.com/office/drawing/2014/main" id="{D5D77852-2135-B746-F3BA-006BD43C76F5}"/>
                </a:ext>
              </a:extLst>
            </p:cNvPr>
            <p:cNvSpPr/>
            <p:nvPr userDrawn="1"/>
          </p:nvSpPr>
          <p:spPr>
            <a:xfrm rot="19394395">
              <a:off x="302036" y="-179531"/>
              <a:ext cx="306159" cy="1283212"/>
            </a:xfrm>
            <a:custGeom>
              <a:avLst/>
              <a:gdLst>
                <a:gd name="connsiteX0" fmla="*/ 66280 w 306159"/>
                <a:gd name="connsiteY0" fmla="*/ 0 h 1283212"/>
                <a:gd name="connsiteX1" fmla="*/ 72368 w 306159"/>
                <a:gd name="connsiteY1" fmla="*/ 4547 h 1283212"/>
                <a:gd name="connsiteX2" fmla="*/ 55892 w 306159"/>
                <a:gd name="connsiteY2" fmla="*/ 30957 h 1283212"/>
                <a:gd name="connsiteX3" fmla="*/ 37819 w 306159"/>
                <a:gd name="connsiteY3" fmla="*/ 67070 h 1283212"/>
                <a:gd name="connsiteX4" fmla="*/ 28388 w 306159"/>
                <a:gd name="connsiteY4" fmla="*/ 135780 h 1283212"/>
                <a:gd name="connsiteX5" fmla="*/ 60723 w 306159"/>
                <a:gd name="connsiteY5" fmla="*/ 69090 h 1283212"/>
                <a:gd name="connsiteX6" fmla="*/ 89352 w 306159"/>
                <a:gd name="connsiteY6" fmla="*/ 31872 h 1283212"/>
                <a:gd name="connsiteX7" fmla="*/ 95581 w 306159"/>
                <a:gd name="connsiteY7" fmla="*/ 21888 h 1283212"/>
                <a:gd name="connsiteX8" fmla="*/ 144709 w 306159"/>
                <a:gd name="connsiteY8" fmla="*/ 58587 h 1283212"/>
                <a:gd name="connsiteX9" fmla="*/ 165726 w 306159"/>
                <a:gd name="connsiteY9" fmla="*/ 123486 h 1283212"/>
                <a:gd name="connsiteX10" fmla="*/ 206901 w 306159"/>
                <a:gd name="connsiteY10" fmla="*/ 304862 h 1283212"/>
                <a:gd name="connsiteX11" fmla="*/ 200838 w 306159"/>
                <a:gd name="connsiteY11" fmla="*/ 519077 h 1283212"/>
                <a:gd name="connsiteX12" fmla="*/ 236541 w 306159"/>
                <a:gd name="connsiteY12" fmla="*/ 742050 h 1283212"/>
                <a:gd name="connsiteX13" fmla="*/ 262139 w 306159"/>
                <a:gd name="connsiteY13" fmla="*/ 960307 h 1283212"/>
                <a:gd name="connsiteX14" fmla="*/ 262139 w 306159"/>
                <a:gd name="connsiteY14" fmla="*/ 963001 h 1283212"/>
                <a:gd name="connsiteX15" fmla="*/ 261465 w 306159"/>
                <a:gd name="connsiteY15" fmla="*/ 983210 h 1283212"/>
                <a:gd name="connsiteX16" fmla="*/ 254729 w 306159"/>
                <a:gd name="connsiteY16" fmla="*/ 1013523 h 1283212"/>
                <a:gd name="connsiteX17" fmla="*/ 196796 w 306159"/>
                <a:gd name="connsiteY17" fmla="*/ 1101770 h 1283212"/>
                <a:gd name="connsiteX18" fmla="*/ 148969 w 306159"/>
                <a:gd name="connsiteY18" fmla="*/ 1199446 h 1283212"/>
                <a:gd name="connsiteX19" fmla="*/ 216332 w 306159"/>
                <a:gd name="connsiteY19" fmla="*/ 1133430 h 1283212"/>
                <a:gd name="connsiteX20" fmla="*/ 252034 w 306159"/>
                <a:gd name="connsiteY20" fmla="*/ 1093686 h 1283212"/>
                <a:gd name="connsiteX21" fmla="*/ 251361 w 306159"/>
                <a:gd name="connsiteY21" fmla="*/ 1096381 h 1283212"/>
                <a:gd name="connsiteX22" fmla="*/ 250687 w 306159"/>
                <a:gd name="connsiteY22" fmla="*/ 1100422 h 1283212"/>
                <a:gd name="connsiteX23" fmla="*/ 251361 w 306159"/>
                <a:gd name="connsiteY23" fmla="*/ 1097728 h 1283212"/>
                <a:gd name="connsiteX24" fmla="*/ 302557 w 306159"/>
                <a:gd name="connsiteY24" fmla="*/ 1245253 h 1283212"/>
                <a:gd name="connsiteX25" fmla="*/ 148295 w 306159"/>
                <a:gd name="connsiteY25" fmla="*/ 1282303 h 1283212"/>
                <a:gd name="connsiteX26" fmla="*/ 128086 w 306159"/>
                <a:gd name="connsiteY26" fmla="*/ 1225044 h 1283212"/>
                <a:gd name="connsiteX27" fmla="*/ 47924 w 306159"/>
                <a:gd name="connsiteY27" fmla="*/ 972432 h 1283212"/>
                <a:gd name="connsiteX28" fmla="*/ 47250 w 306159"/>
                <a:gd name="connsiteY28" fmla="*/ 901700 h 1283212"/>
                <a:gd name="connsiteX29" fmla="*/ 53986 w 306159"/>
                <a:gd name="connsiteY29" fmla="*/ 849157 h 1283212"/>
                <a:gd name="connsiteX30" fmla="*/ 150316 w 306159"/>
                <a:gd name="connsiteY30" fmla="*/ 620796 h 1283212"/>
                <a:gd name="connsiteX31" fmla="*/ 173893 w 306159"/>
                <a:gd name="connsiteY31" fmla="*/ 563537 h 1283212"/>
                <a:gd name="connsiteX32" fmla="*/ 89689 w 306159"/>
                <a:gd name="connsiteY32" fmla="*/ 650436 h 1283212"/>
                <a:gd name="connsiteX33" fmla="*/ 58702 w 306159"/>
                <a:gd name="connsiteY33" fmla="*/ 700285 h 1283212"/>
                <a:gd name="connsiteX34" fmla="*/ 58702 w 306159"/>
                <a:gd name="connsiteY34" fmla="*/ 699611 h 1283212"/>
                <a:gd name="connsiteX35" fmla="*/ 2117 w 306159"/>
                <a:gd name="connsiteY35" fmla="*/ 369531 h 1283212"/>
                <a:gd name="connsiteX36" fmla="*/ 7043 w 306159"/>
                <a:gd name="connsiteY36" fmla="*/ 151084 h 1283212"/>
                <a:gd name="connsiteX37" fmla="*/ 690 w 306159"/>
                <a:gd name="connsiteY37" fmla="*/ 87804 h 12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6159" h="1283212">
                  <a:moveTo>
                    <a:pt x="66280" y="0"/>
                  </a:moveTo>
                  <a:lnTo>
                    <a:pt x="72368" y="4547"/>
                  </a:lnTo>
                  <a:lnTo>
                    <a:pt x="55892" y="30957"/>
                  </a:lnTo>
                  <a:cubicBezTo>
                    <a:pt x="49145" y="42145"/>
                    <a:pt x="42872" y="53766"/>
                    <a:pt x="37819" y="67070"/>
                  </a:cubicBezTo>
                  <a:cubicBezTo>
                    <a:pt x="25694" y="98057"/>
                    <a:pt x="28388" y="135780"/>
                    <a:pt x="28388" y="135780"/>
                  </a:cubicBezTo>
                  <a:cubicBezTo>
                    <a:pt x="28388" y="135780"/>
                    <a:pt x="27041" y="118939"/>
                    <a:pt x="60723" y="69090"/>
                  </a:cubicBezTo>
                  <a:cubicBezTo>
                    <a:pt x="67796" y="58312"/>
                    <a:pt x="78237" y="46355"/>
                    <a:pt x="89352" y="31872"/>
                  </a:cubicBezTo>
                  <a:lnTo>
                    <a:pt x="95581" y="21888"/>
                  </a:lnTo>
                  <a:lnTo>
                    <a:pt x="144709" y="58587"/>
                  </a:lnTo>
                  <a:lnTo>
                    <a:pt x="165726" y="123486"/>
                  </a:lnTo>
                  <a:cubicBezTo>
                    <a:pt x="184335" y="183777"/>
                    <a:pt x="202860" y="252656"/>
                    <a:pt x="206901" y="304862"/>
                  </a:cubicBezTo>
                  <a:cubicBezTo>
                    <a:pt x="214985" y="409275"/>
                    <a:pt x="210269" y="484048"/>
                    <a:pt x="200838" y="519077"/>
                  </a:cubicBezTo>
                  <a:cubicBezTo>
                    <a:pt x="191407" y="554106"/>
                    <a:pt x="212290" y="686138"/>
                    <a:pt x="236541" y="742050"/>
                  </a:cubicBezTo>
                  <a:cubicBezTo>
                    <a:pt x="252708" y="779099"/>
                    <a:pt x="262812" y="868693"/>
                    <a:pt x="262139" y="960307"/>
                  </a:cubicBezTo>
                  <a:cubicBezTo>
                    <a:pt x="262139" y="960307"/>
                    <a:pt x="262139" y="961654"/>
                    <a:pt x="262139" y="963001"/>
                  </a:cubicBezTo>
                  <a:cubicBezTo>
                    <a:pt x="261465" y="969738"/>
                    <a:pt x="261465" y="976474"/>
                    <a:pt x="261465" y="983210"/>
                  </a:cubicBezTo>
                  <a:cubicBezTo>
                    <a:pt x="260792" y="991967"/>
                    <a:pt x="258771" y="1002745"/>
                    <a:pt x="254729" y="1013523"/>
                  </a:cubicBezTo>
                  <a:cubicBezTo>
                    <a:pt x="244625" y="1041143"/>
                    <a:pt x="221047" y="1070109"/>
                    <a:pt x="196796" y="1101770"/>
                  </a:cubicBezTo>
                  <a:cubicBezTo>
                    <a:pt x="137517" y="1179911"/>
                    <a:pt x="148969" y="1199446"/>
                    <a:pt x="148969" y="1199446"/>
                  </a:cubicBezTo>
                  <a:cubicBezTo>
                    <a:pt x="148969" y="1199446"/>
                    <a:pt x="174567" y="1163744"/>
                    <a:pt x="216332" y="1133430"/>
                  </a:cubicBezTo>
                  <a:cubicBezTo>
                    <a:pt x="227784" y="1125346"/>
                    <a:pt x="239909" y="1111200"/>
                    <a:pt x="252034" y="1093686"/>
                  </a:cubicBezTo>
                  <a:cubicBezTo>
                    <a:pt x="251361" y="1095033"/>
                    <a:pt x="251361" y="1095707"/>
                    <a:pt x="251361" y="1096381"/>
                  </a:cubicBezTo>
                  <a:cubicBezTo>
                    <a:pt x="251361" y="1097728"/>
                    <a:pt x="250687" y="1099075"/>
                    <a:pt x="250687" y="1100422"/>
                  </a:cubicBezTo>
                  <a:cubicBezTo>
                    <a:pt x="251361" y="1098401"/>
                    <a:pt x="251361" y="1097728"/>
                    <a:pt x="251361" y="1097728"/>
                  </a:cubicBezTo>
                  <a:cubicBezTo>
                    <a:pt x="251361" y="1097728"/>
                    <a:pt x="322766" y="1216287"/>
                    <a:pt x="302557" y="1245253"/>
                  </a:cubicBezTo>
                  <a:cubicBezTo>
                    <a:pt x="290432" y="1262768"/>
                    <a:pt x="165136" y="1288366"/>
                    <a:pt x="148295" y="1282303"/>
                  </a:cubicBezTo>
                  <a:cubicBezTo>
                    <a:pt x="113266" y="1268831"/>
                    <a:pt x="128086" y="1225044"/>
                    <a:pt x="128086" y="1225044"/>
                  </a:cubicBezTo>
                  <a:cubicBezTo>
                    <a:pt x="128086" y="1225044"/>
                    <a:pt x="57355" y="1049226"/>
                    <a:pt x="47924" y="972432"/>
                  </a:cubicBezTo>
                  <a:cubicBezTo>
                    <a:pt x="45903" y="953570"/>
                    <a:pt x="45903" y="928646"/>
                    <a:pt x="47250" y="901700"/>
                  </a:cubicBezTo>
                  <a:cubicBezTo>
                    <a:pt x="48597" y="884860"/>
                    <a:pt x="51292" y="867346"/>
                    <a:pt x="53986" y="849157"/>
                  </a:cubicBezTo>
                  <a:cubicBezTo>
                    <a:pt x="75543" y="712410"/>
                    <a:pt x="122697" y="655825"/>
                    <a:pt x="150316" y="620796"/>
                  </a:cubicBezTo>
                  <a:cubicBezTo>
                    <a:pt x="183324" y="578357"/>
                    <a:pt x="173893" y="563537"/>
                    <a:pt x="173893" y="563537"/>
                  </a:cubicBezTo>
                  <a:cubicBezTo>
                    <a:pt x="173893" y="563537"/>
                    <a:pt x="143580" y="593177"/>
                    <a:pt x="89689" y="650436"/>
                  </a:cubicBezTo>
                  <a:cubicBezTo>
                    <a:pt x="76217" y="664582"/>
                    <a:pt x="66112" y="682096"/>
                    <a:pt x="58702" y="700285"/>
                  </a:cubicBezTo>
                  <a:cubicBezTo>
                    <a:pt x="58702" y="700285"/>
                    <a:pt x="58702" y="699611"/>
                    <a:pt x="58702" y="699611"/>
                  </a:cubicBezTo>
                  <a:cubicBezTo>
                    <a:pt x="33777" y="616754"/>
                    <a:pt x="11548" y="471923"/>
                    <a:pt x="2117" y="369531"/>
                  </a:cubicBezTo>
                  <a:cubicBezTo>
                    <a:pt x="-4956" y="292736"/>
                    <a:pt x="8053" y="220868"/>
                    <a:pt x="7043" y="151084"/>
                  </a:cubicBezTo>
                  <a:lnTo>
                    <a:pt x="690" y="87804"/>
                  </a:ln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26" name="Freeform: Shape 25">
              <a:extLst>
                <a:ext uri="{FF2B5EF4-FFF2-40B4-BE49-F238E27FC236}">
                  <a16:creationId xmlns:a16="http://schemas.microsoft.com/office/drawing/2014/main" id="{E8F0EA74-B9A2-F14C-1419-5E75AB2DD07B}"/>
                </a:ext>
              </a:extLst>
            </p:cNvPr>
            <p:cNvSpPr/>
            <p:nvPr userDrawn="1"/>
          </p:nvSpPr>
          <p:spPr>
            <a:xfrm rot="19394395">
              <a:off x="694905" y="-54825"/>
              <a:ext cx="354168" cy="638032"/>
            </a:xfrm>
            <a:custGeom>
              <a:avLst/>
              <a:gdLst>
                <a:gd name="connsiteX0" fmla="*/ 191474 w 354168"/>
                <a:gd name="connsiteY0" fmla="*/ 0 h 638032"/>
                <a:gd name="connsiteX1" fmla="*/ 354168 w 354168"/>
                <a:gd name="connsiteY1" fmla="*/ 121534 h 638032"/>
                <a:gd name="connsiteX2" fmla="*/ 353651 w 354168"/>
                <a:gd name="connsiteY2" fmla="*/ 124462 h 638032"/>
                <a:gd name="connsiteX3" fmla="*/ 335326 w 354168"/>
                <a:gd name="connsiteY3" fmla="*/ 187320 h 638032"/>
                <a:gd name="connsiteX4" fmla="*/ 234955 w 354168"/>
                <a:gd name="connsiteY4" fmla="*/ 397494 h 638032"/>
                <a:gd name="connsiteX5" fmla="*/ 216766 w 354168"/>
                <a:gd name="connsiteY5" fmla="*/ 560513 h 638032"/>
                <a:gd name="connsiteX6" fmla="*/ 162876 w 354168"/>
                <a:gd name="connsiteY6" fmla="*/ 637980 h 638032"/>
                <a:gd name="connsiteX7" fmla="*/ 9961 w 354168"/>
                <a:gd name="connsiteY7" fmla="*/ 583416 h 638032"/>
                <a:gd name="connsiteX8" fmla="*/ 20065 w 354168"/>
                <a:gd name="connsiteY8" fmla="*/ 503254 h 638032"/>
                <a:gd name="connsiteX9" fmla="*/ 72609 w 354168"/>
                <a:gd name="connsiteY9" fmla="*/ 373242 h 638032"/>
                <a:gd name="connsiteX10" fmla="*/ 144688 w 354168"/>
                <a:gd name="connsiteY10" fmla="*/ 219655 h 638032"/>
                <a:gd name="connsiteX11" fmla="*/ 144688 w 354168"/>
                <a:gd name="connsiteY11" fmla="*/ 212244 h 638032"/>
                <a:gd name="connsiteX12" fmla="*/ 194537 w 354168"/>
                <a:gd name="connsiteY12" fmla="*/ 303185 h 638032"/>
                <a:gd name="connsiteX13" fmla="*/ 225524 w 354168"/>
                <a:gd name="connsiteY13" fmla="*/ 370548 h 638032"/>
                <a:gd name="connsiteX14" fmla="*/ 226871 w 354168"/>
                <a:gd name="connsiteY14" fmla="*/ 371896 h 638032"/>
                <a:gd name="connsiteX15" fmla="*/ 221482 w 354168"/>
                <a:gd name="connsiteY15" fmla="*/ 300491 h 638032"/>
                <a:gd name="connsiteX16" fmla="*/ 176348 w 354168"/>
                <a:gd name="connsiteY16" fmla="*/ 164416 h 638032"/>
                <a:gd name="connsiteX17" fmla="*/ 180390 w 354168"/>
                <a:gd name="connsiteY17" fmla="*/ 33732 h 63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68" h="638032">
                  <a:moveTo>
                    <a:pt x="191474" y="0"/>
                  </a:moveTo>
                  <a:lnTo>
                    <a:pt x="354168" y="121534"/>
                  </a:lnTo>
                  <a:lnTo>
                    <a:pt x="353651" y="124462"/>
                  </a:lnTo>
                  <a:cubicBezTo>
                    <a:pt x="349472" y="142145"/>
                    <a:pt x="343578" y="162733"/>
                    <a:pt x="335326" y="187320"/>
                  </a:cubicBezTo>
                  <a:cubicBezTo>
                    <a:pt x="317811" y="238516"/>
                    <a:pt x="286824" y="337540"/>
                    <a:pt x="234955" y="397494"/>
                  </a:cubicBezTo>
                  <a:cubicBezTo>
                    <a:pt x="234281" y="415008"/>
                    <a:pt x="232934" y="500559"/>
                    <a:pt x="216766" y="560513"/>
                  </a:cubicBezTo>
                  <a:cubicBezTo>
                    <a:pt x="199252" y="625182"/>
                    <a:pt x="188474" y="637307"/>
                    <a:pt x="162876" y="637980"/>
                  </a:cubicBezTo>
                  <a:cubicBezTo>
                    <a:pt x="129868" y="639328"/>
                    <a:pt x="30844" y="614404"/>
                    <a:pt x="9961" y="583416"/>
                  </a:cubicBezTo>
                  <a:cubicBezTo>
                    <a:pt x="-10922" y="552429"/>
                    <a:pt x="5246" y="536262"/>
                    <a:pt x="20065" y="503254"/>
                  </a:cubicBezTo>
                  <a:cubicBezTo>
                    <a:pt x="34885" y="470919"/>
                    <a:pt x="65872" y="392778"/>
                    <a:pt x="72609" y="373242"/>
                  </a:cubicBezTo>
                  <a:cubicBezTo>
                    <a:pt x="98881" y="301838"/>
                    <a:pt x="144688" y="219655"/>
                    <a:pt x="144688" y="219655"/>
                  </a:cubicBezTo>
                  <a:cubicBezTo>
                    <a:pt x="144688" y="216960"/>
                    <a:pt x="144688" y="214939"/>
                    <a:pt x="144688" y="212244"/>
                  </a:cubicBezTo>
                  <a:cubicBezTo>
                    <a:pt x="161528" y="249968"/>
                    <a:pt x="179717" y="279608"/>
                    <a:pt x="194537" y="303185"/>
                  </a:cubicBezTo>
                  <a:cubicBezTo>
                    <a:pt x="219461" y="342256"/>
                    <a:pt x="218788" y="359770"/>
                    <a:pt x="225524" y="370548"/>
                  </a:cubicBezTo>
                  <a:cubicBezTo>
                    <a:pt x="226197" y="371222"/>
                    <a:pt x="226197" y="371896"/>
                    <a:pt x="226871" y="371896"/>
                  </a:cubicBezTo>
                  <a:cubicBezTo>
                    <a:pt x="231586" y="374590"/>
                    <a:pt x="228218" y="336193"/>
                    <a:pt x="221482" y="300491"/>
                  </a:cubicBezTo>
                  <a:cubicBezTo>
                    <a:pt x="213399" y="261420"/>
                    <a:pt x="187126" y="229086"/>
                    <a:pt x="176348" y="164416"/>
                  </a:cubicBezTo>
                  <a:cubicBezTo>
                    <a:pt x="168939" y="119283"/>
                    <a:pt x="172307" y="73476"/>
                    <a:pt x="180390" y="33732"/>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grpSp>
    </p:spTree>
    <p:extLst>
      <p:ext uri="{BB962C8B-B14F-4D97-AF65-F5344CB8AC3E}">
        <p14:creationId xmlns:p14="http://schemas.microsoft.com/office/powerpoint/2010/main" val="2354694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23299" y="2477564"/>
            <a:ext cx="8122509" cy="979015"/>
          </a:xfrm>
        </p:spPr>
        <p:txBody>
          <a:bodyPr>
            <a:noAutofit/>
          </a:bodyPr>
          <a:lstStyle>
            <a:lvl1pPr algn="l">
              <a:defRPr sz="3200" b="1">
                <a:solidFill>
                  <a:srgbClr val="3F000B"/>
                </a:solidFill>
                <a:latin typeface="+mj-lt"/>
                <a:cs typeface="Arial"/>
              </a:defRPr>
            </a:lvl1pPr>
          </a:lstStyle>
          <a:p>
            <a:r>
              <a:rPr lang="en-US" altLang="zh-CN"/>
              <a:t>Click to edit Master title style</a:t>
            </a:r>
            <a:endParaRPr lang="en-US"/>
          </a:p>
        </p:txBody>
      </p:sp>
      <p:sp>
        <p:nvSpPr>
          <p:cNvPr id="3" name="Subtitle 2"/>
          <p:cNvSpPr>
            <a:spLocks noGrp="1"/>
          </p:cNvSpPr>
          <p:nvPr>
            <p:ph type="subTitle" idx="1"/>
          </p:nvPr>
        </p:nvSpPr>
        <p:spPr>
          <a:xfrm>
            <a:off x="3023300" y="3461184"/>
            <a:ext cx="8122507" cy="578839"/>
          </a:xfrm>
        </p:spPr>
        <p:txBody>
          <a:bodyPr>
            <a:normAutofit/>
          </a:bodyPr>
          <a:lstStyle>
            <a:lvl1pPr marL="0" indent="0" algn="l">
              <a:buNone/>
              <a:defRPr sz="1800" i="0">
                <a:solidFill>
                  <a:schemeClr val="bg2"/>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ltLang="zh-CN"/>
              <a:t>Click to edit Master subtitle style</a:t>
            </a:r>
            <a:endParaRPr lang="en-US"/>
          </a:p>
        </p:txBody>
      </p:sp>
      <p:grpSp>
        <p:nvGrpSpPr>
          <p:cNvPr id="24" name="Group 23"/>
          <p:cNvGrpSpPr/>
          <p:nvPr/>
        </p:nvGrpSpPr>
        <p:grpSpPr>
          <a:xfrm>
            <a:off x="9703966" y="5750797"/>
            <a:ext cx="2043017" cy="583444"/>
            <a:chOff x="2851364" y="337607"/>
            <a:chExt cx="6471863" cy="1848231"/>
          </a:xfrm>
          <a:solidFill>
            <a:schemeClr val="tx2"/>
          </a:solidFill>
        </p:grpSpPr>
        <p:grpSp>
          <p:nvGrpSpPr>
            <p:cNvPr id="25" name="Group 24"/>
            <p:cNvGrpSpPr>
              <a:grpSpLocks noChangeAspect="1"/>
            </p:cNvGrpSpPr>
            <p:nvPr/>
          </p:nvGrpSpPr>
          <p:grpSpPr>
            <a:xfrm>
              <a:off x="8135813" y="687307"/>
              <a:ext cx="1187414" cy="1466996"/>
              <a:chOff x="927372" y="-6359195"/>
              <a:chExt cx="9019933" cy="11143740"/>
            </a:xfrm>
            <a:grpFill/>
          </p:grpSpPr>
          <p:sp>
            <p:nvSpPr>
              <p:cNvPr id="27" name="bk object 16"/>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1800"/>
              </a:p>
            </p:txBody>
          </p:sp>
          <p:sp>
            <p:nvSpPr>
              <p:cNvPr id="28" name="Freeform 27"/>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p:nvSpPr>
            <p:cNvPr id="26" name="Freeform 25"/>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pic>
        <p:nvPicPr>
          <p:cNvPr id="33" name="Picture 32" descr="HER - Pattern.jpg"/>
          <p:cNvPicPr>
            <a:picLocks/>
          </p:cNvPicPr>
          <p:nvPr/>
        </p:nvPicPr>
        <p:blipFill rotWithShape="1">
          <a:blip r:embed="rId2" cstate="print">
            <a:extLst>
              <a:ext uri="{28A0092B-C50C-407E-A947-70E740481C1C}">
                <a14:useLocalDpi xmlns:a14="http://schemas.microsoft.com/office/drawing/2010/main"/>
              </a:ext>
            </a:extLst>
          </a:blip>
          <a:srcRect/>
          <a:stretch/>
        </p:blipFill>
        <p:spPr>
          <a:xfrm>
            <a:off x="0" y="4565904"/>
            <a:ext cx="2438400" cy="2292096"/>
          </a:xfrm>
          <a:prstGeom prst="rect">
            <a:avLst/>
          </a:prstGeom>
        </p:spPr>
      </p:pic>
      <p:pic>
        <p:nvPicPr>
          <p:cNvPr id="34" name="Picture 33"/>
          <p:cNvPicPr>
            <a:picLocks/>
          </p:cNvPicPr>
          <p:nvPr/>
        </p:nvPicPr>
        <p:blipFill rotWithShape="1">
          <a:blip r:embed="rId3" cstate="print">
            <a:extLst>
              <a:ext uri="{28A0092B-C50C-407E-A947-70E740481C1C}">
                <a14:useLocalDpi xmlns:a14="http://schemas.microsoft.com/office/drawing/2010/main"/>
              </a:ext>
            </a:extLst>
          </a:blip>
          <a:srcRect/>
          <a:stretch/>
        </p:blipFill>
        <p:spPr>
          <a:xfrm>
            <a:off x="0" y="2282952"/>
            <a:ext cx="2438400" cy="2292096"/>
          </a:xfrm>
          <a:prstGeom prst="rect">
            <a:avLst/>
          </a:prstGeom>
        </p:spPr>
      </p:pic>
      <p:pic>
        <p:nvPicPr>
          <p:cNvPr id="35" name="Picture 34"/>
          <p:cNvPicPr>
            <a:picLocks/>
          </p:cNvPicPr>
          <p:nvPr/>
        </p:nvPicPr>
        <p:blipFill rotWithShape="1">
          <a:blip r:embed="rId4" cstate="print">
            <a:extLst>
              <a:ext uri="{28A0092B-C50C-407E-A947-70E740481C1C}">
                <a14:useLocalDpi xmlns:a14="http://schemas.microsoft.com/office/drawing/2010/main"/>
              </a:ext>
            </a:extLst>
          </a:blip>
          <a:srcRect/>
          <a:stretch/>
        </p:blipFill>
        <p:spPr>
          <a:xfrm>
            <a:off x="0" y="0"/>
            <a:ext cx="2438400" cy="2292096"/>
          </a:xfrm>
          <a:prstGeom prst="rect">
            <a:avLst/>
          </a:prstGeom>
        </p:spPr>
      </p:pic>
      <p:pic>
        <p:nvPicPr>
          <p:cNvPr id="12" name="Picture 11">
            <a:extLst>
              <a:ext uri="{FF2B5EF4-FFF2-40B4-BE49-F238E27FC236}">
                <a16:creationId xmlns:a16="http://schemas.microsoft.com/office/drawing/2014/main" id="{F43D76B5-324B-48BF-8FBF-2C1B9D4915E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0" y="0"/>
            <a:ext cx="3060192" cy="2295144"/>
          </a:xfrm>
          <a:prstGeom prst="rect">
            <a:avLst/>
          </a:prstGeom>
        </p:spPr>
      </p:pic>
      <p:pic>
        <p:nvPicPr>
          <p:cNvPr id="13" name="Picture 12">
            <a:extLst>
              <a:ext uri="{FF2B5EF4-FFF2-40B4-BE49-F238E27FC236}">
                <a16:creationId xmlns:a16="http://schemas.microsoft.com/office/drawing/2014/main" id="{636D3657-B2ED-4C76-9ED4-72C2C844FB7A}"/>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2281428"/>
            <a:ext cx="3060192" cy="2295144"/>
          </a:xfrm>
          <a:prstGeom prst="rect">
            <a:avLst/>
          </a:prstGeom>
        </p:spPr>
      </p:pic>
      <p:pic>
        <p:nvPicPr>
          <p:cNvPr id="14" name="Picture 13">
            <a:extLst>
              <a:ext uri="{FF2B5EF4-FFF2-40B4-BE49-F238E27FC236}">
                <a16:creationId xmlns:a16="http://schemas.microsoft.com/office/drawing/2014/main" id="{80DB9BD5-65E0-492D-90F3-2FDC367F5F61}"/>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4562856"/>
            <a:ext cx="3060192" cy="2295144"/>
          </a:xfrm>
          <a:prstGeom prst="rect">
            <a:avLst/>
          </a:prstGeom>
        </p:spPr>
      </p:pic>
    </p:spTree>
    <p:extLst>
      <p:ext uri="{BB962C8B-B14F-4D97-AF65-F5344CB8AC3E}">
        <p14:creationId xmlns:p14="http://schemas.microsoft.com/office/powerpoint/2010/main" val="25753993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ivider - Tan">
    <p:bg>
      <p:bgPr>
        <a:solidFill>
          <a:schemeClr val="bg1"/>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14B700F3-E979-9DBF-DE71-D627E25618A6}"/>
              </a:ext>
            </a:extLst>
          </p:cNvPr>
          <p:cNvSpPr/>
          <p:nvPr/>
        </p:nvSpPr>
        <p:spPr>
          <a:xfrm rot="20481175">
            <a:off x="7455640" y="58626"/>
            <a:ext cx="1448104" cy="1389865"/>
          </a:xfrm>
          <a:custGeom>
            <a:avLst/>
            <a:gdLst>
              <a:gd name="connsiteX0" fmla="*/ 1021496 w 1448104"/>
              <a:gd name="connsiteY0" fmla="*/ 0 h 1389865"/>
              <a:gd name="connsiteX1" fmla="*/ 1301750 w 1448104"/>
              <a:gd name="connsiteY1" fmla="*/ 94572 h 1389865"/>
              <a:gd name="connsiteX2" fmla="*/ 1300912 w 1448104"/>
              <a:gd name="connsiteY2" fmla="*/ 127519 h 1389865"/>
              <a:gd name="connsiteX3" fmla="*/ 1334529 w 1448104"/>
              <a:gd name="connsiteY3" fmla="*/ 396741 h 1389865"/>
              <a:gd name="connsiteX4" fmla="*/ 1436926 w 1448104"/>
              <a:gd name="connsiteY4" fmla="*/ 833636 h 1389865"/>
              <a:gd name="connsiteX5" fmla="*/ 980174 w 1448104"/>
              <a:gd name="connsiteY5" fmla="*/ 1353687 h 1389865"/>
              <a:gd name="connsiteX6" fmla="*/ 131865 w 1448104"/>
              <a:gd name="connsiteY6" fmla="*/ 858914 h 1389865"/>
              <a:gd name="connsiteX7" fmla="*/ 367037 w 1448104"/>
              <a:gd name="connsiteY7" fmla="*/ 209611 h 1389865"/>
              <a:gd name="connsiteX8" fmla="*/ 801214 w 1448104"/>
              <a:gd name="connsiteY8" fmla="*/ 85675 h 1389865"/>
              <a:gd name="connsiteX9" fmla="*/ 980777 w 1448104"/>
              <a:gd name="connsiteY9" fmla="*/ 19983 h 138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04" h="1389865">
                <a:moveTo>
                  <a:pt x="1021496" y="0"/>
                </a:moveTo>
                <a:lnTo>
                  <a:pt x="1301750" y="94572"/>
                </a:lnTo>
                <a:lnTo>
                  <a:pt x="1300912" y="127519"/>
                </a:lnTo>
                <a:cubicBezTo>
                  <a:pt x="1301839" y="205476"/>
                  <a:pt x="1311698" y="293691"/>
                  <a:pt x="1334529" y="396741"/>
                </a:cubicBezTo>
                <a:cubicBezTo>
                  <a:pt x="1366264" y="540643"/>
                  <a:pt x="1411834" y="686317"/>
                  <a:pt x="1436926" y="833636"/>
                </a:cubicBezTo>
                <a:cubicBezTo>
                  <a:pt x="1511708" y="1273220"/>
                  <a:pt x="1194682" y="1478785"/>
                  <a:pt x="980174" y="1353687"/>
                </a:cubicBezTo>
                <a:lnTo>
                  <a:pt x="131865" y="858914"/>
                </a:lnTo>
                <a:cubicBezTo>
                  <a:pt x="-82825" y="733692"/>
                  <a:pt x="-56135" y="358765"/>
                  <a:pt x="367037" y="209611"/>
                </a:cubicBezTo>
                <a:cubicBezTo>
                  <a:pt x="508790" y="159611"/>
                  <a:pt x="659153" y="128230"/>
                  <a:pt x="801214" y="85675"/>
                </a:cubicBezTo>
                <a:cubicBezTo>
                  <a:pt x="869093" y="65451"/>
                  <a:pt x="928355" y="43426"/>
                  <a:pt x="980777" y="19983"/>
                </a:cubicBezTo>
                <a:close/>
              </a:path>
            </a:pathLst>
          </a:custGeom>
          <a:solidFill>
            <a:schemeClr val="accent3"/>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5" name="Freeform: Shape 24">
            <a:extLst>
              <a:ext uri="{FF2B5EF4-FFF2-40B4-BE49-F238E27FC236}">
                <a16:creationId xmlns:a16="http://schemas.microsoft.com/office/drawing/2014/main" id="{EC32B673-4698-7A79-A0A1-1C9D7A9F6DD6}"/>
              </a:ext>
            </a:extLst>
          </p:cNvPr>
          <p:cNvSpPr/>
          <p:nvPr/>
        </p:nvSpPr>
        <p:spPr>
          <a:xfrm rot="2178052">
            <a:off x="3337106" y="-195329"/>
            <a:ext cx="824420" cy="956250"/>
          </a:xfrm>
          <a:custGeom>
            <a:avLst/>
            <a:gdLst>
              <a:gd name="connsiteX0" fmla="*/ 7604 w 824420"/>
              <a:gd name="connsiteY0" fmla="*/ 424448 h 956250"/>
              <a:gd name="connsiteX1" fmla="*/ 585403 w 824420"/>
              <a:gd name="connsiteY1" fmla="*/ 0 h 956250"/>
              <a:gd name="connsiteX2" fmla="*/ 586429 w 824420"/>
              <a:gd name="connsiteY2" fmla="*/ 500 h 956250"/>
              <a:gd name="connsiteX3" fmla="*/ 608584 w 824420"/>
              <a:gd name="connsiteY3" fmla="*/ 15155 h 956250"/>
              <a:gd name="connsiteX4" fmla="*/ 665559 w 824420"/>
              <a:gd name="connsiteY4" fmla="*/ 46054 h 956250"/>
              <a:gd name="connsiteX5" fmla="*/ 696328 w 824420"/>
              <a:gd name="connsiteY5" fmla="*/ 82429 h 956250"/>
              <a:gd name="connsiteX6" fmla="*/ 763602 w 824420"/>
              <a:gd name="connsiteY6" fmla="*/ 138099 h 956250"/>
              <a:gd name="connsiteX7" fmla="*/ 824357 w 824420"/>
              <a:gd name="connsiteY7" fmla="*/ 267302 h 956250"/>
              <a:gd name="connsiteX8" fmla="*/ 779769 w 824420"/>
              <a:gd name="connsiteY8" fmla="*/ 384118 h 956250"/>
              <a:gd name="connsiteX9" fmla="*/ 654868 w 824420"/>
              <a:gd name="connsiteY9" fmla="*/ 444613 h 956250"/>
              <a:gd name="connsiteX10" fmla="*/ 515887 w 824420"/>
              <a:gd name="connsiteY10" fmla="*/ 439007 h 956250"/>
              <a:gd name="connsiteX11" fmla="*/ 445614 w 824420"/>
              <a:gd name="connsiteY11" fmla="*/ 369386 h 956250"/>
              <a:gd name="connsiteX12" fmla="*/ 419669 w 824420"/>
              <a:gd name="connsiteY12" fmla="*/ 372254 h 956250"/>
              <a:gd name="connsiteX13" fmla="*/ 385510 w 824420"/>
              <a:gd name="connsiteY13" fmla="*/ 384640 h 956250"/>
              <a:gd name="connsiteX14" fmla="*/ 386684 w 824420"/>
              <a:gd name="connsiteY14" fmla="*/ 412280 h 956250"/>
              <a:gd name="connsiteX15" fmla="*/ 364520 w 824420"/>
              <a:gd name="connsiteY15" fmla="*/ 460128 h 956250"/>
              <a:gd name="connsiteX16" fmla="*/ 412759 w 824420"/>
              <a:gd name="connsiteY16" fmla="*/ 484769 h 956250"/>
              <a:gd name="connsiteX17" fmla="*/ 429838 w 824420"/>
              <a:gd name="connsiteY17" fmla="*/ 512017 h 956250"/>
              <a:gd name="connsiteX18" fmla="*/ 564256 w 824420"/>
              <a:gd name="connsiteY18" fmla="*/ 492070 h 956250"/>
              <a:gd name="connsiteX19" fmla="*/ 722143 w 824420"/>
              <a:gd name="connsiteY19" fmla="*/ 609930 h 956250"/>
              <a:gd name="connsiteX20" fmla="*/ 716666 w 824420"/>
              <a:gd name="connsiteY20" fmla="*/ 832612 h 956250"/>
              <a:gd name="connsiteX21" fmla="*/ 606889 w 824420"/>
              <a:gd name="connsiteY21" fmla="*/ 916574 h 956250"/>
              <a:gd name="connsiteX22" fmla="*/ 531662 w 824420"/>
              <a:gd name="connsiteY22" fmla="*/ 956078 h 956250"/>
              <a:gd name="connsiteX23" fmla="*/ 402720 w 824420"/>
              <a:gd name="connsiteY23" fmla="*/ 906535 h 956250"/>
              <a:gd name="connsiteX24" fmla="*/ 314586 w 824420"/>
              <a:gd name="connsiteY24" fmla="*/ 887761 h 956250"/>
              <a:gd name="connsiteX25" fmla="*/ 267781 w 824420"/>
              <a:gd name="connsiteY25" fmla="*/ 855819 h 956250"/>
              <a:gd name="connsiteX26" fmla="*/ 174822 w 824420"/>
              <a:gd name="connsiteY26" fmla="*/ 807189 h 956250"/>
              <a:gd name="connsiteX27" fmla="*/ 107027 w 824420"/>
              <a:gd name="connsiteY27" fmla="*/ 730919 h 956250"/>
              <a:gd name="connsiteX28" fmla="*/ 37014 w 824420"/>
              <a:gd name="connsiteY28" fmla="*/ 609148 h 956250"/>
              <a:gd name="connsiteX29" fmla="*/ 2204 w 824420"/>
              <a:gd name="connsiteY29" fmla="*/ 524012 h 956250"/>
              <a:gd name="connsiteX30" fmla="*/ 14590 w 824420"/>
              <a:gd name="connsiteY30" fmla="*/ 457520 h 956250"/>
              <a:gd name="connsiteX31" fmla="*/ 9880 w 824420"/>
              <a:gd name="connsiteY31" fmla="*/ 431771 h 9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4420" h="956250">
                <a:moveTo>
                  <a:pt x="7604" y="424448"/>
                </a:moveTo>
                <a:lnTo>
                  <a:pt x="585403" y="0"/>
                </a:lnTo>
                <a:lnTo>
                  <a:pt x="586429" y="500"/>
                </a:lnTo>
                <a:cubicBezTo>
                  <a:pt x="595172" y="5792"/>
                  <a:pt x="602457" y="11015"/>
                  <a:pt x="608584" y="15155"/>
                </a:cubicBezTo>
                <a:cubicBezTo>
                  <a:pt x="633095" y="31712"/>
                  <a:pt x="642091" y="30278"/>
                  <a:pt x="665559" y="46054"/>
                </a:cubicBezTo>
                <a:cubicBezTo>
                  <a:pt x="674033" y="51790"/>
                  <a:pt x="688375" y="63002"/>
                  <a:pt x="696328" y="82429"/>
                </a:cubicBezTo>
                <a:cubicBezTo>
                  <a:pt x="704281" y="101855"/>
                  <a:pt x="723446" y="108634"/>
                  <a:pt x="763602" y="138099"/>
                </a:cubicBezTo>
                <a:cubicBezTo>
                  <a:pt x="803627" y="167564"/>
                  <a:pt x="824357" y="267302"/>
                  <a:pt x="824357" y="267302"/>
                </a:cubicBezTo>
                <a:cubicBezTo>
                  <a:pt x="824357" y="267302"/>
                  <a:pt x="828008" y="308631"/>
                  <a:pt x="779769" y="384118"/>
                </a:cubicBezTo>
                <a:cubicBezTo>
                  <a:pt x="731660" y="459607"/>
                  <a:pt x="683681" y="448785"/>
                  <a:pt x="654868" y="444613"/>
                </a:cubicBezTo>
                <a:cubicBezTo>
                  <a:pt x="626055" y="440441"/>
                  <a:pt x="591505" y="465604"/>
                  <a:pt x="515887" y="439007"/>
                </a:cubicBezTo>
                <a:cubicBezTo>
                  <a:pt x="440269" y="412410"/>
                  <a:pt x="445614" y="369386"/>
                  <a:pt x="445614" y="369386"/>
                </a:cubicBezTo>
                <a:cubicBezTo>
                  <a:pt x="445614" y="369386"/>
                  <a:pt x="445614" y="369386"/>
                  <a:pt x="419669" y="372254"/>
                </a:cubicBezTo>
                <a:cubicBezTo>
                  <a:pt x="405589" y="373819"/>
                  <a:pt x="393724" y="379686"/>
                  <a:pt x="385510" y="384640"/>
                </a:cubicBezTo>
                <a:cubicBezTo>
                  <a:pt x="387205" y="394418"/>
                  <a:pt x="387988" y="403936"/>
                  <a:pt x="386684" y="412280"/>
                </a:cubicBezTo>
                <a:cubicBezTo>
                  <a:pt x="381730" y="444091"/>
                  <a:pt x="364520" y="460128"/>
                  <a:pt x="364520" y="460128"/>
                </a:cubicBezTo>
                <a:cubicBezTo>
                  <a:pt x="364520" y="460128"/>
                  <a:pt x="400634" y="468863"/>
                  <a:pt x="412759" y="484769"/>
                </a:cubicBezTo>
                <a:cubicBezTo>
                  <a:pt x="425015" y="500675"/>
                  <a:pt x="429838" y="512017"/>
                  <a:pt x="429838" y="512017"/>
                </a:cubicBezTo>
                <a:cubicBezTo>
                  <a:pt x="429838" y="512017"/>
                  <a:pt x="483423" y="465212"/>
                  <a:pt x="564256" y="492070"/>
                </a:cubicBezTo>
                <a:cubicBezTo>
                  <a:pt x="645090" y="518928"/>
                  <a:pt x="694894" y="545784"/>
                  <a:pt x="722143" y="609930"/>
                </a:cubicBezTo>
                <a:cubicBezTo>
                  <a:pt x="749391" y="674205"/>
                  <a:pt x="770512" y="753865"/>
                  <a:pt x="716666" y="832612"/>
                </a:cubicBezTo>
                <a:cubicBezTo>
                  <a:pt x="662561" y="911489"/>
                  <a:pt x="634790" y="907969"/>
                  <a:pt x="606889" y="916574"/>
                </a:cubicBezTo>
                <a:cubicBezTo>
                  <a:pt x="578990" y="925179"/>
                  <a:pt x="573383" y="958946"/>
                  <a:pt x="531662" y="956078"/>
                </a:cubicBezTo>
                <a:cubicBezTo>
                  <a:pt x="489942" y="953209"/>
                  <a:pt x="421625" y="918530"/>
                  <a:pt x="402720" y="906535"/>
                </a:cubicBezTo>
                <a:cubicBezTo>
                  <a:pt x="383815" y="894541"/>
                  <a:pt x="341313" y="900277"/>
                  <a:pt x="314586" y="887761"/>
                </a:cubicBezTo>
                <a:cubicBezTo>
                  <a:pt x="287859" y="875375"/>
                  <a:pt x="267781" y="855819"/>
                  <a:pt x="267781" y="855819"/>
                </a:cubicBezTo>
                <a:cubicBezTo>
                  <a:pt x="267781" y="855819"/>
                  <a:pt x="211980" y="853993"/>
                  <a:pt x="174822" y="807189"/>
                </a:cubicBezTo>
                <a:cubicBezTo>
                  <a:pt x="137665" y="760514"/>
                  <a:pt x="136491" y="752952"/>
                  <a:pt x="107027" y="730919"/>
                </a:cubicBezTo>
                <a:cubicBezTo>
                  <a:pt x="77561" y="708755"/>
                  <a:pt x="47836" y="648260"/>
                  <a:pt x="37014" y="609148"/>
                </a:cubicBezTo>
                <a:cubicBezTo>
                  <a:pt x="26193" y="570035"/>
                  <a:pt x="9896" y="567688"/>
                  <a:pt x="2204" y="524012"/>
                </a:cubicBezTo>
                <a:cubicBezTo>
                  <a:pt x="-5619" y="480336"/>
                  <a:pt x="9505" y="474469"/>
                  <a:pt x="14590" y="457520"/>
                </a:cubicBezTo>
                <a:cubicBezTo>
                  <a:pt x="17132" y="449046"/>
                  <a:pt x="13253" y="440213"/>
                  <a:pt x="9880" y="431771"/>
                </a:cubicBezTo>
                <a:close/>
              </a:path>
            </a:pathLst>
          </a:custGeom>
          <a:solidFill>
            <a:schemeClr val="accent3"/>
          </a:solid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8" name="Freeform: Shape 38">
            <a:extLst>
              <a:ext uri="{FF2B5EF4-FFF2-40B4-BE49-F238E27FC236}">
                <a16:creationId xmlns:a16="http://schemas.microsoft.com/office/drawing/2014/main" id="{70AE955C-F488-4170-0F06-FDA5A986ECD4}"/>
              </a:ext>
            </a:extLst>
          </p:cNvPr>
          <p:cNvSpPr/>
          <p:nvPr/>
        </p:nvSpPr>
        <p:spPr>
          <a:xfrm rot="2178052">
            <a:off x="4018658" y="599530"/>
            <a:ext cx="811337" cy="846750"/>
          </a:xfrm>
          <a:custGeom>
            <a:avLst/>
            <a:gdLst>
              <a:gd name="connsiteX0" fmla="*/ 1129190 w 1144944"/>
              <a:gd name="connsiteY0" fmla="*/ 593440 h 1194921"/>
              <a:gd name="connsiteX1" fmla="*/ 1137469 w 1144944"/>
              <a:gd name="connsiteY1" fmla="*/ 517086 h 1194921"/>
              <a:gd name="connsiteX2" fmla="*/ 1094233 w 1144944"/>
              <a:gd name="connsiteY2" fmla="*/ 412399 h 1194921"/>
              <a:gd name="connsiteX3" fmla="*/ 1072707 w 1144944"/>
              <a:gd name="connsiteY3" fmla="*/ 357572 h 1194921"/>
              <a:gd name="connsiteX4" fmla="*/ 1009600 w 1144944"/>
              <a:gd name="connsiteY4" fmla="*/ 301088 h 1194921"/>
              <a:gd name="connsiteX5" fmla="*/ 988074 w 1144944"/>
              <a:gd name="connsiteY5" fmla="*/ 261164 h 1194921"/>
              <a:gd name="connsiteX6" fmla="*/ 934902 w 1144944"/>
              <a:gd name="connsiteY6" fmla="*/ 219583 h 1194921"/>
              <a:gd name="connsiteX7" fmla="*/ 880075 w 1144944"/>
              <a:gd name="connsiteY7" fmla="*/ 139734 h 1194921"/>
              <a:gd name="connsiteX8" fmla="*/ 757173 w 1144944"/>
              <a:gd name="connsiteY8" fmla="*/ 81594 h 1194921"/>
              <a:gd name="connsiteX9" fmla="*/ 718720 w 1144944"/>
              <a:gd name="connsiteY9" fmla="*/ 70004 h 1194921"/>
              <a:gd name="connsiteX10" fmla="*/ 630959 w 1144944"/>
              <a:gd name="connsiteY10" fmla="*/ 20144 h 1194921"/>
              <a:gd name="connsiteX11" fmla="*/ 509713 w 1144944"/>
              <a:gd name="connsiteY11" fmla="*/ 21799 h 1194921"/>
              <a:gd name="connsiteX12" fmla="*/ 331984 w 1144944"/>
              <a:gd name="connsiteY12" fmla="*/ 11864 h 1194921"/>
              <a:gd name="connsiteX13" fmla="*/ 265566 w 1144944"/>
              <a:gd name="connsiteY13" fmla="*/ 45166 h 1194921"/>
              <a:gd name="connsiteX14" fmla="*/ 177437 w 1144944"/>
              <a:gd name="connsiteY14" fmla="*/ 90058 h 1194921"/>
              <a:gd name="connsiteX15" fmla="*/ 22890 w 1144944"/>
              <a:gd name="connsiteY15" fmla="*/ 193089 h 1194921"/>
              <a:gd name="connsiteX16" fmla="*/ 49568 w 1144944"/>
              <a:gd name="connsiteY16" fmla="*/ 462259 h 1194921"/>
              <a:gd name="connsiteX17" fmla="*/ 200803 w 1144944"/>
              <a:gd name="connsiteY17" fmla="*/ 552043 h 1194921"/>
              <a:gd name="connsiteX18" fmla="*/ 290588 w 1144944"/>
              <a:gd name="connsiteY18" fmla="*/ 532173 h 1194921"/>
              <a:gd name="connsiteX19" fmla="*/ 342103 w 1144944"/>
              <a:gd name="connsiteY19" fmla="*/ 548732 h 1194921"/>
              <a:gd name="connsiteX20" fmla="*/ 415145 w 1144944"/>
              <a:gd name="connsiteY20" fmla="*/ 600247 h 1194921"/>
              <a:gd name="connsiteX21" fmla="*/ 507138 w 1144944"/>
              <a:gd name="connsiteY21" fmla="*/ 594912 h 1194921"/>
              <a:gd name="connsiteX22" fmla="*/ 578156 w 1144944"/>
              <a:gd name="connsiteY22" fmla="*/ 613494 h 1194921"/>
              <a:gd name="connsiteX23" fmla="*/ 544854 w 1144944"/>
              <a:gd name="connsiteY23" fmla="*/ 656731 h 1194921"/>
              <a:gd name="connsiteX24" fmla="*/ 543199 w 1144944"/>
              <a:gd name="connsiteY24" fmla="*/ 706591 h 1194921"/>
              <a:gd name="connsiteX25" fmla="*/ 471812 w 1144944"/>
              <a:gd name="connsiteY25" fmla="*/ 741548 h 1194921"/>
              <a:gd name="connsiteX26" fmla="*/ 413673 w 1144944"/>
              <a:gd name="connsiteY26" fmla="*/ 729957 h 1194921"/>
              <a:gd name="connsiteX27" fmla="*/ 352222 w 1144944"/>
              <a:gd name="connsiteY27" fmla="*/ 744859 h 1194921"/>
              <a:gd name="connsiteX28" fmla="*/ 318921 w 1144944"/>
              <a:gd name="connsiteY28" fmla="*/ 739892 h 1194921"/>
              <a:gd name="connsiteX29" fmla="*/ 224169 w 1144944"/>
              <a:gd name="connsiteY29" fmla="*/ 716710 h 1194921"/>
              <a:gd name="connsiteX30" fmla="*/ 54719 w 1144944"/>
              <a:gd name="connsiteY30" fmla="*/ 891127 h 1194921"/>
              <a:gd name="connsiteX31" fmla="*/ 123346 w 1144944"/>
              <a:gd name="connsiteY31" fmla="*/ 1099214 h 1194921"/>
              <a:gd name="connsiteX32" fmla="*/ 332168 w 1144944"/>
              <a:gd name="connsiteY32" fmla="*/ 1162137 h 1194921"/>
              <a:gd name="connsiteX33" fmla="*/ 480092 w 1144944"/>
              <a:gd name="connsiteY33" fmla="*/ 1192126 h 1194921"/>
              <a:gd name="connsiteX34" fmla="*/ 618080 w 1144944"/>
              <a:gd name="connsiteY34" fmla="*/ 1183847 h 1194921"/>
              <a:gd name="connsiteX35" fmla="*/ 762692 w 1144944"/>
              <a:gd name="connsiteY35" fmla="*/ 1168944 h 1194921"/>
              <a:gd name="connsiteX36" fmla="*/ 950541 w 1144944"/>
              <a:gd name="connsiteY36" fmla="*/ 1014397 h 1194921"/>
              <a:gd name="connsiteX37" fmla="*/ 1002056 w 1144944"/>
              <a:gd name="connsiteY37" fmla="*/ 982752 h 1194921"/>
              <a:gd name="connsiteX38" fmla="*/ 1033702 w 1144944"/>
              <a:gd name="connsiteY38" fmla="*/ 917989 h 1194921"/>
              <a:gd name="connsiteX39" fmla="*/ 1075282 w 1144944"/>
              <a:gd name="connsiteY39" fmla="*/ 889655 h 1194921"/>
              <a:gd name="connsiteX40" fmla="*/ 1101960 w 1144944"/>
              <a:gd name="connsiteY40" fmla="*/ 824893 h 1194921"/>
              <a:gd name="connsiteX41" fmla="*/ 1141885 w 1144944"/>
              <a:gd name="connsiteY41" fmla="*/ 718550 h 1194921"/>
              <a:gd name="connsiteX42" fmla="*/ 1129190 w 1144944"/>
              <a:gd name="connsiteY42" fmla="*/ 593440 h 119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144944" h="1194921">
                <a:moveTo>
                  <a:pt x="1129190" y="593440"/>
                </a:moveTo>
                <a:cubicBezTo>
                  <a:pt x="1132502" y="566762"/>
                  <a:pt x="1135813" y="568602"/>
                  <a:pt x="1137469" y="517086"/>
                </a:cubicBezTo>
                <a:cubicBezTo>
                  <a:pt x="1139125" y="465571"/>
                  <a:pt x="1109136" y="437237"/>
                  <a:pt x="1094233" y="412399"/>
                </a:cubicBezTo>
                <a:cubicBezTo>
                  <a:pt x="1079330" y="387561"/>
                  <a:pt x="1094233" y="389217"/>
                  <a:pt x="1072707" y="357572"/>
                </a:cubicBezTo>
                <a:cubicBezTo>
                  <a:pt x="1051180" y="325926"/>
                  <a:pt x="1021191" y="309368"/>
                  <a:pt x="1009600" y="301088"/>
                </a:cubicBezTo>
                <a:cubicBezTo>
                  <a:pt x="998009" y="292809"/>
                  <a:pt x="1002976" y="284530"/>
                  <a:pt x="988074" y="261164"/>
                </a:cubicBezTo>
                <a:cubicBezTo>
                  <a:pt x="973171" y="237981"/>
                  <a:pt x="949805" y="236326"/>
                  <a:pt x="934902" y="219583"/>
                </a:cubicBezTo>
                <a:cubicBezTo>
                  <a:pt x="919999" y="202840"/>
                  <a:pt x="928279" y="178003"/>
                  <a:pt x="880075" y="139734"/>
                </a:cubicBezTo>
                <a:cubicBezTo>
                  <a:pt x="831871" y="101465"/>
                  <a:pt x="805377" y="88218"/>
                  <a:pt x="757173" y="81594"/>
                </a:cubicBezTo>
                <a:cubicBezTo>
                  <a:pt x="736935" y="78835"/>
                  <a:pt x="725527" y="74235"/>
                  <a:pt x="718720" y="70004"/>
                </a:cubicBezTo>
                <a:cubicBezTo>
                  <a:pt x="708969" y="51789"/>
                  <a:pt x="683947" y="19040"/>
                  <a:pt x="630959" y="20144"/>
                </a:cubicBezTo>
                <a:cubicBezTo>
                  <a:pt x="557917" y="21799"/>
                  <a:pt x="571164" y="33391"/>
                  <a:pt x="509713" y="21799"/>
                </a:cubicBezTo>
                <a:cubicBezTo>
                  <a:pt x="448262" y="10208"/>
                  <a:pt x="376692" y="-14813"/>
                  <a:pt x="331984" y="11864"/>
                </a:cubicBezTo>
                <a:cubicBezTo>
                  <a:pt x="287092" y="38542"/>
                  <a:pt x="322049" y="38542"/>
                  <a:pt x="265566" y="45166"/>
                </a:cubicBezTo>
                <a:cubicBezTo>
                  <a:pt x="209082" y="51789"/>
                  <a:pt x="177437" y="90058"/>
                  <a:pt x="177437" y="90058"/>
                </a:cubicBezTo>
                <a:cubicBezTo>
                  <a:pt x="177437" y="90058"/>
                  <a:pt x="56191" y="114896"/>
                  <a:pt x="22890" y="193089"/>
                </a:cubicBezTo>
                <a:cubicBezTo>
                  <a:pt x="-10411" y="271283"/>
                  <a:pt x="-12067" y="394185"/>
                  <a:pt x="49568" y="462259"/>
                </a:cubicBezTo>
                <a:cubicBezTo>
                  <a:pt x="111018" y="530333"/>
                  <a:pt x="142664" y="553699"/>
                  <a:pt x="200803" y="552043"/>
                </a:cubicBezTo>
                <a:cubicBezTo>
                  <a:pt x="258942" y="550388"/>
                  <a:pt x="270533" y="537141"/>
                  <a:pt x="290588" y="532173"/>
                </a:cubicBezTo>
                <a:cubicBezTo>
                  <a:pt x="310458" y="527205"/>
                  <a:pt x="323889" y="528861"/>
                  <a:pt x="342103" y="548732"/>
                </a:cubicBezTo>
                <a:cubicBezTo>
                  <a:pt x="360318" y="568602"/>
                  <a:pt x="355350" y="593624"/>
                  <a:pt x="415145" y="600247"/>
                </a:cubicBezTo>
                <a:cubicBezTo>
                  <a:pt x="457278" y="604847"/>
                  <a:pt x="490579" y="598959"/>
                  <a:pt x="507138" y="594912"/>
                </a:cubicBezTo>
                <a:cubicBezTo>
                  <a:pt x="546142" y="642564"/>
                  <a:pt x="578156" y="613494"/>
                  <a:pt x="578156" y="613494"/>
                </a:cubicBezTo>
                <a:cubicBezTo>
                  <a:pt x="578156" y="613494"/>
                  <a:pt x="559941" y="633365"/>
                  <a:pt x="544854" y="656731"/>
                </a:cubicBezTo>
                <a:cubicBezTo>
                  <a:pt x="529952" y="679913"/>
                  <a:pt x="543199" y="706591"/>
                  <a:pt x="543199" y="706591"/>
                </a:cubicBezTo>
                <a:cubicBezTo>
                  <a:pt x="543199" y="706591"/>
                  <a:pt x="503274" y="739892"/>
                  <a:pt x="471812" y="741548"/>
                </a:cubicBezTo>
                <a:cubicBezTo>
                  <a:pt x="440167" y="743204"/>
                  <a:pt x="441823" y="733268"/>
                  <a:pt x="413673" y="729957"/>
                </a:cubicBezTo>
                <a:cubicBezTo>
                  <a:pt x="385340" y="726645"/>
                  <a:pt x="370437" y="743204"/>
                  <a:pt x="352222" y="744859"/>
                </a:cubicBezTo>
                <a:cubicBezTo>
                  <a:pt x="352222" y="744859"/>
                  <a:pt x="332352" y="743204"/>
                  <a:pt x="318921" y="739892"/>
                </a:cubicBezTo>
                <a:cubicBezTo>
                  <a:pt x="305674" y="736580"/>
                  <a:pt x="270717" y="715054"/>
                  <a:pt x="224169" y="716710"/>
                </a:cubicBezTo>
                <a:cubicBezTo>
                  <a:pt x="177621" y="718366"/>
                  <a:pt x="81213" y="764914"/>
                  <a:pt x="54719" y="891127"/>
                </a:cubicBezTo>
                <a:cubicBezTo>
                  <a:pt x="34481" y="986799"/>
                  <a:pt x="93540" y="1066280"/>
                  <a:pt x="123346" y="1099214"/>
                </a:cubicBezTo>
                <a:cubicBezTo>
                  <a:pt x="180749" y="1171520"/>
                  <a:pt x="305674" y="1162137"/>
                  <a:pt x="332168" y="1162137"/>
                </a:cubicBezTo>
                <a:cubicBezTo>
                  <a:pt x="368781" y="1162137"/>
                  <a:pt x="395275" y="1182007"/>
                  <a:pt x="480092" y="1192126"/>
                </a:cubicBezTo>
                <a:cubicBezTo>
                  <a:pt x="564909" y="1202061"/>
                  <a:pt x="574844" y="1182191"/>
                  <a:pt x="618080" y="1183847"/>
                </a:cubicBezTo>
                <a:cubicBezTo>
                  <a:pt x="661317" y="1185503"/>
                  <a:pt x="664629" y="1203717"/>
                  <a:pt x="762692" y="1168944"/>
                </a:cubicBezTo>
                <a:cubicBezTo>
                  <a:pt x="860756" y="1133987"/>
                  <a:pt x="925519" y="1034267"/>
                  <a:pt x="950541" y="1014397"/>
                </a:cubicBezTo>
                <a:cubicBezTo>
                  <a:pt x="975379" y="994527"/>
                  <a:pt x="975379" y="1004462"/>
                  <a:pt x="1002056" y="982752"/>
                </a:cubicBezTo>
                <a:cubicBezTo>
                  <a:pt x="1028734" y="961225"/>
                  <a:pt x="1026894" y="926268"/>
                  <a:pt x="1033702" y="917989"/>
                </a:cubicBezTo>
                <a:cubicBezTo>
                  <a:pt x="1040325" y="909710"/>
                  <a:pt x="1062036" y="904742"/>
                  <a:pt x="1075282" y="889655"/>
                </a:cubicBezTo>
                <a:cubicBezTo>
                  <a:pt x="1088529" y="874752"/>
                  <a:pt x="1091841" y="848075"/>
                  <a:pt x="1101960" y="824893"/>
                </a:cubicBezTo>
                <a:cubicBezTo>
                  <a:pt x="1111895" y="801711"/>
                  <a:pt x="1128638" y="781656"/>
                  <a:pt x="1141885" y="718550"/>
                </a:cubicBezTo>
                <a:cubicBezTo>
                  <a:pt x="1154028" y="655075"/>
                  <a:pt x="1125878" y="620118"/>
                  <a:pt x="1129190" y="593440"/>
                </a:cubicBezTo>
                <a:close/>
              </a:path>
            </a:pathLst>
          </a:custGeom>
          <a:solidFill>
            <a:schemeClr val="accent3"/>
          </a:solidFill>
          <a:ln w="183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9" name="Freeform: Shape 38">
            <a:extLst>
              <a:ext uri="{FF2B5EF4-FFF2-40B4-BE49-F238E27FC236}">
                <a16:creationId xmlns:a16="http://schemas.microsoft.com/office/drawing/2014/main" id="{65BE474B-8D54-6B49-E928-0753148BA9FC}"/>
              </a:ext>
            </a:extLst>
          </p:cNvPr>
          <p:cNvSpPr/>
          <p:nvPr/>
        </p:nvSpPr>
        <p:spPr>
          <a:xfrm rot="2178052">
            <a:off x="4437060" y="-235812"/>
            <a:ext cx="896460" cy="864605"/>
          </a:xfrm>
          <a:custGeom>
            <a:avLst/>
            <a:gdLst>
              <a:gd name="connsiteX0" fmla="*/ 0 w 896460"/>
              <a:gd name="connsiteY0" fmla="*/ 517761 h 864605"/>
              <a:gd name="connsiteX1" fmla="*/ 341535 w 896460"/>
              <a:gd name="connsiteY1" fmla="*/ 266871 h 864605"/>
              <a:gd name="connsiteX2" fmla="*/ 348784 w 896460"/>
              <a:gd name="connsiteY2" fmla="*/ 284936 h 864605"/>
              <a:gd name="connsiteX3" fmla="*/ 355026 w 896460"/>
              <a:gd name="connsiteY3" fmla="*/ 317547 h 864605"/>
              <a:gd name="connsiteX4" fmla="*/ 346682 w 896460"/>
              <a:gd name="connsiteY4" fmla="*/ 367220 h 864605"/>
              <a:gd name="connsiteX5" fmla="*/ 347464 w 896460"/>
              <a:gd name="connsiteY5" fmla="*/ 368654 h 864605"/>
              <a:gd name="connsiteX6" fmla="*/ 364283 w 896460"/>
              <a:gd name="connsiteY6" fmla="*/ 417285 h 864605"/>
              <a:gd name="connsiteX7" fmla="*/ 406394 w 896460"/>
              <a:gd name="connsiteY7" fmla="*/ 437623 h 864605"/>
              <a:gd name="connsiteX8" fmla="*/ 428819 w 896460"/>
              <a:gd name="connsiteY8" fmla="*/ 460048 h 864605"/>
              <a:gd name="connsiteX9" fmla="*/ 449418 w 896460"/>
              <a:gd name="connsiteY9" fmla="*/ 454442 h 864605"/>
              <a:gd name="connsiteX10" fmla="*/ 463368 w 896460"/>
              <a:gd name="connsiteY10" fmla="*/ 442578 h 864605"/>
              <a:gd name="connsiteX11" fmla="*/ 503785 w 896460"/>
              <a:gd name="connsiteY11" fmla="*/ 420674 h 864605"/>
              <a:gd name="connsiteX12" fmla="*/ 481360 w 896460"/>
              <a:gd name="connsiteY12" fmla="*/ 378041 h 864605"/>
              <a:gd name="connsiteX13" fmla="*/ 471451 w 896460"/>
              <a:gd name="connsiteY13" fmla="*/ 303727 h 864605"/>
              <a:gd name="connsiteX14" fmla="*/ 403917 w 896460"/>
              <a:gd name="connsiteY14" fmla="*/ 228892 h 864605"/>
              <a:gd name="connsiteX15" fmla="*/ 401186 w 896460"/>
              <a:gd name="connsiteY15" fmla="*/ 223052 h 864605"/>
              <a:gd name="connsiteX16" fmla="*/ 704824 w 896460"/>
              <a:gd name="connsiteY16" fmla="*/ 0 h 864605"/>
              <a:gd name="connsiteX17" fmla="*/ 720340 w 896460"/>
              <a:gd name="connsiteY17" fmla="*/ 17422 h 864605"/>
              <a:gd name="connsiteX18" fmla="*/ 738593 w 896460"/>
              <a:gd name="connsiteY18" fmla="*/ 29155 h 864605"/>
              <a:gd name="connsiteX19" fmla="*/ 828553 w 896460"/>
              <a:gd name="connsiteY19" fmla="*/ 103861 h 864605"/>
              <a:gd name="connsiteX20" fmla="*/ 862320 w 896460"/>
              <a:gd name="connsiteY20" fmla="*/ 222112 h 864605"/>
              <a:gd name="connsiteX21" fmla="*/ 864015 w 896460"/>
              <a:gd name="connsiteY21" fmla="*/ 246493 h 864605"/>
              <a:gd name="connsiteX22" fmla="*/ 867927 w 896460"/>
              <a:gd name="connsiteY22" fmla="*/ 265136 h 864605"/>
              <a:gd name="connsiteX23" fmla="*/ 878617 w 896460"/>
              <a:gd name="connsiteY23" fmla="*/ 314418 h 864605"/>
              <a:gd name="connsiteX24" fmla="*/ 895957 w 896460"/>
              <a:gd name="connsiteY24" fmla="*/ 402943 h 864605"/>
              <a:gd name="connsiteX25" fmla="*/ 871838 w 896460"/>
              <a:gd name="connsiteY25" fmla="*/ 465394 h 864605"/>
              <a:gd name="connsiteX26" fmla="*/ 843285 w 896460"/>
              <a:gd name="connsiteY26" fmla="*/ 575692 h 864605"/>
              <a:gd name="connsiteX27" fmla="*/ 836114 w 896460"/>
              <a:gd name="connsiteY27" fmla="*/ 586122 h 864605"/>
              <a:gd name="connsiteX28" fmla="*/ 818513 w 896460"/>
              <a:gd name="connsiteY28" fmla="*/ 616499 h 864605"/>
              <a:gd name="connsiteX29" fmla="*/ 808214 w 896460"/>
              <a:gd name="connsiteY29" fmla="*/ 639836 h 864605"/>
              <a:gd name="connsiteX30" fmla="*/ 728163 w 896460"/>
              <a:gd name="connsiteY30" fmla="*/ 712717 h 864605"/>
              <a:gd name="connsiteX31" fmla="*/ 671449 w 896460"/>
              <a:gd name="connsiteY31" fmla="*/ 762520 h 864605"/>
              <a:gd name="connsiteX32" fmla="*/ 590615 w 896460"/>
              <a:gd name="connsiteY32" fmla="*/ 787422 h 864605"/>
              <a:gd name="connsiteX33" fmla="*/ 541594 w 896460"/>
              <a:gd name="connsiteY33" fmla="*/ 814932 h 864605"/>
              <a:gd name="connsiteX34" fmla="*/ 509522 w 896460"/>
              <a:gd name="connsiteY34" fmla="*/ 818322 h 864605"/>
              <a:gd name="connsiteX35" fmla="*/ 426472 w 896460"/>
              <a:gd name="connsiteY35" fmla="*/ 862518 h 864605"/>
              <a:gd name="connsiteX36" fmla="*/ 407307 w 896460"/>
              <a:gd name="connsiteY36" fmla="*/ 864605 h 864605"/>
              <a:gd name="connsiteX37" fmla="*/ 341075 w 896460"/>
              <a:gd name="connsiteY37" fmla="*/ 843354 h 864605"/>
              <a:gd name="connsiteX38" fmla="*/ 326212 w 896460"/>
              <a:gd name="connsiteY38" fmla="*/ 836052 h 864605"/>
              <a:gd name="connsiteX39" fmla="*/ 288534 w 896460"/>
              <a:gd name="connsiteY39" fmla="*/ 832011 h 864605"/>
              <a:gd name="connsiteX40" fmla="*/ 207440 w 896460"/>
              <a:gd name="connsiteY40" fmla="*/ 819233 h 864605"/>
              <a:gd name="connsiteX41" fmla="*/ 78497 w 896460"/>
              <a:gd name="connsiteY41" fmla="*/ 701374 h 864605"/>
              <a:gd name="connsiteX42" fmla="*/ 46164 w 896460"/>
              <a:gd name="connsiteY42" fmla="*/ 607373 h 864605"/>
              <a:gd name="connsiteX43" fmla="*/ 43034 w 896460"/>
              <a:gd name="connsiteY43" fmla="*/ 582471 h 864605"/>
              <a:gd name="connsiteX44" fmla="*/ 40688 w 896460"/>
              <a:gd name="connsiteY44" fmla="*/ 579473 h 864605"/>
              <a:gd name="connsiteX45" fmla="*/ 8697 w 896460"/>
              <a:gd name="connsiteY45" fmla="*/ 534656 h 86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96460" h="864605">
                <a:moveTo>
                  <a:pt x="0" y="517761"/>
                </a:moveTo>
                <a:lnTo>
                  <a:pt x="341535" y="266871"/>
                </a:lnTo>
                <a:lnTo>
                  <a:pt x="348784" y="284936"/>
                </a:lnTo>
                <a:cubicBezTo>
                  <a:pt x="351277" y="293297"/>
                  <a:pt x="353592" y="304053"/>
                  <a:pt x="355026" y="317547"/>
                </a:cubicBezTo>
                <a:cubicBezTo>
                  <a:pt x="357633" y="343231"/>
                  <a:pt x="352157" y="358615"/>
                  <a:pt x="346682" y="367220"/>
                </a:cubicBezTo>
                <a:lnTo>
                  <a:pt x="347464" y="368654"/>
                </a:lnTo>
                <a:cubicBezTo>
                  <a:pt x="352418" y="377650"/>
                  <a:pt x="359589" y="400858"/>
                  <a:pt x="364283" y="417285"/>
                </a:cubicBezTo>
                <a:cubicBezTo>
                  <a:pt x="378233" y="420805"/>
                  <a:pt x="394790" y="426933"/>
                  <a:pt x="406394" y="437623"/>
                </a:cubicBezTo>
                <a:cubicBezTo>
                  <a:pt x="416694" y="447010"/>
                  <a:pt x="423995" y="454702"/>
                  <a:pt x="428819" y="460048"/>
                </a:cubicBezTo>
                <a:cubicBezTo>
                  <a:pt x="434816" y="457571"/>
                  <a:pt x="442508" y="454963"/>
                  <a:pt x="449418" y="454442"/>
                </a:cubicBezTo>
                <a:cubicBezTo>
                  <a:pt x="454503" y="449879"/>
                  <a:pt x="459066" y="445967"/>
                  <a:pt x="463368" y="442578"/>
                </a:cubicBezTo>
                <a:cubicBezTo>
                  <a:pt x="473407" y="434625"/>
                  <a:pt x="486966" y="427193"/>
                  <a:pt x="503785" y="420674"/>
                </a:cubicBezTo>
                <a:cubicBezTo>
                  <a:pt x="495571" y="407116"/>
                  <a:pt x="486966" y="391471"/>
                  <a:pt x="481360" y="378041"/>
                </a:cubicBezTo>
                <a:cubicBezTo>
                  <a:pt x="471191" y="353922"/>
                  <a:pt x="471060" y="318720"/>
                  <a:pt x="471451" y="303727"/>
                </a:cubicBezTo>
                <a:cubicBezTo>
                  <a:pt x="458805" y="293558"/>
                  <a:pt x="427775" y="266831"/>
                  <a:pt x="403917" y="228892"/>
                </a:cubicBezTo>
                <a:lnTo>
                  <a:pt x="401186" y="223052"/>
                </a:lnTo>
                <a:lnTo>
                  <a:pt x="704824" y="0"/>
                </a:lnTo>
                <a:lnTo>
                  <a:pt x="720340" y="17422"/>
                </a:lnTo>
                <a:cubicBezTo>
                  <a:pt x="722036" y="19638"/>
                  <a:pt x="731162" y="24853"/>
                  <a:pt x="738593" y="29155"/>
                </a:cubicBezTo>
                <a:cubicBezTo>
                  <a:pt x="762061" y="42584"/>
                  <a:pt x="797523" y="63053"/>
                  <a:pt x="828553" y="103861"/>
                </a:cubicBezTo>
                <a:cubicBezTo>
                  <a:pt x="854106" y="137367"/>
                  <a:pt x="856844" y="165659"/>
                  <a:pt x="862320" y="222112"/>
                </a:cubicBezTo>
                <a:cubicBezTo>
                  <a:pt x="863363" y="232803"/>
                  <a:pt x="863754" y="240495"/>
                  <a:pt x="864015" y="246493"/>
                </a:cubicBezTo>
                <a:cubicBezTo>
                  <a:pt x="864537" y="258356"/>
                  <a:pt x="864797" y="260051"/>
                  <a:pt x="867927" y="265136"/>
                </a:cubicBezTo>
                <a:cubicBezTo>
                  <a:pt x="878095" y="281303"/>
                  <a:pt x="878748" y="305422"/>
                  <a:pt x="878617" y="314418"/>
                </a:cubicBezTo>
                <a:cubicBezTo>
                  <a:pt x="883572" y="325630"/>
                  <a:pt x="899477" y="365656"/>
                  <a:pt x="895957" y="402943"/>
                </a:cubicBezTo>
                <a:cubicBezTo>
                  <a:pt x="892698" y="436319"/>
                  <a:pt x="878878" y="456919"/>
                  <a:pt x="871838" y="465394"/>
                </a:cubicBezTo>
                <a:cubicBezTo>
                  <a:pt x="871447" y="482864"/>
                  <a:pt x="868057" y="539577"/>
                  <a:pt x="843285" y="575692"/>
                </a:cubicBezTo>
                <a:lnTo>
                  <a:pt x="836114" y="586122"/>
                </a:lnTo>
                <a:cubicBezTo>
                  <a:pt x="823859" y="603984"/>
                  <a:pt x="823859" y="603984"/>
                  <a:pt x="818513" y="616499"/>
                </a:cubicBezTo>
                <a:cubicBezTo>
                  <a:pt x="816297" y="621715"/>
                  <a:pt x="813168" y="628885"/>
                  <a:pt x="808214" y="639836"/>
                </a:cubicBezTo>
                <a:cubicBezTo>
                  <a:pt x="789049" y="682208"/>
                  <a:pt x="741201" y="706720"/>
                  <a:pt x="728163" y="712717"/>
                </a:cubicBezTo>
                <a:cubicBezTo>
                  <a:pt x="722035" y="720279"/>
                  <a:pt x="703913" y="740748"/>
                  <a:pt x="671449" y="762520"/>
                </a:cubicBezTo>
                <a:cubicBezTo>
                  <a:pt x="638203" y="785075"/>
                  <a:pt x="603262" y="787422"/>
                  <a:pt x="590615" y="787422"/>
                </a:cubicBezTo>
                <a:cubicBezTo>
                  <a:pt x="581750" y="793550"/>
                  <a:pt x="558152" y="809065"/>
                  <a:pt x="541594" y="814932"/>
                </a:cubicBezTo>
                <a:cubicBezTo>
                  <a:pt x="529469" y="819103"/>
                  <a:pt x="518257" y="818843"/>
                  <a:pt x="509522" y="818322"/>
                </a:cubicBezTo>
                <a:cubicBezTo>
                  <a:pt x="482143" y="842180"/>
                  <a:pt x="447723" y="857825"/>
                  <a:pt x="426472" y="862518"/>
                </a:cubicBezTo>
                <a:cubicBezTo>
                  <a:pt x="419953" y="863953"/>
                  <a:pt x="413434" y="864605"/>
                  <a:pt x="407307" y="864605"/>
                </a:cubicBezTo>
                <a:cubicBezTo>
                  <a:pt x="379928" y="864605"/>
                  <a:pt x="357112" y="852219"/>
                  <a:pt x="341075" y="843354"/>
                </a:cubicBezTo>
                <a:cubicBezTo>
                  <a:pt x="335208" y="840094"/>
                  <a:pt x="329603" y="837095"/>
                  <a:pt x="326212" y="836052"/>
                </a:cubicBezTo>
                <a:cubicBezTo>
                  <a:pt x="318520" y="833706"/>
                  <a:pt x="303918" y="832924"/>
                  <a:pt x="288534" y="832011"/>
                </a:cubicBezTo>
                <a:cubicBezTo>
                  <a:pt x="263371" y="830577"/>
                  <a:pt x="232080" y="828882"/>
                  <a:pt x="207440" y="819233"/>
                </a:cubicBezTo>
                <a:cubicBezTo>
                  <a:pt x="159591" y="800590"/>
                  <a:pt x="121130" y="765389"/>
                  <a:pt x="78497" y="701374"/>
                </a:cubicBezTo>
                <a:cubicBezTo>
                  <a:pt x="51248" y="660306"/>
                  <a:pt x="48641" y="633448"/>
                  <a:pt x="46164" y="607373"/>
                </a:cubicBezTo>
                <a:cubicBezTo>
                  <a:pt x="45382" y="598898"/>
                  <a:pt x="44599" y="590945"/>
                  <a:pt x="43034" y="582471"/>
                </a:cubicBezTo>
                <a:lnTo>
                  <a:pt x="40688" y="579473"/>
                </a:lnTo>
                <a:cubicBezTo>
                  <a:pt x="32344" y="569042"/>
                  <a:pt x="20382" y="554147"/>
                  <a:pt x="8697" y="534656"/>
                </a:cubicBezTo>
                <a:close/>
              </a:path>
            </a:pathLst>
          </a:custGeom>
          <a:solidFill>
            <a:schemeClr val="accent3"/>
          </a:solidFill>
          <a:ln w="183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0" name="Freeform 804">
            <a:extLst>
              <a:ext uri="{FF2B5EF4-FFF2-40B4-BE49-F238E27FC236}">
                <a16:creationId xmlns:a16="http://schemas.microsoft.com/office/drawing/2014/main" id="{A2F5D7E5-A7CF-A991-0565-88B5DA4C8761}"/>
              </a:ext>
            </a:extLst>
          </p:cNvPr>
          <p:cNvSpPr/>
          <p:nvPr/>
        </p:nvSpPr>
        <p:spPr>
          <a:xfrm rot="2446866">
            <a:off x="1520773" y="951232"/>
            <a:ext cx="1422453" cy="660115"/>
          </a:xfrm>
          <a:custGeom>
            <a:avLst/>
            <a:gdLst>
              <a:gd name="connsiteX0" fmla="*/ 57698 w 939799"/>
              <a:gd name="connsiteY0" fmla="*/ 459703 h 459702"/>
              <a:gd name="connsiteX1" fmla="*/ 168750 w 939799"/>
              <a:gd name="connsiteY1" fmla="*/ 385931 h 459702"/>
              <a:gd name="connsiteX2" fmla="*/ 253950 w 939799"/>
              <a:gd name="connsiteY2" fmla="*/ 298966 h 459702"/>
              <a:gd name="connsiteX3" fmla="*/ 279617 w 939799"/>
              <a:gd name="connsiteY3" fmla="*/ 370066 h 459702"/>
              <a:gd name="connsiteX4" fmla="*/ 314203 w 939799"/>
              <a:gd name="connsiteY4" fmla="*/ 389345 h 459702"/>
              <a:gd name="connsiteX5" fmla="*/ 676697 w 939799"/>
              <a:gd name="connsiteY5" fmla="*/ 312972 h 459702"/>
              <a:gd name="connsiteX6" fmla="*/ 700576 w 939799"/>
              <a:gd name="connsiteY6" fmla="*/ 281382 h 459702"/>
              <a:gd name="connsiteX7" fmla="*/ 695372 w 939799"/>
              <a:gd name="connsiteY7" fmla="*/ 205985 h 459702"/>
              <a:gd name="connsiteX8" fmla="*/ 808423 w 939799"/>
              <a:gd name="connsiteY8" fmla="*/ 251163 h 459702"/>
              <a:gd name="connsiteX9" fmla="*/ 939799 w 939799"/>
              <a:gd name="connsiteY9" fmla="*/ 273833 h 459702"/>
              <a:gd name="connsiteX10" fmla="*/ 882101 w 939799"/>
              <a:gd name="connsiteY10" fmla="*/ 0 h 459702"/>
              <a:gd name="connsiteX11" fmla="*/ 771049 w 939799"/>
              <a:gd name="connsiteY11" fmla="*/ 73772 h 459702"/>
              <a:gd name="connsiteX12" fmla="*/ 685849 w 939799"/>
              <a:gd name="connsiteY12" fmla="*/ 160737 h 459702"/>
              <a:gd name="connsiteX13" fmla="*/ 660182 w 939799"/>
              <a:gd name="connsiteY13" fmla="*/ 89636 h 459702"/>
              <a:gd name="connsiteX14" fmla="*/ 625596 w 939799"/>
              <a:gd name="connsiteY14" fmla="*/ 70357 h 459702"/>
              <a:gd name="connsiteX15" fmla="*/ 263102 w 939799"/>
              <a:gd name="connsiteY15" fmla="*/ 146730 h 459702"/>
              <a:gd name="connsiteX16" fmla="*/ 239224 w 939799"/>
              <a:gd name="connsiteY16" fmla="*/ 178320 h 459702"/>
              <a:gd name="connsiteX17" fmla="*/ 244427 w 939799"/>
              <a:gd name="connsiteY17" fmla="*/ 253718 h 459702"/>
              <a:gd name="connsiteX18" fmla="*/ 131377 w 939799"/>
              <a:gd name="connsiteY18" fmla="*/ 208516 h 459702"/>
              <a:gd name="connsiteX19" fmla="*/ 0 w 939799"/>
              <a:gd name="connsiteY19" fmla="*/ 185846 h 459702"/>
              <a:gd name="connsiteX20" fmla="*/ 57698 w 939799"/>
              <a:gd name="connsiteY20" fmla="*/ 459703 h 4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9799" h="459702">
                <a:moveTo>
                  <a:pt x="57698" y="459703"/>
                </a:moveTo>
                <a:cubicBezTo>
                  <a:pt x="108172" y="449064"/>
                  <a:pt x="145453" y="413479"/>
                  <a:pt x="168750" y="385931"/>
                </a:cubicBezTo>
                <a:cubicBezTo>
                  <a:pt x="202477" y="346025"/>
                  <a:pt x="213232" y="307723"/>
                  <a:pt x="253950" y="298966"/>
                </a:cubicBezTo>
                <a:lnTo>
                  <a:pt x="279617" y="370066"/>
                </a:lnTo>
                <a:cubicBezTo>
                  <a:pt x="284727" y="384212"/>
                  <a:pt x="299500" y="392435"/>
                  <a:pt x="314203" y="389345"/>
                </a:cubicBezTo>
                <a:lnTo>
                  <a:pt x="676697" y="312972"/>
                </a:lnTo>
                <a:cubicBezTo>
                  <a:pt x="691424" y="309860"/>
                  <a:pt x="701621" y="296387"/>
                  <a:pt x="700576" y="281382"/>
                </a:cubicBezTo>
                <a:lnTo>
                  <a:pt x="695372" y="205985"/>
                </a:lnTo>
                <a:cubicBezTo>
                  <a:pt x="736161" y="197576"/>
                  <a:pt x="761456" y="228283"/>
                  <a:pt x="808423" y="251163"/>
                </a:cubicBezTo>
                <a:cubicBezTo>
                  <a:pt x="840849" y="266958"/>
                  <a:pt x="889325" y="284472"/>
                  <a:pt x="939799" y="273833"/>
                </a:cubicBezTo>
                <a:cubicBezTo>
                  <a:pt x="879082" y="217529"/>
                  <a:pt x="943864" y="63714"/>
                  <a:pt x="882101" y="0"/>
                </a:cubicBezTo>
                <a:cubicBezTo>
                  <a:pt x="831627" y="10638"/>
                  <a:pt x="794347" y="46223"/>
                  <a:pt x="771049" y="73772"/>
                </a:cubicBezTo>
                <a:cubicBezTo>
                  <a:pt x="737322" y="113677"/>
                  <a:pt x="726568" y="151980"/>
                  <a:pt x="685849" y="160737"/>
                </a:cubicBezTo>
                <a:lnTo>
                  <a:pt x="660182" y="89636"/>
                </a:lnTo>
                <a:cubicBezTo>
                  <a:pt x="655072" y="75491"/>
                  <a:pt x="640323" y="67268"/>
                  <a:pt x="625596" y="70357"/>
                </a:cubicBezTo>
                <a:lnTo>
                  <a:pt x="263102" y="146730"/>
                </a:lnTo>
                <a:cubicBezTo>
                  <a:pt x="248376" y="149843"/>
                  <a:pt x="238179" y="163315"/>
                  <a:pt x="239224" y="178320"/>
                </a:cubicBezTo>
                <a:lnTo>
                  <a:pt x="244427" y="253718"/>
                </a:lnTo>
                <a:cubicBezTo>
                  <a:pt x="203639" y="262126"/>
                  <a:pt x="178344" y="231419"/>
                  <a:pt x="131377" y="208516"/>
                </a:cubicBezTo>
                <a:cubicBezTo>
                  <a:pt x="98951" y="192722"/>
                  <a:pt x="50474" y="175208"/>
                  <a:pt x="0" y="185846"/>
                </a:cubicBezTo>
                <a:cubicBezTo>
                  <a:pt x="60718" y="242174"/>
                  <a:pt x="-4065" y="395965"/>
                  <a:pt x="57698" y="459703"/>
                </a:cubicBezTo>
                <a:close/>
              </a:path>
            </a:pathLst>
          </a:custGeom>
          <a:solidFill>
            <a:schemeClr val="accent3"/>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3" name="Freeform: Shape 12">
            <a:extLst>
              <a:ext uri="{FF2B5EF4-FFF2-40B4-BE49-F238E27FC236}">
                <a16:creationId xmlns:a16="http://schemas.microsoft.com/office/drawing/2014/main" id="{DDA5A6CD-236E-CB01-1606-AC3A9BFD6401}"/>
              </a:ext>
            </a:extLst>
          </p:cNvPr>
          <p:cNvSpPr/>
          <p:nvPr/>
        </p:nvSpPr>
        <p:spPr>
          <a:xfrm rot="7810828">
            <a:off x="6121498" y="55300"/>
            <a:ext cx="830632" cy="452973"/>
          </a:xfrm>
          <a:custGeom>
            <a:avLst/>
            <a:gdLst>
              <a:gd name="connsiteX0" fmla="*/ 237757 w 830632"/>
              <a:gd name="connsiteY0" fmla="*/ 452973 h 452973"/>
              <a:gd name="connsiteX1" fmla="*/ 0 w 830632"/>
              <a:gd name="connsiteY1" fmla="*/ 171431 h 452973"/>
              <a:gd name="connsiteX2" fmla="*/ 400522 w 830632"/>
              <a:gd name="connsiteY2" fmla="*/ 91373 h 452973"/>
              <a:gd name="connsiteX3" fmla="*/ 447867 w 830632"/>
              <a:gd name="connsiteY3" fmla="*/ 116410 h 452973"/>
              <a:gd name="connsiteX4" fmla="*/ 483002 w 830632"/>
              <a:gd name="connsiteY4" fmla="*/ 208749 h 452973"/>
              <a:gd name="connsiteX5" fmla="*/ 599632 w 830632"/>
              <a:gd name="connsiteY5" fmla="*/ 95808 h 452973"/>
              <a:gd name="connsiteX6" fmla="*/ 751650 w 830632"/>
              <a:gd name="connsiteY6" fmla="*/ 0 h 452973"/>
              <a:gd name="connsiteX7" fmla="*/ 830632 w 830632"/>
              <a:gd name="connsiteY7" fmla="*/ 355627 h 452973"/>
              <a:gd name="connsiteX8" fmla="*/ 650793 w 830632"/>
              <a:gd name="connsiteY8" fmla="*/ 326186 h 452973"/>
              <a:gd name="connsiteX9" fmla="*/ 496038 w 830632"/>
              <a:gd name="connsiteY9" fmla="*/ 267513 h 452973"/>
              <a:gd name="connsiteX10" fmla="*/ 503162 w 830632"/>
              <a:gd name="connsiteY10" fmla="*/ 365431 h 452973"/>
              <a:gd name="connsiteX11" fmla="*/ 470474 w 830632"/>
              <a:gd name="connsiteY11" fmla="*/ 406457 h 45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632" h="452973">
                <a:moveTo>
                  <a:pt x="237757" y="452973"/>
                </a:moveTo>
                <a:lnTo>
                  <a:pt x="0" y="171431"/>
                </a:lnTo>
                <a:lnTo>
                  <a:pt x="400522" y="91373"/>
                </a:lnTo>
                <a:cubicBezTo>
                  <a:pt x="420682" y="87361"/>
                  <a:pt x="440872" y="98040"/>
                  <a:pt x="447867" y="116410"/>
                </a:cubicBezTo>
                <a:lnTo>
                  <a:pt x="483002" y="208749"/>
                </a:lnTo>
                <a:cubicBezTo>
                  <a:pt x="538742" y="197376"/>
                  <a:pt x="553463" y="147632"/>
                  <a:pt x="599632" y="95808"/>
                </a:cubicBezTo>
                <a:cubicBezTo>
                  <a:pt x="631524" y="60030"/>
                  <a:pt x="682556" y="13815"/>
                  <a:pt x="751650" y="0"/>
                </a:cubicBezTo>
                <a:cubicBezTo>
                  <a:pt x="836197" y="82746"/>
                  <a:pt x="747517" y="282505"/>
                  <a:pt x="830632" y="355627"/>
                </a:cubicBezTo>
                <a:cubicBezTo>
                  <a:pt x="761539" y="369444"/>
                  <a:pt x="695180" y="346699"/>
                  <a:pt x="650793" y="326186"/>
                </a:cubicBezTo>
                <a:cubicBezTo>
                  <a:pt x="586500" y="296471"/>
                  <a:pt x="551874" y="256592"/>
                  <a:pt x="496038" y="267513"/>
                </a:cubicBezTo>
                <a:lnTo>
                  <a:pt x="503162" y="365431"/>
                </a:lnTo>
                <a:cubicBezTo>
                  <a:pt x="504592" y="384918"/>
                  <a:pt x="490634" y="402415"/>
                  <a:pt x="470474" y="406457"/>
                </a:cubicBezTo>
                <a:close/>
              </a:path>
            </a:pathLst>
          </a:custGeom>
          <a:solidFill>
            <a:schemeClr val="accent3"/>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33" name="Graphic 32">
            <a:extLst>
              <a:ext uri="{FF2B5EF4-FFF2-40B4-BE49-F238E27FC236}">
                <a16:creationId xmlns:a16="http://schemas.microsoft.com/office/drawing/2014/main" id="{54CAD62A-B203-F01B-2CE1-847A0D2C974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9604866" y="377227"/>
            <a:ext cx="611416" cy="679936"/>
          </a:xfrm>
          <a:prstGeom prst="rect">
            <a:avLst/>
          </a:prstGeom>
        </p:spPr>
      </p:pic>
      <p:pic>
        <p:nvPicPr>
          <p:cNvPr id="34" name="Graphic 33">
            <a:extLst>
              <a:ext uri="{FF2B5EF4-FFF2-40B4-BE49-F238E27FC236}">
                <a16:creationId xmlns:a16="http://schemas.microsoft.com/office/drawing/2014/main" id="{BC6FBC0C-D716-F2B5-7D2A-59F072D4DF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10384833" y="250098"/>
            <a:ext cx="611416" cy="679936"/>
          </a:xfrm>
          <a:prstGeom prst="rect">
            <a:avLst/>
          </a:prstGeom>
        </p:spPr>
      </p:pic>
      <p:pic>
        <p:nvPicPr>
          <p:cNvPr id="17" name="Graphic 16">
            <a:extLst>
              <a:ext uri="{FF2B5EF4-FFF2-40B4-BE49-F238E27FC236}">
                <a16:creationId xmlns:a16="http://schemas.microsoft.com/office/drawing/2014/main" id="{06DE7199-F987-F1D6-7B22-52AA8992453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9912"/>
          <a:stretch>
            <a:fillRect/>
          </a:stretch>
        </p:blipFill>
        <p:spPr>
          <a:xfrm rot="14912638">
            <a:off x="10094824" y="-264909"/>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sp>
        <p:nvSpPr>
          <p:cNvPr id="45" name="Freeform: Shape 44">
            <a:extLst>
              <a:ext uri="{FF2B5EF4-FFF2-40B4-BE49-F238E27FC236}">
                <a16:creationId xmlns:a16="http://schemas.microsoft.com/office/drawing/2014/main" id="{9D92F409-FA32-23D4-09EE-C8037395B906}"/>
              </a:ext>
            </a:extLst>
          </p:cNvPr>
          <p:cNvSpPr/>
          <p:nvPr/>
        </p:nvSpPr>
        <p:spPr>
          <a:xfrm rot="19394395">
            <a:off x="302036" y="-179531"/>
            <a:ext cx="306159" cy="1283212"/>
          </a:xfrm>
          <a:custGeom>
            <a:avLst/>
            <a:gdLst>
              <a:gd name="connsiteX0" fmla="*/ 66280 w 306159"/>
              <a:gd name="connsiteY0" fmla="*/ 0 h 1283212"/>
              <a:gd name="connsiteX1" fmla="*/ 72368 w 306159"/>
              <a:gd name="connsiteY1" fmla="*/ 4547 h 1283212"/>
              <a:gd name="connsiteX2" fmla="*/ 55892 w 306159"/>
              <a:gd name="connsiteY2" fmla="*/ 30957 h 1283212"/>
              <a:gd name="connsiteX3" fmla="*/ 37819 w 306159"/>
              <a:gd name="connsiteY3" fmla="*/ 67070 h 1283212"/>
              <a:gd name="connsiteX4" fmla="*/ 28388 w 306159"/>
              <a:gd name="connsiteY4" fmla="*/ 135780 h 1283212"/>
              <a:gd name="connsiteX5" fmla="*/ 60723 w 306159"/>
              <a:gd name="connsiteY5" fmla="*/ 69090 h 1283212"/>
              <a:gd name="connsiteX6" fmla="*/ 89352 w 306159"/>
              <a:gd name="connsiteY6" fmla="*/ 31872 h 1283212"/>
              <a:gd name="connsiteX7" fmla="*/ 95581 w 306159"/>
              <a:gd name="connsiteY7" fmla="*/ 21888 h 1283212"/>
              <a:gd name="connsiteX8" fmla="*/ 144709 w 306159"/>
              <a:gd name="connsiteY8" fmla="*/ 58587 h 1283212"/>
              <a:gd name="connsiteX9" fmla="*/ 165726 w 306159"/>
              <a:gd name="connsiteY9" fmla="*/ 123486 h 1283212"/>
              <a:gd name="connsiteX10" fmla="*/ 206901 w 306159"/>
              <a:gd name="connsiteY10" fmla="*/ 304862 h 1283212"/>
              <a:gd name="connsiteX11" fmla="*/ 200838 w 306159"/>
              <a:gd name="connsiteY11" fmla="*/ 519077 h 1283212"/>
              <a:gd name="connsiteX12" fmla="*/ 236541 w 306159"/>
              <a:gd name="connsiteY12" fmla="*/ 742050 h 1283212"/>
              <a:gd name="connsiteX13" fmla="*/ 262139 w 306159"/>
              <a:gd name="connsiteY13" fmla="*/ 960307 h 1283212"/>
              <a:gd name="connsiteX14" fmla="*/ 262139 w 306159"/>
              <a:gd name="connsiteY14" fmla="*/ 963001 h 1283212"/>
              <a:gd name="connsiteX15" fmla="*/ 261465 w 306159"/>
              <a:gd name="connsiteY15" fmla="*/ 983210 h 1283212"/>
              <a:gd name="connsiteX16" fmla="*/ 254729 w 306159"/>
              <a:gd name="connsiteY16" fmla="*/ 1013523 h 1283212"/>
              <a:gd name="connsiteX17" fmla="*/ 196796 w 306159"/>
              <a:gd name="connsiteY17" fmla="*/ 1101770 h 1283212"/>
              <a:gd name="connsiteX18" fmla="*/ 148969 w 306159"/>
              <a:gd name="connsiteY18" fmla="*/ 1199446 h 1283212"/>
              <a:gd name="connsiteX19" fmla="*/ 216332 w 306159"/>
              <a:gd name="connsiteY19" fmla="*/ 1133430 h 1283212"/>
              <a:gd name="connsiteX20" fmla="*/ 252034 w 306159"/>
              <a:gd name="connsiteY20" fmla="*/ 1093686 h 1283212"/>
              <a:gd name="connsiteX21" fmla="*/ 251361 w 306159"/>
              <a:gd name="connsiteY21" fmla="*/ 1096381 h 1283212"/>
              <a:gd name="connsiteX22" fmla="*/ 250687 w 306159"/>
              <a:gd name="connsiteY22" fmla="*/ 1100422 h 1283212"/>
              <a:gd name="connsiteX23" fmla="*/ 251361 w 306159"/>
              <a:gd name="connsiteY23" fmla="*/ 1097728 h 1283212"/>
              <a:gd name="connsiteX24" fmla="*/ 302557 w 306159"/>
              <a:gd name="connsiteY24" fmla="*/ 1245253 h 1283212"/>
              <a:gd name="connsiteX25" fmla="*/ 148295 w 306159"/>
              <a:gd name="connsiteY25" fmla="*/ 1282303 h 1283212"/>
              <a:gd name="connsiteX26" fmla="*/ 128086 w 306159"/>
              <a:gd name="connsiteY26" fmla="*/ 1225044 h 1283212"/>
              <a:gd name="connsiteX27" fmla="*/ 47924 w 306159"/>
              <a:gd name="connsiteY27" fmla="*/ 972432 h 1283212"/>
              <a:gd name="connsiteX28" fmla="*/ 47250 w 306159"/>
              <a:gd name="connsiteY28" fmla="*/ 901700 h 1283212"/>
              <a:gd name="connsiteX29" fmla="*/ 53986 w 306159"/>
              <a:gd name="connsiteY29" fmla="*/ 849157 h 1283212"/>
              <a:gd name="connsiteX30" fmla="*/ 150316 w 306159"/>
              <a:gd name="connsiteY30" fmla="*/ 620796 h 1283212"/>
              <a:gd name="connsiteX31" fmla="*/ 173893 w 306159"/>
              <a:gd name="connsiteY31" fmla="*/ 563537 h 1283212"/>
              <a:gd name="connsiteX32" fmla="*/ 89689 w 306159"/>
              <a:gd name="connsiteY32" fmla="*/ 650436 h 1283212"/>
              <a:gd name="connsiteX33" fmla="*/ 58702 w 306159"/>
              <a:gd name="connsiteY33" fmla="*/ 700285 h 1283212"/>
              <a:gd name="connsiteX34" fmla="*/ 58702 w 306159"/>
              <a:gd name="connsiteY34" fmla="*/ 699611 h 1283212"/>
              <a:gd name="connsiteX35" fmla="*/ 2117 w 306159"/>
              <a:gd name="connsiteY35" fmla="*/ 369531 h 1283212"/>
              <a:gd name="connsiteX36" fmla="*/ 7043 w 306159"/>
              <a:gd name="connsiteY36" fmla="*/ 151084 h 1283212"/>
              <a:gd name="connsiteX37" fmla="*/ 690 w 306159"/>
              <a:gd name="connsiteY37" fmla="*/ 87804 h 12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6159" h="1283212">
                <a:moveTo>
                  <a:pt x="66280" y="0"/>
                </a:moveTo>
                <a:lnTo>
                  <a:pt x="72368" y="4547"/>
                </a:lnTo>
                <a:lnTo>
                  <a:pt x="55892" y="30957"/>
                </a:lnTo>
                <a:cubicBezTo>
                  <a:pt x="49145" y="42145"/>
                  <a:pt x="42872" y="53766"/>
                  <a:pt x="37819" y="67070"/>
                </a:cubicBezTo>
                <a:cubicBezTo>
                  <a:pt x="25694" y="98057"/>
                  <a:pt x="28388" y="135780"/>
                  <a:pt x="28388" y="135780"/>
                </a:cubicBezTo>
                <a:cubicBezTo>
                  <a:pt x="28388" y="135780"/>
                  <a:pt x="27041" y="118939"/>
                  <a:pt x="60723" y="69090"/>
                </a:cubicBezTo>
                <a:cubicBezTo>
                  <a:pt x="67796" y="58312"/>
                  <a:pt x="78237" y="46355"/>
                  <a:pt x="89352" y="31872"/>
                </a:cubicBezTo>
                <a:lnTo>
                  <a:pt x="95581" y="21888"/>
                </a:lnTo>
                <a:lnTo>
                  <a:pt x="144709" y="58587"/>
                </a:lnTo>
                <a:lnTo>
                  <a:pt x="165726" y="123486"/>
                </a:lnTo>
                <a:cubicBezTo>
                  <a:pt x="184335" y="183777"/>
                  <a:pt x="202860" y="252656"/>
                  <a:pt x="206901" y="304862"/>
                </a:cubicBezTo>
                <a:cubicBezTo>
                  <a:pt x="214985" y="409275"/>
                  <a:pt x="210269" y="484048"/>
                  <a:pt x="200838" y="519077"/>
                </a:cubicBezTo>
                <a:cubicBezTo>
                  <a:pt x="191407" y="554106"/>
                  <a:pt x="212290" y="686138"/>
                  <a:pt x="236541" y="742050"/>
                </a:cubicBezTo>
                <a:cubicBezTo>
                  <a:pt x="252708" y="779099"/>
                  <a:pt x="262812" y="868693"/>
                  <a:pt x="262139" y="960307"/>
                </a:cubicBezTo>
                <a:cubicBezTo>
                  <a:pt x="262139" y="960307"/>
                  <a:pt x="262139" y="961654"/>
                  <a:pt x="262139" y="963001"/>
                </a:cubicBezTo>
                <a:cubicBezTo>
                  <a:pt x="261465" y="969738"/>
                  <a:pt x="261465" y="976474"/>
                  <a:pt x="261465" y="983210"/>
                </a:cubicBezTo>
                <a:cubicBezTo>
                  <a:pt x="260792" y="991967"/>
                  <a:pt x="258771" y="1002745"/>
                  <a:pt x="254729" y="1013523"/>
                </a:cubicBezTo>
                <a:cubicBezTo>
                  <a:pt x="244625" y="1041143"/>
                  <a:pt x="221047" y="1070109"/>
                  <a:pt x="196796" y="1101770"/>
                </a:cubicBezTo>
                <a:cubicBezTo>
                  <a:pt x="137517" y="1179911"/>
                  <a:pt x="148969" y="1199446"/>
                  <a:pt x="148969" y="1199446"/>
                </a:cubicBezTo>
                <a:cubicBezTo>
                  <a:pt x="148969" y="1199446"/>
                  <a:pt x="174567" y="1163744"/>
                  <a:pt x="216332" y="1133430"/>
                </a:cubicBezTo>
                <a:cubicBezTo>
                  <a:pt x="227784" y="1125346"/>
                  <a:pt x="239909" y="1111200"/>
                  <a:pt x="252034" y="1093686"/>
                </a:cubicBezTo>
                <a:cubicBezTo>
                  <a:pt x="251361" y="1095033"/>
                  <a:pt x="251361" y="1095707"/>
                  <a:pt x="251361" y="1096381"/>
                </a:cubicBezTo>
                <a:cubicBezTo>
                  <a:pt x="251361" y="1097728"/>
                  <a:pt x="250687" y="1099075"/>
                  <a:pt x="250687" y="1100422"/>
                </a:cubicBezTo>
                <a:cubicBezTo>
                  <a:pt x="251361" y="1098401"/>
                  <a:pt x="251361" y="1097728"/>
                  <a:pt x="251361" y="1097728"/>
                </a:cubicBezTo>
                <a:cubicBezTo>
                  <a:pt x="251361" y="1097728"/>
                  <a:pt x="322766" y="1216287"/>
                  <a:pt x="302557" y="1245253"/>
                </a:cubicBezTo>
                <a:cubicBezTo>
                  <a:pt x="290432" y="1262768"/>
                  <a:pt x="165136" y="1288366"/>
                  <a:pt x="148295" y="1282303"/>
                </a:cubicBezTo>
                <a:cubicBezTo>
                  <a:pt x="113266" y="1268831"/>
                  <a:pt x="128086" y="1225044"/>
                  <a:pt x="128086" y="1225044"/>
                </a:cubicBezTo>
                <a:cubicBezTo>
                  <a:pt x="128086" y="1225044"/>
                  <a:pt x="57355" y="1049226"/>
                  <a:pt x="47924" y="972432"/>
                </a:cubicBezTo>
                <a:cubicBezTo>
                  <a:pt x="45903" y="953570"/>
                  <a:pt x="45903" y="928646"/>
                  <a:pt x="47250" y="901700"/>
                </a:cubicBezTo>
                <a:cubicBezTo>
                  <a:pt x="48597" y="884860"/>
                  <a:pt x="51292" y="867346"/>
                  <a:pt x="53986" y="849157"/>
                </a:cubicBezTo>
                <a:cubicBezTo>
                  <a:pt x="75543" y="712410"/>
                  <a:pt x="122697" y="655825"/>
                  <a:pt x="150316" y="620796"/>
                </a:cubicBezTo>
                <a:cubicBezTo>
                  <a:pt x="183324" y="578357"/>
                  <a:pt x="173893" y="563537"/>
                  <a:pt x="173893" y="563537"/>
                </a:cubicBezTo>
                <a:cubicBezTo>
                  <a:pt x="173893" y="563537"/>
                  <a:pt x="143580" y="593177"/>
                  <a:pt x="89689" y="650436"/>
                </a:cubicBezTo>
                <a:cubicBezTo>
                  <a:pt x="76217" y="664582"/>
                  <a:pt x="66112" y="682096"/>
                  <a:pt x="58702" y="700285"/>
                </a:cubicBezTo>
                <a:cubicBezTo>
                  <a:pt x="58702" y="700285"/>
                  <a:pt x="58702" y="699611"/>
                  <a:pt x="58702" y="699611"/>
                </a:cubicBezTo>
                <a:cubicBezTo>
                  <a:pt x="33777" y="616754"/>
                  <a:pt x="11548" y="471923"/>
                  <a:pt x="2117" y="369531"/>
                </a:cubicBezTo>
                <a:cubicBezTo>
                  <a:pt x="-4956" y="292736"/>
                  <a:pt x="8053" y="220868"/>
                  <a:pt x="7043" y="151084"/>
                </a:cubicBezTo>
                <a:lnTo>
                  <a:pt x="690" y="87804"/>
                </a:lnTo>
                <a:close/>
              </a:path>
            </a:pathLst>
          </a:custGeom>
          <a:solidFill>
            <a:schemeClr val="accent3"/>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41" name="Freeform: Shape 40">
            <a:extLst>
              <a:ext uri="{FF2B5EF4-FFF2-40B4-BE49-F238E27FC236}">
                <a16:creationId xmlns:a16="http://schemas.microsoft.com/office/drawing/2014/main" id="{2A39F323-183C-35A3-F393-C888E45E5792}"/>
              </a:ext>
            </a:extLst>
          </p:cNvPr>
          <p:cNvSpPr/>
          <p:nvPr/>
        </p:nvSpPr>
        <p:spPr>
          <a:xfrm rot="19394395">
            <a:off x="694905" y="-54825"/>
            <a:ext cx="354168" cy="638032"/>
          </a:xfrm>
          <a:custGeom>
            <a:avLst/>
            <a:gdLst>
              <a:gd name="connsiteX0" fmla="*/ 191474 w 354168"/>
              <a:gd name="connsiteY0" fmla="*/ 0 h 638032"/>
              <a:gd name="connsiteX1" fmla="*/ 354168 w 354168"/>
              <a:gd name="connsiteY1" fmla="*/ 121534 h 638032"/>
              <a:gd name="connsiteX2" fmla="*/ 353651 w 354168"/>
              <a:gd name="connsiteY2" fmla="*/ 124462 h 638032"/>
              <a:gd name="connsiteX3" fmla="*/ 335326 w 354168"/>
              <a:gd name="connsiteY3" fmla="*/ 187320 h 638032"/>
              <a:gd name="connsiteX4" fmla="*/ 234955 w 354168"/>
              <a:gd name="connsiteY4" fmla="*/ 397494 h 638032"/>
              <a:gd name="connsiteX5" fmla="*/ 216766 w 354168"/>
              <a:gd name="connsiteY5" fmla="*/ 560513 h 638032"/>
              <a:gd name="connsiteX6" fmla="*/ 162876 w 354168"/>
              <a:gd name="connsiteY6" fmla="*/ 637980 h 638032"/>
              <a:gd name="connsiteX7" fmla="*/ 9961 w 354168"/>
              <a:gd name="connsiteY7" fmla="*/ 583416 h 638032"/>
              <a:gd name="connsiteX8" fmla="*/ 20065 w 354168"/>
              <a:gd name="connsiteY8" fmla="*/ 503254 h 638032"/>
              <a:gd name="connsiteX9" fmla="*/ 72609 w 354168"/>
              <a:gd name="connsiteY9" fmla="*/ 373242 h 638032"/>
              <a:gd name="connsiteX10" fmla="*/ 144688 w 354168"/>
              <a:gd name="connsiteY10" fmla="*/ 219655 h 638032"/>
              <a:gd name="connsiteX11" fmla="*/ 144688 w 354168"/>
              <a:gd name="connsiteY11" fmla="*/ 212244 h 638032"/>
              <a:gd name="connsiteX12" fmla="*/ 194537 w 354168"/>
              <a:gd name="connsiteY12" fmla="*/ 303185 h 638032"/>
              <a:gd name="connsiteX13" fmla="*/ 225524 w 354168"/>
              <a:gd name="connsiteY13" fmla="*/ 370548 h 638032"/>
              <a:gd name="connsiteX14" fmla="*/ 226871 w 354168"/>
              <a:gd name="connsiteY14" fmla="*/ 371896 h 638032"/>
              <a:gd name="connsiteX15" fmla="*/ 221482 w 354168"/>
              <a:gd name="connsiteY15" fmla="*/ 300491 h 638032"/>
              <a:gd name="connsiteX16" fmla="*/ 176348 w 354168"/>
              <a:gd name="connsiteY16" fmla="*/ 164416 h 638032"/>
              <a:gd name="connsiteX17" fmla="*/ 180390 w 354168"/>
              <a:gd name="connsiteY17" fmla="*/ 33732 h 63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4168" h="638032">
                <a:moveTo>
                  <a:pt x="191474" y="0"/>
                </a:moveTo>
                <a:lnTo>
                  <a:pt x="354168" y="121534"/>
                </a:lnTo>
                <a:lnTo>
                  <a:pt x="353651" y="124462"/>
                </a:lnTo>
                <a:cubicBezTo>
                  <a:pt x="349472" y="142145"/>
                  <a:pt x="343578" y="162733"/>
                  <a:pt x="335326" y="187320"/>
                </a:cubicBezTo>
                <a:cubicBezTo>
                  <a:pt x="317811" y="238516"/>
                  <a:pt x="286824" y="337540"/>
                  <a:pt x="234955" y="397494"/>
                </a:cubicBezTo>
                <a:cubicBezTo>
                  <a:pt x="234281" y="415008"/>
                  <a:pt x="232934" y="500559"/>
                  <a:pt x="216766" y="560513"/>
                </a:cubicBezTo>
                <a:cubicBezTo>
                  <a:pt x="199252" y="625182"/>
                  <a:pt x="188474" y="637307"/>
                  <a:pt x="162876" y="637980"/>
                </a:cubicBezTo>
                <a:cubicBezTo>
                  <a:pt x="129868" y="639328"/>
                  <a:pt x="30844" y="614404"/>
                  <a:pt x="9961" y="583416"/>
                </a:cubicBezTo>
                <a:cubicBezTo>
                  <a:pt x="-10922" y="552429"/>
                  <a:pt x="5246" y="536262"/>
                  <a:pt x="20065" y="503254"/>
                </a:cubicBezTo>
                <a:cubicBezTo>
                  <a:pt x="34885" y="470919"/>
                  <a:pt x="65872" y="392778"/>
                  <a:pt x="72609" y="373242"/>
                </a:cubicBezTo>
                <a:cubicBezTo>
                  <a:pt x="98881" y="301838"/>
                  <a:pt x="144688" y="219655"/>
                  <a:pt x="144688" y="219655"/>
                </a:cubicBezTo>
                <a:cubicBezTo>
                  <a:pt x="144688" y="216960"/>
                  <a:pt x="144688" y="214939"/>
                  <a:pt x="144688" y="212244"/>
                </a:cubicBezTo>
                <a:cubicBezTo>
                  <a:pt x="161528" y="249968"/>
                  <a:pt x="179717" y="279608"/>
                  <a:pt x="194537" y="303185"/>
                </a:cubicBezTo>
                <a:cubicBezTo>
                  <a:pt x="219461" y="342256"/>
                  <a:pt x="218788" y="359770"/>
                  <a:pt x="225524" y="370548"/>
                </a:cubicBezTo>
                <a:cubicBezTo>
                  <a:pt x="226197" y="371222"/>
                  <a:pt x="226197" y="371896"/>
                  <a:pt x="226871" y="371896"/>
                </a:cubicBezTo>
                <a:cubicBezTo>
                  <a:pt x="231586" y="374590"/>
                  <a:pt x="228218" y="336193"/>
                  <a:pt x="221482" y="300491"/>
                </a:cubicBezTo>
                <a:cubicBezTo>
                  <a:pt x="213399" y="261420"/>
                  <a:pt x="187126" y="229086"/>
                  <a:pt x="176348" y="164416"/>
                </a:cubicBezTo>
                <a:cubicBezTo>
                  <a:pt x="168939" y="119283"/>
                  <a:pt x="172307" y="73476"/>
                  <a:pt x="180390" y="33732"/>
                </a:cubicBezTo>
                <a:close/>
              </a:path>
            </a:pathLst>
          </a:custGeom>
          <a:solidFill>
            <a:schemeClr val="accent3"/>
          </a:solid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3" name="Freeform: Shape 53">
            <a:extLst>
              <a:ext uri="{FF2B5EF4-FFF2-40B4-BE49-F238E27FC236}">
                <a16:creationId xmlns:a16="http://schemas.microsoft.com/office/drawing/2014/main" id="{732AB126-F2DC-8215-D23D-22E3FBCADA5D}"/>
              </a:ext>
            </a:extLst>
          </p:cNvPr>
          <p:cNvSpPr/>
          <p:nvPr/>
        </p:nvSpPr>
        <p:spPr>
          <a:xfrm rot="1021882">
            <a:off x="5351465" y="915109"/>
            <a:ext cx="1069881" cy="305201"/>
          </a:xfrm>
          <a:custGeom>
            <a:avLst/>
            <a:gdLst>
              <a:gd name="connsiteX0" fmla="*/ 1068764 w 1069881"/>
              <a:gd name="connsiteY0" fmla="*/ 99498 h 305201"/>
              <a:gd name="connsiteX1" fmla="*/ 1022928 w 1069881"/>
              <a:gd name="connsiteY1" fmla="*/ 83847 h 305201"/>
              <a:gd name="connsiteX2" fmla="*/ 977092 w 1069881"/>
              <a:gd name="connsiteY2" fmla="*/ 0 h 305201"/>
              <a:gd name="connsiteX3" fmla="*/ 91672 w 1069881"/>
              <a:gd name="connsiteY3" fmla="*/ 1118 h 305201"/>
              <a:gd name="connsiteX4" fmla="*/ 45836 w 1069881"/>
              <a:gd name="connsiteY4" fmla="*/ 83847 h 305201"/>
              <a:gd name="connsiteX5" fmla="*/ 0 w 1069881"/>
              <a:gd name="connsiteY5" fmla="*/ 99498 h 305201"/>
              <a:gd name="connsiteX6" fmla="*/ 0 w 1069881"/>
              <a:gd name="connsiteY6" fmla="*/ 305201 h 305201"/>
              <a:gd name="connsiteX7" fmla="*/ 1069882 w 1069881"/>
              <a:gd name="connsiteY7" fmla="*/ 304084 h 30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9881" h="305201">
                <a:moveTo>
                  <a:pt x="1068764" y="99498"/>
                </a:moveTo>
                <a:lnTo>
                  <a:pt x="1022928" y="83847"/>
                </a:lnTo>
                <a:lnTo>
                  <a:pt x="977092" y="0"/>
                </a:lnTo>
                <a:lnTo>
                  <a:pt x="91672" y="1118"/>
                </a:lnTo>
                <a:lnTo>
                  <a:pt x="45836" y="83847"/>
                </a:lnTo>
                <a:lnTo>
                  <a:pt x="0" y="99498"/>
                </a:lnTo>
                <a:lnTo>
                  <a:pt x="0" y="305201"/>
                </a:lnTo>
                <a:lnTo>
                  <a:pt x="1069882" y="304084"/>
                </a:lnTo>
                <a:close/>
              </a:path>
            </a:pathLst>
          </a:custGeom>
          <a:solidFill>
            <a:schemeClr val="accent3"/>
          </a:solidFill>
          <a:ln w="11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9A24EB9F-81A0-204B-C28A-DD01CE0B66E1}"/>
              </a:ext>
            </a:extLst>
          </p:cNvPr>
          <p:cNvSpPr/>
          <p:nvPr/>
        </p:nvSpPr>
        <p:spPr>
          <a:xfrm>
            <a:off x="10856922" y="1490960"/>
            <a:ext cx="1337419" cy="1644912"/>
          </a:xfrm>
          <a:custGeom>
            <a:avLst/>
            <a:gdLst>
              <a:gd name="connsiteX0" fmla="*/ 1119622 w 1337419"/>
              <a:gd name="connsiteY0" fmla="*/ 228 h 1644912"/>
              <a:gd name="connsiteX1" fmla="*/ 1134589 w 1337419"/>
              <a:gd name="connsiteY1" fmla="*/ 13233 h 1644912"/>
              <a:gd name="connsiteX2" fmla="*/ 1142440 w 1337419"/>
              <a:gd name="connsiteY2" fmla="*/ 26973 h 1644912"/>
              <a:gd name="connsiteX3" fmla="*/ 1169921 w 1337419"/>
              <a:gd name="connsiteY3" fmla="*/ 33843 h 1644912"/>
              <a:gd name="connsiteX4" fmla="*/ 1203290 w 1337419"/>
              <a:gd name="connsiteY4" fmla="*/ 14214 h 1644912"/>
              <a:gd name="connsiteX5" fmla="*/ 1233715 w 1337419"/>
              <a:gd name="connsiteY5" fmla="*/ 24029 h 1644912"/>
              <a:gd name="connsiteX6" fmla="*/ 1239604 w 1337419"/>
              <a:gd name="connsiteY6" fmla="*/ 38750 h 1644912"/>
              <a:gd name="connsiteX7" fmla="*/ 1268066 w 1337419"/>
              <a:gd name="connsiteY7" fmla="*/ 49546 h 1644912"/>
              <a:gd name="connsiteX8" fmla="*/ 1296528 w 1337419"/>
              <a:gd name="connsiteY8" fmla="*/ 35806 h 1644912"/>
              <a:gd name="connsiteX9" fmla="*/ 1327934 w 1337419"/>
              <a:gd name="connsiteY9" fmla="*/ 49546 h 1644912"/>
              <a:gd name="connsiteX10" fmla="*/ 1335832 w 1337419"/>
              <a:gd name="connsiteY10" fmla="*/ 69206 h 1644912"/>
              <a:gd name="connsiteX11" fmla="*/ 1337419 w 1337419"/>
              <a:gd name="connsiteY11" fmla="*/ 71084 h 1644912"/>
              <a:gd name="connsiteX12" fmla="*/ 1337419 w 1337419"/>
              <a:gd name="connsiteY12" fmla="*/ 1493067 h 1644912"/>
              <a:gd name="connsiteX13" fmla="*/ 1210160 w 1337419"/>
              <a:gd name="connsiteY13" fmla="*/ 1559995 h 1644912"/>
              <a:gd name="connsiteX14" fmla="*/ 795990 w 1337419"/>
              <a:gd name="connsiteY14" fmla="*/ 1644399 h 1644912"/>
              <a:gd name="connsiteX15" fmla="*/ 430891 w 1337419"/>
              <a:gd name="connsiteY15" fmla="*/ 1521718 h 1644912"/>
              <a:gd name="connsiteX16" fmla="*/ 284655 w 1337419"/>
              <a:gd name="connsiteY16" fmla="*/ 1417685 h 1644912"/>
              <a:gd name="connsiteX17" fmla="*/ 187492 w 1337419"/>
              <a:gd name="connsiteY17" fmla="*/ 1345057 h 1644912"/>
              <a:gd name="connsiteX18" fmla="*/ 175715 w 1337419"/>
              <a:gd name="connsiteY18" fmla="*/ 1334262 h 1644912"/>
              <a:gd name="connsiteX19" fmla="*/ 127624 w 1337419"/>
              <a:gd name="connsiteY19" fmla="*/ 1282245 h 1644912"/>
              <a:gd name="connsiteX20" fmla="*/ 113883 w 1337419"/>
              <a:gd name="connsiteY20" fmla="*/ 1259671 h 1644912"/>
              <a:gd name="connsiteX21" fmla="*/ 96217 w 1337419"/>
              <a:gd name="connsiteY21" fmla="*/ 1224339 h 1644912"/>
              <a:gd name="connsiteX22" fmla="*/ 80514 w 1337419"/>
              <a:gd name="connsiteY22" fmla="*/ 1212562 h 1644912"/>
              <a:gd name="connsiteX23" fmla="*/ 70700 w 1337419"/>
              <a:gd name="connsiteY23" fmla="*/ 1178211 h 1644912"/>
              <a:gd name="connsiteX24" fmla="*/ 63830 w 1337419"/>
              <a:gd name="connsiteY24" fmla="*/ 1149749 h 1644912"/>
              <a:gd name="connsiteX25" fmla="*/ 58922 w 1337419"/>
              <a:gd name="connsiteY25" fmla="*/ 1145824 h 1644912"/>
              <a:gd name="connsiteX26" fmla="*/ 31442 w 1337419"/>
              <a:gd name="connsiteY26" fmla="*/ 1120306 h 1644912"/>
              <a:gd name="connsiteX27" fmla="*/ 45182 w 1337419"/>
              <a:gd name="connsiteY27" fmla="*/ 1089881 h 1644912"/>
              <a:gd name="connsiteX28" fmla="*/ 43219 w 1337419"/>
              <a:gd name="connsiteY28" fmla="*/ 1070252 h 1644912"/>
              <a:gd name="connsiteX29" fmla="*/ 38312 w 1337419"/>
              <a:gd name="connsiteY29" fmla="*/ 1066326 h 1644912"/>
              <a:gd name="connsiteX30" fmla="*/ 30460 w 1337419"/>
              <a:gd name="connsiteY30" fmla="*/ 1003514 h 1644912"/>
              <a:gd name="connsiteX31" fmla="*/ 28498 w 1337419"/>
              <a:gd name="connsiteY31" fmla="*/ 978977 h 1644912"/>
              <a:gd name="connsiteX32" fmla="*/ 36 w 1337419"/>
              <a:gd name="connsiteY32" fmla="*/ 946590 h 1644912"/>
              <a:gd name="connsiteX33" fmla="*/ 25553 w 1337419"/>
              <a:gd name="connsiteY33" fmla="*/ 915183 h 1644912"/>
              <a:gd name="connsiteX34" fmla="*/ 25553 w 1337419"/>
              <a:gd name="connsiteY34" fmla="*/ 883777 h 1644912"/>
              <a:gd name="connsiteX35" fmla="*/ 15739 w 1337419"/>
              <a:gd name="connsiteY35" fmla="*/ 874944 h 1644912"/>
              <a:gd name="connsiteX36" fmla="*/ 17702 w 1337419"/>
              <a:gd name="connsiteY36" fmla="*/ 837649 h 1644912"/>
              <a:gd name="connsiteX37" fmla="*/ 37331 w 1337419"/>
              <a:gd name="connsiteY37" fmla="*/ 821946 h 1644912"/>
              <a:gd name="connsiteX38" fmla="*/ 39293 w 1337419"/>
              <a:gd name="connsiteY38" fmla="*/ 790539 h 1644912"/>
              <a:gd name="connsiteX39" fmla="*/ 28498 w 1337419"/>
              <a:gd name="connsiteY39" fmla="*/ 778762 h 1644912"/>
              <a:gd name="connsiteX40" fmla="*/ 32423 w 1337419"/>
              <a:gd name="connsiteY40" fmla="*/ 749319 h 1644912"/>
              <a:gd name="connsiteX41" fmla="*/ 61867 w 1337419"/>
              <a:gd name="connsiteY41" fmla="*/ 729690 h 1644912"/>
              <a:gd name="connsiteX42" fmla="*/ 66774 w 1337419"/>
              <a:gd name="connsiteY42" fmla="*/ 698283 h 1644912"/>
              <a:gd name="connsiteX43" fmla="*/ 60885 w 1337419"/>
              <a:gd name="connsiteY43" fmla="*/ 690432 h 1644912"/>
              <a:gd name="connsiteX44" fmla="*/ 70700 w 1337419"/>
              <a:gd name="connsiteY44" fmla="*/ 653137 h 1644912"/>
              <a:gd name="connsiteX45" fmla="*/ 96217 w 1337419"/>
              <a:gd name="connsiteY45" fmla="*/ 639396 h 1644912"/>
              <a:gd name="connsiteX46" fmla="*/ 106032 w 1337419"/>
              <a:gd name="connsiteY46" fmla="*/ 606027 h 1644912"/>
              <a:gd name="connsiteX47" fmla="*/ 123698 w 1337419"/>
              <a:gd name="connsiteY47" fmla="*/ 558918 h 1644912"/>
              <a:gd name="connsiteX48" fmla="*/ 138420 w 1337419"/>
              <a:gd name="connsiteY48" fmla="*/ 553029 h 1644912"/>
              <a:gd name="connsiteX49" fmla="*/ 157067 w 1337419"/>
              <a:gd name="connsiteY49" fmla="*/ 515734 h 1644912"/>
              <a:gd name="connsiteX50" fmla="*/ 182585 w 1337419"/>
              <a:gd name="connsiteY50" fmla="*/ 470587 h 1644912"/>
              <a:gd name="connsiteX51" fmla="*/ 198288 w 1337419"/>
              <a:gd name="connsiteY51" fmla="*/ 465680 h 1644912"/>
              <a:gd name="connsiteX52" fmla="*/ 220861 w 1337419"/>
              <a:gd name="connsiteY52" fmla="*/ 430348 h 1644912"/>
              <a:gd name="connsiteX53" fmla="*/ 253249 w 1337419"/>
              <a:gd name="connsiteY53" fmla="*/ 387164 h 1644912"/>
              <a:gd name="connsiteX54" fmla="*/ 268952 w 1337419"/>
              <a:gd name="connsiteY54" fmla="*/ 384220 h 1644912"/>
              <a:gd name="connsiteX55" fmla="*/ 293488 w 1337419"/>
              <a:gd name="connsiteY55" fmla="*/ 352814 h 1644912"/>
              <a:gd name="connsiteX56" fmla="*/ 335691 w 1337419"/>
              <a:gd name="connsiteY56" fmla="*/ 310611 h 1644912"/>
              <a:gd name="connsiteX57" fmla="*/ 375930 w 1337419"/>
              <a:gd name="connsiteY57" fmla="*/ 272335 h 1644912"/>
              <a:gd name="connsiteX58" fmla="*/ 416169 w 1337419"/>
              <a:gd name="connsiteY58" fmla="*/ 239947 h 1644912"/>
              <a:gd name="connsiteX59" fmla="*/ 467205 w 1337419"/>
              <a:gd name="connsiteY59" fmla="*/ 202652 h 1644912"/>
              <a:gd name="connsiteX60" fmla="*/ 506462 w 1337419"/>
              <a:gd name="connsiteY60" fmla="*/ 176153 h 1644912"/>
              <a:gd name="connsiteX61" fmla="*/ 522166 w 1337419"/>
              <a:gd name="connsiteY61" fmla="*/ 179097 h 1644912"/>
              <a:gd name="connsiteX62" fmla="*/ 559461 w 1337419"/>
              <a:gd name="connsiteY62" fmla="*/ 157505 h 1644912"/>
              <a:gd name="connsiteX63" fmla="*/ 566331 w 1337419"/>
              <a:gd name="connsiteY63" fmla="*/ 139839 h 1644912"/>
              <a:gd name="connsiteX64" fmla="*/ 601663 w 1337419"/>
              <a:gd name="connsiteY64" fmla="*/ 122173 h 1644912"/>
              <a:gd name="connsiteX65" fmla="*/ 604607 w 1337419"/>
              <a:gd name="connsiteY65" fmla="*/ 123155 h 1644912"/>
              <a:gd name="connsiteX66" fmla="*/ 667420 w 1337419"/>
              <a:gd name="connsiteY66" fmla="*/ 95674 h 1644912"/>
              <a:gd name="connsiteX67" fmla="*/ 714529 w 1337419"/>
              <a:gd name="connsiteY67" fmla="*/ 80953 h 1644912"/>
              <a:gd name="connsiteX68" fmla="*/ 767528 w 1337419"/>
              <a:gd name="connsiteY68" fmla="*/ 66231 h 1644912"/>
              <a:gd name="connsiteX69" fmla="*/ 774398 w 1337419"/>
              <a:gd name="connsiteY69" fmla="*/ 55435 h 1644912"/>
              <a:gd name="connsiteX70" fmla="*/ 817581 w 1337419"/>
              <a:gd name="connsiteY70" fmla="*/ 46602 h 1644912"/>
              <a:gd name="connsiteX71" fmla="*/ 874505 w 1337419"/>
              <a:gd name="connsiteY71" fmla="*/ 37769 h 1644912"/>
              <a:gd name="connsiteX72" fmla="*/ 933392 w 1337419"/>
              <a:gd name="connsiteY72" fmla="*/ 31880 h 1644912"/>
              <a:gd name="connsiteX73" fmla="*/ 970687 w 1337419"/>
              <a:gd name="connsiteY73" fmla="*/ 31880 h 1644912"/>
              <a:gd name="connsiteX74" fmla="*/ 992279 w 1337419"/>
              <a:gd name="connsiteY74" fmla="*/ 12251 h 1644912"/>
              <a:gd name="connsiteX75" fmla="*/ 1032518 w 1337419"/>
              <a:gd name="connsiteY75" fmla="*/ 14214 h 1644912"/>
              <a:gd name="connsiteX76" fmla="*/ 1084535 w 1337419"/>
              <a:gd name="connsiteY76" fmla="*/ 18140 h 1644912"/>
              <a:gd name="connsiteX77" fmla="*/ 1100238 w 1337419"/>
              <a:gd name="connsiteY77" fmla="*/ 6362 h 1644912"/>
              <a:gd name="connsiteX78" fmla="*/ 1119622 w 1337419"/>
              <a:gd name="connsiteY78" fmla="*/ 228 h 164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37419" h="1644912">
                <a:moveTo>
                  <a:pt x="1119622" y="228"/>
                </a:moveTo>
                <a:cubicBezTo>
                  <a:pt x="1124775" y="1210"/>
                  <a:pt x="1129191" y="5381"/>
                  <a:pt x="1134589" y="13233"/>
                </a:cubicBezTo>
                <a:cubicBezTo>
                  <a:pt x="1137533" y="17158"/>
                  <a:pt x="1139496" y="22066"/>
                  <a:pt x="1142440" y="26973"/>
                </a:cubicBezTo>
                <a:cubicBezTo>
                  <a:pt x="1149311" y="37769"/>
                  <a:pt x="1159125" y="39732"/>
                  <a:pt x="1169921" y="33843"/>
                </a:cubicBezTo>
                <a:cubicBezTo>
                  <a:pt x="1180717" y="27954"/>
                  <a:pt x="1191513" y="20103"/>
                  <a:pt x="1203290" y="14214"/>
                </a:cubicBezTo>
                <a:cubicBezTo>
                  <a:pt x="1219975" y="5381"/>
                  <a:pt x="1225864" y="7344"/>
                  <a:pt x="1233715" y="24029"/>
                </a:cubicBezTo>
                <a:cubicBezTo>
                  <a:pt x="1235678" y="28936"/>
                  <a:pt x="1237641" y="33843"/>
                  <a:pt x="1239604" y="38750"/>
                </a:cubicBezTo>
                <a:cubicBezTo>
                  <a:pt x="1245492" y="52491"/>
                  <a:pt x="1255307" y="55435"/>
                  <a:pt x="1268066" y="49546"/>
                </a:cubicBezTo>
                <a:cubicBezTo>
                  <a:pt x="1277880" y="44639"/>
                  <a:pt x="1286713" y="39732"/>
                  <a:pt x="1296528" y="35806"/>
                </a:cubicBezTo>
                <a:cubicBezTo>
                  <a:pt x="1315175" y="27954"/>
                  <a:pt x="1321064" y="30899"/>
                  <a:pt x="1327934" y="49546"/>
                </a:cubicBezTo>
                <a:cubicBezTo>
                  <a:pt x="1331124" y="58134"/>
                  <a:pt x="1333516" y="64575"/>
                  <a:pt x="1335832" y="69206"/>
                </a:cubicBezTo>
                <a:lnTo>
                  <a:pt x="1337419" y="71084"/>
                </a:lnTo>
                <a:lnTo>
                  <a:pt x="1337419" y="1493067"/>
                </a:lnTo>
                <a:lnTo>
                  <a:pt x="1210160" y="1559995"/>
                </a:lnTo>
                <a:cubicBezTo>
                  <a:pt x="1078646" y="1618881"/>
                  <a:pt x="940262" y="1649306"/>
                  <a:pt x="795990" y="1644399"/>
                </a:cubicBezTo>
                <a:cubicBezTo>
                  <a:pt x="662513" y="1639492"/>
                  <a:pt x="538850" y="1604160"/>
                  <a:pt x="430891" y="1521718"/>
                </a:cubicBezTo>
                <a:cubicBezTo>
                  <a:pt x="382800" y="1485405"/>
                  <a:pt x="333728" y="1452035"/>
                  <a:pt x="284655" y="1417685"/>
                </a:cubicBezTo>
                <a:cubicBezTo>
                  <a:pt x="252268" y="1394130"/>
                  <a:pt x="219880" y="1369594"/>
                  <a:pt x="187492" y="1345057"/>
                </a:cubicBezTo>
                <a:cubicBezTo>
                  <a:pt x="183566" y="1342113"/>
                  <a:pt x="176696" y="1338187"/>
                  <a:pt x="175715" y="1334262"/>
                </a:cubicBezTo>
                <a:cubicBezTo>
                  <a:pt x="171789" y="1305800"/>
                  <a:pt x="146271" y="1296967"/>
                  <a:pt x="127624" y="1282245"/>
                </a:cubicBezTo>
                <a:cubicBezTo>
                  <a:pt x="119772" y="1276356"/>
                  <a:pt x="108976" y="1270467"/>
                  <a:pt x="113883" y="1259671"/>
                </a:cubicBezTo>
                <a:cubicBezTo>
                  <a:pt x="121735" y="1240043"/>
                  <a:pt x="108976" y="1233172"/>
                  <a:pt x="96217" y="1224339"/>
                </a:cubicBezTo>
                <a:cubicBezTo>
                  <a:pt x="91310" y="1220414"/>
                  <a:pt x="86403" y="1216488"/>
                  <a:pt x="80514" y="1212562"/>
                </a:cubicBezTo>
                <a:cubicBezTo>
                  <a:pt x="66774" y="1203729"/>
                  <a:pt x="59904" y="1192933"/>
                  <a:pt x="70700" y="1178211"/>
                </a:cubicBezTo>
                <a:cubicBezTo>
                  <a:pt x="79533" y="1165453"/>
                  <a:pt x="75607" y="1156619"/>
                  <a:pt x="63830" y="1149749"/>
                </a:cubicBezTo>
                <a:cubicBezTo>
                  <a:pt x="61867" y="1148768"/>
                  <a:pt x="59904" y="1146805"/>
                  <a:pt x="58922" y="1145824"/>
                </a:cubicBezTo>
                <a:cubicBezTo>
                  <a:pt x="49108" y="1136991"/>
                  <a:pt x="35368" y="1132083"/>
                  <a:pt x="31442" y="1120306"/>
                </a:cubicBezTo>
                <a:cubicBezTo>
                  <a:pt x="27516" y="1107547"/>
                  <a:pt x="39293" y="1099695"/>
                  <a:pt x="45182" y="1089881"/>
                </a:cubicBezTo>
                <a:cubicBezTo>
                  <a:pt x="50089" y="1082029"/>
                  <a:pt x="50089" y="1076141"/>
                  <a:pt x="43219" y="1070252"/>
                </a:cubicBezTo>
                <a:cubicBezTo>
                  <a:pt x="41256" y="1069271"/>
                  <a:pt x="40275" y="1067308"/>
                  <a:pt x="38312" y="1066326"/>
                </a:cubicBezTo>
                <a:cubicBezTo>
                  <a:pt x="6906" y="1036883"/>
                  <a:pt x="5924" y="1036883"/>
                  <a:pt x="30460" y="1003514"/>
                </a:cubicBezTo>
                <a:cubicBezTo>
                  <a:pt x="37331" y="993699"/>
                  <a:pt x="36349" y="986829"/>
                  <a:pt x="28498" y="978977"/>
                </a:cubicBezTo>
                <a:cubicBezTo>
                  <a:pt x="18683" y="969163"/>
                  <a:pt x="-946" y="963274"/>
                  <a:pt x="36" y="946590"/>
                </a:cubicBezTo>
                <a:cubicBezTo>
                  <a:pt x="1017" y="931868"/>
                  <a:pt x="16720" y="924998"/>
                  <a:pt x="25553" y="915183"/>
                </a:cubicBezTo>
                <a:cubicBezTo>
                  <a:pt x="39293" y="900462"/>
                  <a:pt x="39293" y="898499"/>
                  <a:pt x="25553" y="883777"/>
                </a:cubicBezTo>
                <a:cubicBezTo>
                  <a:pt x="22609" y="880833"/>
                  <a:pt x="18683" y="877888"/>
                  <a:pt x="15739" y="874944"/>
                </a:cubicBezTo>
                <a:cubicBezTo>
                  <a:pt x="-1927" y="858259"/>
                  <a:pt x="-1927" y="853352"/>
                  <a:pt x="17702" y="837649"/>
                </a:cubicBezTo>
                <a:cubicBezTo>
                  <a:pt x="24572" y="831760"/>
                  <a:pt x="31442" y="827834"/>
                  <a:pt x="37331" y="821946"/>
                </a:cubicBezTo>
                <a:cubicBezTo>
                  <a:pt x="52052" y="808205"/>
                  <a:pt x="52052" y="805261"/>
                  <a:pt x="39293" y="790539"/>
                </a:cubicBezTo>
                <a:cubicBezTo>
                  <a:pt x="35368" y="786614"/>
                  <a:pt x="31442" y="782688"/>
                  <a:pt x="28498" y="778762"/>
                </a:cubicBezTo>
                <a:cubicBezTo>
                  <a:pt x="17702" y="767966"/>
                  <a:pt x="20646" y="758152"/>
                  <a:pt x="32423" y="749319"/>
                </a:cubicBezTo>
                <a:cubicBezTo>
                  <a:pt x="42238" y="742448"/>
                  <a:pt x="52052" y="736560"/>
                  <a:pt x="61867" y="729690"/>
                </a:cubicBezTo>
                <a:cubicBezTo>
                  <a:pt x="76588" y="717912"/>
                  <a:pt x="77570" y="713986"/>
                  <a:pt x="66774" y="698283"/>
                </a:cubicBezTo>
                <a:cubicBezTo>
                  <a:pt x="64811" y="695339"/>
                  <a:pt x="62848" y="693376"/>
                  <a:pt x="60885" y="690432"/>
                </a:cubicBezTo>
                <a:cubicBezTo>
                  <a:pt x="48126" y="670803"/>
                  <a:pt x="49108" y="664914"/>
                  <a:pt x="70700" y="653137"/>
                </a:cubicBezTo>
                <a:cubicBezTo>
                  <a:pt x="78551" y="648229"/>
                  <a:pt x="88366" y="644304"/>
                  <a:pt x="96217" y="639396"/>
                </a:cubicBezTo>
                <a:cubicBezTo>
                  <a:pt x="113883" y="628601"/>
                  <a:pt x="114865" y="624675"/>
                  <a:pt x="106032" y="606027"/>
                </a:cubicBezTo>
                <a:cubicBezTo>
                  <a:pt x="92292" y="574621"/>
                  <a:pt x="93273" y="571676"/>
                  <a:pt x="123698" y="558918"/>
                </a:cubicBezTo>
                <a:cubicBezTo>
                  <a:pt x="128605" y="556955"/>
                  <a:pt x="133512" y="554992"/>
                  <a:pt x="138420" y="553029"/>
                </a:cubicBezTo>
                <a:cubicBezTo>
                  <a:pt x="160012" y="543214"/>
                  <a:pt x="161974" y="538307"/>
                  <a:pt x="157067" y="515734"/>
                </a:cubicBezTo>
                <a:cubicBezTo>
                  <a:pt x="149216" y="483346"/>
                  <a:pt x="150197" y="480402"/>
                  <a:pt x="182585" y="470587"/>
                </a:cubicBezTo>
                <a:cubicBezTo>
                  <a:pt x="187492" y="468624"/>
                  <a:pt x="193381" y="467643"/>
                  <a:pt x="198288" y="465680"/>
                </a:cubicBezTo>
                <a:cubicBezTo>
                  <a:pt x="220861" y="457828"/>
                  <a:pt x="223806" y="452921"/>
                  <a:pt x="220861" y="430348"/>
                </a:cubicBezTo>
                <a:cubicBezTo>
                  <a:pt x="216935" y="395016"/>
                  <a:pt x="217917" y="393053"/>
                  <a:pt x="253249" y="387164"/>
                </a:cubicBezTo>
                <a:cubicBezTo>
                  <a:pt x="258156" y="386183"/>
                  <a:pt x="264045" y="385201"/>
                  <a:pt x="268952" y="384220"/>
                </a:cubicBezTo>
                <a:cubicBezTo>
                  <a:pt x="286618" y="381276"/>
                  <a:pt x="293488" y="370480"/>
                  <a:pt x="293488" y="352814"/>
                </a:cubicBezTo>
                <a:cubicBezTo>
                  <a:pt x="294470" y="313556"/>
                  <a:pt x="295451" y="313556"/>
                  <a:pt x="335691" y="310611"/>
                </a:cubicBezTo>
                <a:cubicBezTo>
                  <a:pt x="367097" y="308648"/>
                  <a:pt x="370041" y="304723"/>
                  <a:pt x="375930" y="272335"/>
                </a:cubicBezTo>
                <a:cubicBezTo>
                  <a:pt x="381819" y="242891"/>
                  <a:pt x="384763" y="239947"/>
                  <a:pt x="416169" y="239947"/>
                </a:cubicBezTo>
                <a:cubicBezTo>
                  <a:pt x="455427" y="239947"/>
                  <a:pt x="455427" y="239947"/>
                  <a:pt x="467205" y="202652"/>
                </a:cubicBezTo>
                <a:cubicBezTo>
                  <a:pt x="475056" y="178116"/>
                  <a:pt x="480945" y="174190"/>
                  <a:pt x="506462" y="176153"/>
                </a:cubicBezTo>
                <a:cubicBezTo>
                  <a:pt x="511370" y="177134"/>
                  <a:pt x="517258" y="178116"/>
                  <a:pt x="522166" y="179097"/>
                </a:cubicBezTo>
                <a:cubicBezTo>
                  <a:pt x="543758" y="181060"/>
                  <a:pt x="549646" y="178116"/>
                  <a:pt x="559461" y="157505"/>
                </a:cubicBezTo>
                <a:cubicBezTo>
                  <a:pt x="562405" y="151617"/>
                  <a:pt x="564368" y="145728"/>
                  <a:pt x="566331" y="139839"/>
                </a:cubicBezTo>
                <a:cubicBezTo>
                  <a:pt x="575164" y="121192"/>
                  <a:pt x="582034" y="118248"/>
                  <a:pt x="601663" y="122173"/>
                </a:cubicBezTo>
                <a:cubicBezTo>
                  <a:pt x="602644" y="122173"/>
                  <a:pt x="603626" y="123155"/>
                  <a:pt x="604607" y="123155"/>
                </a:cubicBezTo>
                <a:cubicBezTo>
                  <a:pt x="644847" y="131988"/>
                  <a:pt x="644847" y="131988"/>
                  <a:pt x="667420" y="95674"/>
                </a:cubicBezTo>
                <a:cubicBezTo>
                  <a:pt x="682142" y="71138"/>
                  <a:pt x="687049" y="70157"/>
                  <a:pt x="714529" y="80953"/>
                </a:cubicBezTo>
                <a:cubicBezTo>
                  <a:pt x="745936" y="93711"/>
                  <a:pt x="747899" y="92730"/>
                  <a:pt x="767528" y="66231"/>
                </a:cubicBezTo>
                <a:cubicBezTo>
                  <a:pt x="770472" y="62305"/>
                  <a:pt x="772435" y="59361"/>
                  <a:pt x="774398" y="55435"/>
                </a:cubicBezTo>
                <a:cubicBezTo>
                  <a:pt x="790101" y="35806"/>
                  <a:pt x="797952" y="32862"/>
                  <a:pt x="817581" y="46602"/>
                </a:cubicBezTo>
                <a:cubicBezTo>
                  <a:pt x="845062" y="66231"/>
                  <a:pt x="853895" y="61324"/>
                  <a:pt x="874505" y="37769"/>
                </a:cubicBezTo>
                <a:cubicBezTo>
                  <a:pt x="901986" y="7344"/>
                  <a:pt x="901986" y="7344"/>
                  <a:pt x="933392" y="31880"/>
                </a:cubicBezTo>
                <a:cubicBezTo>
                  <a:pt x="947132" y="42676"/>
                  <a:pt x="957928" y="42676"/>
                  <a:pt x="970687" y="31880"/>
                </a:cubicBezTo>
                <a:cubicBezTo>
                  <a:pt x="977557" y="25010"/>
                  <a:pt x="984428" y="18140"/>
                  <a:pt x="992279" y="12251"/>
                </a:cubicBezTo>
                <a:cubicBezTo>
                  <a:pt x="1009945" y="-2471"/>
                  <a:pt x="1016815" y="-1489"/>
                  <a:pt x="1032518" y="14214"/>
                </a:cubicBezTo>
                <a:cubicBezTo>
                  <a:pt x="1056073" y="38750"/>
                  <a:pt x="1057055" y="38750"/>
                  <a:pt x="1084535" y="18140"/>
                </a:cubicBezTo>
                <a:cubicBezTo>
                  <a:pt x="1089442" y="14214"/>
                  <a:pt x="1094350" y="10288"/>
                  <a:pt x="1100238" y="6362"/>
                </a:cubicBezTo>
                <a:cubicBezTo>
                  <a:pt x="1108581" y="1455"/>
                  <a:pt x="1114469" y="-753"/>
                  <a:pt x="1119622" y="228"/>
                </a:cubicBezTo>
                <a:close/>
              </a:path>
            </a:pathLst>
          </a:custGeom>
          <a:solidFill>
            <a:schemeClr val="accent3"/>
          </a:solidFill>
          <a:ln w="12692" cap="flat">
            <a:noFill/>
            <a:prstDash val="solid"/>
            <a:miter/>
          </a:ln>
        </p:spPr>
        <p:txBody>
          <a:bodyPr wrap="square" rtlCol="0" anchor="ctr">
            <a:noAutofit/>
          </a:bodyPr>
          <a:lstStyle/>
          <a:p>
            <a:pPr marL="0" marR="0" lvl="0" indent="0" algn="l" defTabSz="1219078"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20" name="Graphic 19">
            <a:extLst>
              <a:ext uri="{FF2B5EF4-FFF2-40B4-BE49-F238E27FC236}">
                <a16:creationId xmlns:a16="http://schemas.microsoft.com/office/drawing/2014/main" id="{A5567293-E365-79D3-9C70-485462B5F59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26403"/>
          <a:stretch>
            <a:fillRect/>
          </a:stretch>
        </p:blipFill>
        <p:spPr>
          <a:xfrm>
            <a:off x="1" y="1233743"/>
            <a:ext cx="1336883" cy="1409805"/>
          </a:xfrm>
          <a:custGeom>
            <a:avLst/>
            <a:gdLst>
              <a:gd name="connsiteX0" fmla="*/ 0 w 1336883"/>
              <a:gd name="connsiteY0" fmla="*/ 0 h 1409805"/>
              <a:gd name="connsiteX1" fmla="*/ 1336883 w 1336883"/>
              <a:gd name="connsiteY1" fmla="*/ 0 h 1409805"/>
              <a:gd name="connsiteX2" fmla="*/ 1336883 w 1336883"/>
              <a:gd name="connsiteY2" fmla="*/ 1409805 h 1409805"/>
              <a:gd name="connsiteX3" fmla="*/ 0 w 1336883"/>
              <a:gd name="connsiteY3" fmla="*/ 1409805 h 1409805"/>
            </a:gdLst>
            <a:ahLst/>
            <a:cxnLst>
              <a:cxn ang="0">
                <a:pos x="connsiteX0" y="connsiteY0"/>
              </a:cxn>
              <a:cxn ang="0">
                <a:pos x="connsiteX1" y="connsiteY1"/>
              </a:cxn>
              <a:cxn ang="0">
                <a:pos x="connsiteX2" y="connsiteY2"/>
              </a:cxn>
              <a:cxn ang="0">
                <a:pos x="connsiteX3" y="connsiteY3"/>
              </a:cxn>
            </a:cxnLst>
            <a:rect l="l" t="t" r="r" b="b"/>
            <a:pathLst>
              <a:path w="1336883" h="1409805">
                <a:moveTo>
                  <a:pt x="0" y="0"/>
                </a:moveTo>
                <a:lnTo>
                  <a:pt x="1336883" y="0"/>
                </a:lnTo>
                <a:lnTo>
                  <a:pt x="1336883" y="1409805"/>
                </a:lnTo>
                <a:lnTo>
                  <a:pt x="0" y="1409805"/>
                </a:lnTo>
                <a:close/>
              </a:path>
            </a:pathLst>
          </a:custGeom>
        </p:spPr>
      </p:pic>
      <p:sp>
        <p:nvSpPr>
          <p:cNvPr id="22" name="Freeform: Shape 21">
            <a:extLst>
              <a:ext uri="{FF2B5EF4-FFF2-40B4-BE49-F238E27FC236}">
                <a16:creationId xmlns:a16="http://schemas.microsoft.com/office/drawing/2014/main" id="{0C8B912E-0AEF-37E5-48BC-DF0579317A5D}"/>
              </a:ext>
            </a:extLst>
          </p:cNvPr>
          <p:cNvSpPr/>
          <p:nvPr/>
        </p:nvSpPr>
        <p:spPr>
          <a:xfrm rot="20294297">
            <a:off x="-96218" y="3130286"/>
            <a:ext cx="652726" cy="393578"/>
          </a:xfrm>
          <a:custGeom>
            <a:avLst/>
            <a:gdLst>
              <a:gd name="connsiteX0" fmla="*/ 590595 w 652726"/>
              <a:gd name="connsiteY0" fmla="*/ 0 h 393578"/>
              <a:gd name="connsiteX1" fmla="*/ 652726 w 652726"/>
              <a:gd name="connsiteY1" fmla="*/ 279754 h 393578"/>
              <a:gd name="connsiteX2" fmla="*/ 511255 w 652726"/>
              <a:gd name="connsiteY2" fmla="*/ 256594 h 393578"/>
              <a:gd name="connsiteX3" fmla="*/ 389518 w 652726"/>
              <a:gd name="connsiteY3" fmla="*/ 210439 h 393578"/>
              <a:gd name="connsiteX4" fmla="*/ 395122 w 652726"/>
              <a:gd name="connsiteY4" fmla="*/ 287466 h 393578"/>
              <a:gd name="connsiteX5" fmla="*/ 369408 w 652726"/>
              <a:gd name="connsiteY5" fmla="*/ 319739 h 393578"/>
              <a:gd name="connsiteX6" fmla="*/ 0 w 652726"/>
              <a:gd name="connsiteY6" fmla="*/ 393578 h 393578"/>
              <a:gd name="connsiteX7" fmla="*/ 112296 w 652726"/>
              <a:gd name="connsiteY7" fmla="*/ 112272 h 393578"/>
              <a:gd name="connsiteX8" fmla="*/ 314381 w 652726"/>
              <a:gd name="connsiteY8" fmla="*/ 71878 h 393578"/>
              <a:gd name="connsiteX9" fmla="*/ 351624 w 652726"/>
              <a:gd name="connsiteY9" fmla="*/ 91574 h 393578"/>
              <a:gd name="connsiteX10" fmla="*/ 379263 w 652726"/>
              <a:gd name="connsiteY10" fmla="*/ 164212 h 393578"/>
              <a:gd name="connsiteX11" fmla="*/ 471010 w 652726"/>
              <a:gd name="connsiteY11" fmla="*/ 75367 h 393578"/>
              <a:gd name="connsiteX12" fmla="*/ 590595 w 652726"/>
              <a:gd name="connsiteY12" fmla="*/ 0 h 39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2726" h="393578">
                <a:moveTo>
                  <a:pt x="590595" y="0"/>
                </a:moveTo>
                <a:cubicBezTo>
                  <a:pt x="657103" y="65092"/>
                  <a:pt x="587344" y="222233"/>
                  <a:pt x="652726" y="279754"/>
                </a:cubicBezTo>
                <a:cubicBezTo>
                  <a:pt x="598374" y="290623"/>
                  <a:pt x="546173" y="272730"/>
                  <a:pt x="511255" y="256594"/>
                </a:cubicBezTo>
                <a:cubicBezTo>
                  <a:pt x="460680" y="233219"/>
                  <a:pt x="433441" y="201848"/>
                  <a:pt x="389518" y="210439"/>
                </a:cubicBezTo>
                <a:lnTo>
                  <a:pt x="395122" y="287466"/>
                </a:lnTo>
                <a:cubicBezTo>
                  <a:pt x="396247" y="302796"/>
                  <a:pt x="385267" y="316560"/>
                  <a:pt x="369408" y="319739"/>
                </a:cubicBezTo>
                <a:lnTo>
                  <a:pt x="0" y="393578"/>
                </a:lnTo>
                <a:lnTo>
                  <a:pt x="112296" y="112272"/>
                </a:lnTo>
                <a:lnTo>
                  <a:pt x="314381" y="71878"/>
                </a:lnTo>
                <a:cubicBezTo>
                  <a:pt x="330239" y="68722"/>
                  <a:pt x="346122" y="77123"/>
                  <a:pt x="351624" y="91574"/>
                </a:cubicBezTo>
                <a:lnTo>
                  <a:pt x="379263" y="164212"/>
                </a:lnTo>
                <a:cubicBezTo>
                  <a:pt x="423111" y="155266"/>
                  <a:pt x="434691" y="116135"/>
                  <a:pt x="471010" y="75367"/>
                </a:cubicBezTo>
                <a:cubicBezTo>
                  <a:pt x="496098" y="47222"/>
                  <a:pt x="536242" y="10868"/>
                  <a:pt x="590595" y="0"/>
                </a:cubicBezTo>
                <a:close/>
              </a:path>
            </a:pathLst>
          </a:custGeom>
          <a:solidFill>
            <a:schemeClr val="accent3"/>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5" name="Freeform: Shape 4">
            <a:extLst>
              <a:ext uri="{FF2B5EF4-FFF2-40B4-BE49-F238E27FC236}">
                <a16:creationId xmlns:a16="http://schemas.microsoft.com/office/drawing/2014/main" id="{5F3902FE-C762-1B6F-A6E0-06C6AB9B9EB6}"/>
              </a:ext>
            </a:extLst>
          </p:cNvPr>
          <p:cNvSpPr/>
          <p:nvPr/>
        </p:nvSpPr>
        <p:spPr>
          <a:xfrm rot="638376">
            <a:off x="2221070" y="-36150"/>
            <a:ext cx="302333" cy="958500"/>
          </a:xfrm>
          <a:custGeom>
            <a:avLst/>
            <a:gdLst>
              <a:gd name="connsiteX0" fmla="*/ 29289 w 302333"/>
              <a:gd name="connsiteY0" fmla="*/ 51294 h 958500"/>
              <a:gd name="connsiteX1" fmla="*/ 302333 w 302333"/>
              <a:gd name="connsiteY1" fmla="*/ 0 h 958500"/>
              <a:gd name="connsiteX2" fmla="*/ 298602 w 302333"/>
              <a:gd name="connsiteY2" fmla="*/ 21563 h 958500"/>
              <a:gd name="connsiteX3" fmla="*/ 275266 w 302333"/>
              <a:gd name="connsiteY3" fmla="*/ 91566 h 958500"/>
              <a:gd name="connsiteX4" fmla="*/ 272103 w 302333"/>
              <a:gd name="connsiteY4" fmla="*/ 164337 h 958500"/>
              <a:gd name="connsiteX5" fmla="*/ 297415 w 302333"/>
              <a:gd name="connsiteY5" fmla="*/ 325702 h 958500"/>
              <a:gd name="connsiteX6" fmla="*/ 265776 w 302333"/>
              <a:gd name="connsiteY6" fmla="*/ 487064 h 958500"/>
              <a:gd name="connsiteX7" fmla="*/ 265776 w 302333"/>
              <a:gd name="connsiteY7" fmla="*/ 559837 h 958500"/>
              <a:gd name="connsiteX8" fmla="*/ 291086 w 302333"/>
              <a:gd name="connsiteY8" fmla="*/ 721202 h 958500"/>
              <a:gd name="connsiteX9" fmla="*/ 259447 w 302333"/>
              <a:gd name="connsiteY9" fmla="*/ 882564 h 958500"/>
              <a:gd name="connsiteX10" fmla="*/ 259447 w 302333"/>
              <a:gd name="connsiteY10" fmla="*/ 955336 h 958500"/>
              <a:gd name="connsiteX11" fmla="*/ 259447 w 302333"/>
              <a:gd name="connsiteY11" fmla="*/ 958500 h 958500"/>
              <a:gd name="connsiteX12" fmla="*/ 34805 w 302333"/>
              <a:gd name="connsiteY12" fmla="*/ 958500 h 958500"/>
              <a:gd name="connsiteX13" fmla="*/ 28475 w 302333"/>
              <a:gd name="connsiteY13" fmla="*/ 901547 h 958500"/>
              <a:gd name="connsiteX14" fmla="*/ 0 w 302333"/>
              <a:gd name="connsiteY14" fmla="*/ 737021 h 958500"/>
              <a:gd name="connsiteX15" fmla="*/ 28475 w 302333"/>
              <a:gd name="connsiteY15" fmla="*/ 569329 h 958500"/>
              <a:gd name="connsiteX16" fmla="*/ 28476 w 302333"/>
              <a:gd name="connsiteY16" fmla="*/ 496557 h 958500"/>
              <a:gd name="connsiteX17" fmla="*/ 3163 w 302333"/>
              <a:gd name="connsiteY17" fmla="*/ 332028 h 958500"/>
              <a:gd name="connsiteX18" fmla="*/ 37968 w 302333"/>
              <a:gd name="connsiteY18" fmla="*/ 170666 h 958500"/>
              <a:gd name="connsiteX19" fmla="*/ 41131 w 302333"/>
              <a:gd name="connsiteY19" fmla="*/ 97893 h 95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2333" h="958500">
                <a:moveTo>
                  <a:pt x="29289" y="51294"/>
                </a:moveTo>
                <a:lnTo>
                  <a:pt x="302333" y="0"/>
                </a:lnTo>
                <a:lnTo>
                  <a:pt x="298602" y="21563"/>
                </a:lnTo>
                <a:cubicBezTo>
                  <a:pt x="292669" y="48062"/>
                  <a:pt x="284759" y="71000"/>
                  <a:pt x="275266" y="91566"/>
                </a:cubicBezTo>
                <a:cubicBezTo>
                  <a:pt x="265776" y="113713"/>
                  <a:pt x="262610" y="139025"/>
                  <a:pt x="272103" y="164337"/>
                </a:cubicBezTo>
                <a:cubicBezTo>
                  <a:pt x="287922" y="205470"/>
                  <a:pt x="300578" y="256092"/>
                  <a:pt x="297415" y="325702"/>
                </a:cubicBezTo>
                <a:cubicBezTo>
                  <a:pt x="297415" y="395309"/>
                  <a:pt x="284759" y="445932"/>
                  <a:pt x="265776" y="487064"/>
                </a:cubicBezTo>
                <a:cubicBezTo>
                  <a:pt x="256283" y="509213"/>
                  <a:pt x="256283" y="534525"/>
                  <a:pt x="265776" y="559837"/>
                </a:cubicBezTo>
                <a:cubicBezTo>
                  <a:pt x="281595" y="600968"/>
                  <a:pt x="291086" y="651592"/>
                  <a:pt x="291086" y="721202"/>
                </a:cubicBezTo>
                <a:cubicBezTo>
                  <a:pt x="287922" y="790808"/>
                  <a:pt x="275266" y="841432"/>
                  <a:pt x="259447" y="882564"/>
                </a:cubicBezTo>
                <a:cubicBezTo>
                  <a:pt x="249954" y="904713"/>
                  <a:pt x="249954" y="933188"/>
                  <a:pt x="259447" y="955336"/>
                </a:cubicBezTo>
                <a:cubicBezTo>
                  <a:pt x="259447" y="955336"/>
                  <a:pt x="259447" y="958500"/>
                  <a:pt x="259447" y="958500"/>
                </a:cubicBezTo>
                <a:lnTo>
                  <a:pt x="34805" y="958500"/>
                </a:lnTo>
                <a:cubicBezTo>
                  <a:pt x="37968" y="939515"/>
                  <a:pt x="34804" y="920532"/>
                  <a:pt x="28475" y="901547"/>
                </a:cubicBezTo>
                <a:cubicBezTo>
                  <a:pt x="12656" y="857252"/>
                  <a:pt x="0" y="806628"/>
                  <a:pt x="0" y="737021"/>
                </a:cubicBezTo>
                <a:cubicBezTo>
                  <a:pt x="0" y="667412"/>
                  <a:pt x="12656" y="616788"/>
                  <a:pt x="28475" y="569329"/>
                </a:cubicBezTo>
                <a:cubicBezTo>
                  <a:pt x="37968" y="547181"/>
                  <a:pt x="37968" y="521869"/>
                  <a:pt x="28476" y="496557"/>
                </a:cubicBezTo>
                <a:cubicBezTo>
                  <a:pt x="12656" y="455425"/>
                  <a:pt x="0" y="401637"/>
                  <a:pt x="3163" y="332028"/>
                </a:cubicBezTo>
                <a:cubicBezTo>
                  <a:pt x="6327" y="262421"/>
                  <a:pt x="18983" y="211797"/>
                  <a:pt x="37968" y="170666"/>
                </a:cubicBezTo>
                <a:cubicBezTo>
                  <a:pt x="47460" y="148517"/>
                  <a:pt x="50624" y="123205"/>
                  <a:pt x="41131" y="97893"/>
                </a:cubicBezTo>
                <a:close/>
              </a:path>
            </a:pathLst>
          </a:custGeom>
          <a:solidFill>
            <a:schemeClr val="accent3"/>
          </a:solidFill>
          <a:ln w="1541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886458A5-D8DA-CDC3-F6B3-1F91BC87E77E}"/>
              </a:ext>
            </a:extLst>
          </p:cNvPr>
          <p:cNvSpPr/>
          <p:nvPr/>
        </p:nvSpPr>
        <p:spPr>
          <a:xfrm rot="2141898">
            <a:off x="10762517" y="133433"/>
            <a:ext cx="903571" cy="2412149"/>
          </a:xfrm>
          <a:custGeom>
            <a:avLst/>
            <a:gdLst>
              <a:gd name="connsiteX0" fmla="*/ 789100 w 903571"/>
              <a:gd name="connsiteY0" fmla="*/ 0 h 2412149"/>
              <a:gd name="connsiteX1" fmla="*/ 903571 w 903571"/>
              <a:gd name="connsiteY1" fmla="*/ 159313 h 2412149"/>
              <a:gd name="connsiteX2" fmla="*/ 899818 w 903571"/>
              <a:gd name="connsiteY2" fmla="*/ 165466 h 2412149"/>
              <a:gd name="connsiteX3" fmla="*/ 808346 w 903571"/>
              <a:gd name="connsiteY3" fmla="*/ 267203 h 2412149"/>
              <a:gd name="connsiteX4" fmla="*/ 775676 w 903571"/>
              <a:gd name="connsiteY4" fmla="*/ 318072 h 2412149"/>
              <a:gd name="connsiteX5" fmla="*/ 723406 w 903571"/>
              <a:gd name="connsiteY5" fmla="*/ 441003 h 2412149"/>
              <a:gd name="connsiteX6" fmla="*/ 640645 w 903571"/>
              <a:gd name="connsiteY6" fmla="*/ 546979 h 2412149"/>
              <a:gd name="connsiteX7" fmla="*/ 612333 w 903571"/>
              <a:gd name="connsiteY7" fmla="*/ 599967 h 2412149"/>
              <a:gd name="connsiteX8" fmla="*/ 570951 w 903571"/>
              <a:gd name="connsiteY8" fmla="*/ 725018 h 2412149"/>
              <a:gd name="connsiteX9" fmla="*/ 499080 w 903571"/>
              <a:gd name="connsiteY9" fmla="*/ 835232 h 2412149"/>
              <a:gd name="connsiteX10" fmla="*/ 475123 w 903571"/>
              <a:gd name="connsiteY10" fmla="*/ 890340 h 2412149"/>
              <a:gd name="connsiteX11" fmla="*/ 446810 w 903571"/>
              <a:gd name="connsiteY11" fmla="*/ 1017510 h 2412149"/>
              <a:gd name="connsiteX12" fmla="*/ 383650 w 903571"/>
              <a:gd name="connsiteY12" fmla="*/ 1131964 h 2412149"/>
              <a:gd name="connsiteX13" fmla="*/ 364049 w 903571"/>
              <a:gd name="connsiteY13" fmla="*/ 1187072 h 2412149"/>
              <a:gd name="connsiteX14" fmla="*/ 346626 w 903571"/>
              <a:gd name="connsiteY14" fmla="*/ 1314242 h 2412149"/>
              <a:gd name="connsiteX15" fmla="*/ 294355 w 903571"/>
              <a:gd name="connsiteY15" fmla="*/ 1432935 h 2412149"/>
              <a:gd name="connsiteX16" fmla="*/ 281289 w 903571"/>
              <a:gd name="connsiteY16" fmla="*/ 1490162 h 2412149"/>
              <a:gd name="connsiteX17" fmla="*/ 272577 w 903571"/>
              <a:gd name="connsiteY17" fmla="*/ 1617332 h 2412149"/>
              <a:gd name="connsiteX18" fmla="*/ 229018 w 903571"/>
              <a:gd name="connsiteY18" fmla="*/ 1738144 h 2412149"/>
              <a:gd name="connsiteX19" fmla="*/ 220306 w 903571"/>
              <a:gd name="connsiteY19" fmla="*/ 1795372 h 2412149"/>
              <a:gd name="connsiteX20" fmla="*/ 222484 w 903571"/>
              <a:gd name="connsiteY20" fmla="*/ 1922541 h 2412149"/>
              <a:gd name="connsiteX21" fmla="*/ 189815 w 903571"/>
              <a:gd name="connsiteY21" fmla="*/ 2045474 h 2412149"/>
              <a:gd name="connsiteX22" fmla="*/ 185460 w 903571"/>
              <a:gd name="connsiteY22" fmla="*/ 2102700 h 2412149"/>
              <a:gd name="connsiteX23" fmla="*/ 198527 w 903571"/>
              <a:gd name="connsiteY23" fmla="*/ 2227752 h 2412149"/>
              <a:gd name="connsiteX24" fmla="*/ 174570 w 903571"/>
              <a:gd name="connsiteY24" fmla="*/ 2352803 h 2412149"/>
              <a:gd name="connsiteX25" fmla="*/ 174570 w 903571"/>
              <a:gd name="connsiteY25" fmla="*/ 2410030 h 2412149"/>
              <a:gd name="connsiteX26" fmla="*/ 174571 w 903571"/>
              <a:gd name="connsiteY26" fmla="*/ 2412149 h 2412149"/>
              <a:gd name="connsiteX27" fmla="*/ 22116 w 903571"/>
              <a:gd name="connsiteY27" fmla="*/ 2412149 h 2412149"/>
              <a:gd name="connsiteX28" fmla="*/ 17759 w 903571"/>
              <a:gd name="connsiteY28" fmla="*/ 2365520 h 2412149"/>
              <a:gd name="connsiteX29" fmla="*/ 336 w 903571"/>
              <a:gd name="connsiteY29" fmla="*/ 2234109 h 2412149"/>
              <a:gd name="connsiteX30" fmla="*/ 28649 w 903571"/>
              <a:gd name="connsiteY30" fmla="*/ 2104820 h 2412149"/>
              <a:gd name="connsiteX31" fmla="*/ 33005 w 903571"/>
              <a:gd name="connsiteY31" fmla="*/ 2045474 h 2412149"/>
              <a:gd name="connsiteX32" fmla="*/ 26471 w 903571"/>
              <a:gd name="connsiteY32" fmla="*/ 1914064 h 2412149"/>
              <a:gd name="connsiteX33" fmla="*/ 63495 w 903571"/>
              <a:gd name="connsiteY33" fmla="*/ 1786893 h 2412149"/>
              <a:gd name="connsiteX34" fmla="*/ 72207 w 903571"/>
              <a:gd name="connsiteY34" fmla="*/ 1727546 h 2412149"/>
              <a:gd name="connsiteX35" fmla="*/ 76564 w 903571"/>
              <a:gd name="connsiteY35" fmla="*/ 1594016 h 2412149"/>
              <a:gd name="connsiteX36" fmla="*/ 124477 w 903571"/>
              <a:gd name="connsiteY36" fmla="*/ 1468967 h 2412149"/>
              <a:gd name="connsiteX37" fmla="*/ 139723 w 903571"/>
              <a:gd name="connsiteY37" fmla="*/ 1409620 h 2412149"/>
              <a:gd name="connsiteX38" fmla="*/ 154969 w 903571"/>
              <a:gd name="connsiteY38" fmla="*/ 1276091 h 2412149"/>
              <a:gd name="connsiteX39" fmla="*/ 213772 w 903571"/>
              <a:gd name="connsiteY39" fmla="*/ 1155279 h 2412149"/>
              <a:gd name="connsiteX40" fmla="*/ 233373 w 903571"/>
              <a:gd name="connsiteY40" fmla="*/ 1098051 h 2412149"/>
              <a:gd name="connsiteX41" fmla="*/ 259509 w 903571"/>
              <a:gd name="connsiteY41" fmla="*/ 964523 h 2412149"/>
              <a:gd name="connsiteX42" fmla="*/ 327025 w 903571"/>
              <a:gd name="connsiteY42" fmla="*/ 845830 h 2412149"/>
              <a:gd name="connsiteX43" fmla="*/ 350982 w 903571"/>
              <a:gd name="connsiteY43" fmla="*/ 788602 h 2412149"/>
              <a:gd name="connsiteX44" fmla="*/ 388006 w 903571"/>
              <a:gd name="connsiteY44" fmla="*/ 657193 h 2412149"/>
              <a:gd name="connsiteX45" fmla="*/ 466411 w 903571"/>
              <a:gd name="connsiteY45" fmla="*/ 542740 h 2412149"/>
              <a:gd name="connsiteX46" fmla="*/ 494725 w 903571"/>
              <a:gd name="connsiteY46" fmla="*/ 487633 h 2412149"/>
              <a:gd name="connsiteX47" fmla="*/ 544816 w 903571"/>
              <a:gd name="connsiteY47" fmla="*/ 358342 h 2412149"/>
              <a:gd name="connsiteX48" fmla="*/ 634111 w 903571"/>
              <a:gd name="connsiteY48" fmla="*/ 248127 h 2412149"/>
              <a:gd name="connsiteX49" fmla="*/ 668958 w 903571"/>
              <a:gd name="connsiteY49" fmla="*/ 195140 h 2412149"/>
              <a:gd name="connsiteX50" fmla="*/ 729940 w 903571"/>
              <a:gd name="connsiteY50" fmla="*/ 67969 h 2412149"/>
              <a:gd name="connsiteX51" fmla="*/ 781665 w 903571"/>
              <a:gd name="connsiteY51" fmla="*/ 6504 h 2412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03571" h="2412149">
                <a:moveTo>
                  <a:pt x="789100" y="0"/>
                </a:moveTo>
                <a:lnTo>
                  <a:pt x="903571" y="159313"/>
                </a:lnTo>
                <a:lnTo>
                  <a:pt x="899818" y="165466"/>
                </a:lnTo>
                <a:cubicBezTo>
                  <a:pt x="867150" y="214215"/>
                  <a:pt x="836658" y="243890"/>
                  <a:pt x="808346" y="267203"/>
                </a:cubicBezTo>
                <a:cubicBezTo>
                  <a:pt x="793099" y="279921"/>
                  <a:pt x="780033" y="298996"/>
                  <a:pt x="775676" y="318072"/>
                </a:cubicBezTo>
                <a:cubicBezTo>
                  <a:pt x="766964" y="351984"/>
                  <a:pt x="751720" y="392255"/>
                  <a:pt x="723406" y="441003"/>
                </a:cubicBezTo>
                <a:cubicBezTo>
                  <a:pt x="695093" y="489752"/>
                  <a:pt x="666781" y="521545"/>
                  <a:pt x="640645" y="546979"/>
                </a:cubicBezTo>
                <a:cubicBezTo>
                  <a:pt x="625399" y="561815"/>
                  <a:pt x="614510" y="580890"/>
                  <a:pt x="612333" y="599967"/>
                </a:cubicBezTo>
                <a:cubicBezTo>
                  <a:pt x="605798" y="633879"/>
                  <a:pt x="594909" y="674149"/>
                  <a:pt x="570951" y="725018"/>
                </a:cubicBezTo>
                <a:cubicBezTo>
                  <a:pt x="546995" y="775886"/>
                  <a:pt x="523037" y="809798"/>
                  <a:pt x="499080" y="835232"/>
                </a:cubicBezTo>
                <a:cubicBezTo>
                  <a:pt x="483834" y="850070"/>
                  <a:pt x="477302" y="871264"/>
                  <a:pt x="475123" y="890340"/>
                </a:cubicBezTo>
                <a:cubicBezTo>
                  <a:pt x="472944" y="924252"/>
                  <a:pt x="466411" y="966642"/>
                  <a:pt x="446810" y="1017510"/>
                </a:cubicBezTo>
                <a:cubicBezTo>
                  <a:pt x="427208" y="1068379"/>
                  <a:pt x="405430" y="1104410"/>
                  <a:pt x="383650" y="1131964"/>
                </a:cubicBezTo>
                <a:cubicBezTo>
                  <a:pt x="370583" y="1146801"/>
                  <a:pt x="364049" y="1167996"/>
                  <a:pt x="364049" y="1187072"/>
                </a:cubicBezTo>
                <a:cubicBezTo>
                  <a:pt x="366227" y="1220983"/>
                  <a:pt x="361871" y="1261254"/>
                  <a:pt x="346626" y="1314242"/>
                </a:cubicBezTo>
                <a:cubicBezTo>
                  <a:pt x="331380" y="1367229"/>
                  <a:pt x="313956" y="1403261"/>
                  <a:pt x="294355" y="1432935"/>
                </a:cubicBezTo>
                <a:cubicBezTo>
                  <a:pt x="283466" y="1449891"/>
                  <a:pt x="279111" y="1471085"/>
                  <a:pt x="281289" y="1490162"/>
                </a:cubicBezTo>
                <a:cubicBezTo>
                  <a:pt x="283466" y="1524073"/>
                  <a:pt x="283465" y="1564344"/>
                  <a:pt x="272577" y="1617332"/>
                </a:cubicBezTo>
                <a:cubicBezTo>
                  <a:pt x="261688" y="1670319"/>
                  <a:pt x="246441" y="1708472"/>
                  <a:pt x="229018" y="1738144"/>
                </a:cubicBezTo>
                <a:cubicBezTo>
                  <a:pt x="220306" y="1755100"/>
                  <a:pt x="215950" y="1776296"/>
                  <a:pt x="220306" y="1795372"/>
                </a:cubicBezTo>
                <a:cubicBezTo>
                  <a:pt x="226840" y="1829284"/>
                  <a:pt x="229018" y="1869554"/>
                  <a:pt x="222484" y="1922541"/>
                </a:cubicBezTo>
                <a:cubicBezTo>
                  <a:pt x="215949" y="1975531"/>
                  <a:pt x="205061" y="2013681"/>
                  <a:pt x="189815" y="2045474"/>
                </a:cubicBezTo>
                <a:cubicBezTo>
                  <a:pt x="181104" y="2062430"/>
                  <a:pt x="181105" y="2083624"/>
                  <a:pt x="185460" y="2102700"/>
                </a:cubicBezTo>
                <a:cubicBezTo>
                  <a:pt x="194171" y="2134493"/>
                  <a:pt x="200705" y="2174764"/>
                  <a:pt x="198527" y="2227752"/>
                </a:cubicBezTo>
                <a:cubicBezTo>
                  <a:pt x="196349" y="2282859"/>
                  <a:pt x="185459" y="2321011"/>
                  <a:pt x="174570" y="2352803"/>
                </a:cubicBezTo>
                <a:cubicBezTo>
                  <a:pt x="168036" y="2371878"/>
                  <a:pt x="168036" y="2390955"/>
                  <a:pt x="174570" y="2410030"/>
                </a:cubicBezTo>
                <a:cubicBezTo>
                  <a:pt x="174571" y="2412149"/>
                  <a:pt x="174571" y="2412149"/>
                  <a:pt x="174571" y="2412149"/>
                </a:cubicBezTo>
                <a:lnTo>
                  <a:pt x="22116" y="2412149"/>
                </a:lnTo>
                <a:cubicBezTo>
                  <a:pt x="26471" y="2397312"/>
                  <a:pt x="24293" y="2382476"/>
                  <a:pt x="17759" y="2365520"/>
                </a:cubicBezTo>
                <a:cubicBezTo>
                  <a:pt x="6870" y="2331608"/>
                  <a:pt x="-1842" y="2289217"/>
                  <a:pt x="336" y="2234109"/>
                </a:cubicBezTo>
                <a:cubicBezTo>
                  <a:pt x="2515" y="2176883"/>
                  <a:pt x="15581" y="2136612"/>
                  <a:pt x="28649" y="2104820"/>
                </a:cubicBezTo>
                <a:cubicBezTo>
                  <a:pt x="35183" y="2085744"/>
                  <a:pt x="37360" y="2064549"/>
                  <a:pt x="33005" y="2045474"/>
                </a:cubicBezTo>
                <a:cubicBezTo>
                  <a:pt x="24293" y="2011562"/>
                  <a:pt x="19937" y="1969171"/>
                  <a:pt x="26471" y="1914064"/>
                </a:cubicBezTo>
                <a:cubicBezTo>
                  <a:pt x="33005" y="1858956"/>
                  <a:pt x="48251" y="1818687"/>
                  <a:pt x="63495" y="1786893"/>
                </a:cubicBezTo>
                <a:cubicBezTo>
                  <a:pt x="72207" y="1767818"/>
                  <a:pt x="76564" y="1746622"/>
                  <a:pt x="72207" y="1727546"/>
                </a:cubicBezTo>
                <a:cubicBezTo>
                  <a:pt x="65674" y="1691515"/>
                  <a:pt x="65674" y="1649125"/>
                  <a:pt x="76564" y="1594016"/>
                </a:cubicBezTo>
                <a:cubicBezTo>
                  <a:pt x="87452" y="1538910"/>
                  <a:pt x="104876" y="1498639"/>
                  <a:pt x="124477" y="1468967"/>
                </a:cubicBezTo>
                <a:cubicBezTo>
                  <a:pt x="135366" y="1449891"/>
                  <a:pt x="141901" y="1430815"/>
                  <a:pt x="139723" y="1409620"/>
                </a:cubicBezTo>
                <a:cubicBezTo>
                  <a:pt x="137546" y="1373588"/>
                  <a:pt x="139723" y="1331198"/>
                  <a:pt x="154969" y="1276091"/>
                </a:cubicBezTo>
                <a:cubicBezTo>
                  <a:pt x="172391" y="1223104"/>
                  <a:pt x="191994" y="1184951"/>
                  <a:pt x="213772" y="1155279"/>
                </a:cubicBezTo>
                <a:cubicBezTo>
                  <a:pt x="226841" y="1138323"/>
                  <a:pt x="233373" y="1119247"/>
                  <a:pt x="233373" y="1098051"/>
                </a:cubicBezTo>
                <a:cubicBezTo>
                  <a:pt x="233373" y="1062020"/>
                  <a:pt x="239907" y="1017511"/>
                  <a:pt x="259509" y="964523"/>
                </a:cubicBezTo>
                <a:cubicBezTo>
                  <a:pt x="279111" y="909415"/>
                  <a:pt x="303067" y="873383"/>
                  <a:pt x="327025" y="845830"/>
                </a:cubicBezTo>
                <a:cubicBezTo>
                  <a:pt x="340092" y="828874"/>
                  <a:pt x="348803" y="809798"/>
                  <a:pt x="350982" y="788602"/>
                </a:cubicBezTo>
                <a:cubicBezTo>
                  <a:pt x="353159" y="752571"/>
                  <a:pt x="364049" y="710181"/>
                  <a:pt x="388006" y="657193"/>
                </a:cubicBezTo>
                <a:cubicBezTo>
                  <a:pt x="411963" y="604206"/>
                  <a:pt x="440277" y="568174"/>
                  <a:pt x="466411" y="542740"/>
                </a:cubicBezTo>
                <a:cubicBezTo>
                  <a:pt x="481657" y="527903"/>
                  <a:pt x="490368" y="508827"/>
                  <a:pt x="494725" y="487633"/>
                </a:cubicBezTo>
                <a:cubicBezTo>
                  <a:pt x="501258" y="451601"/>
                  <a:pt x="514326" y="409211"/>
                  <a:pt x="544816" y="358342"/>
                </a:cubicBezTo>
                <a:cubicBezTo>
                  <a:pt x="575308" y="305355"/>
                  <a:pt x="605798" y="271443"/>
                  <a:pt x="634111" y="248127"/>
                </a:cubicBezTo>
                <a:cubicBezTo>
                  <a:pt x="651534" y="235411"/>
                  <a:pt x="662424" y="216335"/>
                  <a:pt x="668958" y="195140"/>
                </a:cubicBezTo>
                <a:cubicBezTo>
                  <a:pt x="677670" y="159108"/>
                  <a:pt x="695093" y="118837"/>
                  <a:pt x="729940" y="67969"/>
                </a:cubicBezTo>
                <a:cubicBezTo>
                  <a:pt x="747363" y="43595"/>
                  <a:pt x="764787" y="23460"/>
                  <a:pt x="781665" y="6504"/>
                </a:cubicBezTo>
                <a:close/>
              </a:path>
            </a:pathLst>
          </a:custGeom>
          <a:solidFill>
            <a:schemeClr val="accent3"/>
          </a:solidFill>
          <a:ln w="15411"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Calibri"/>
              <a:ea typeface="+mn-ea"/>
              <a:cs typeface="+mn-cs"/>
            </a:endParaRPr>
          </a:p>
        </p:txBody>
      </p:sp>
      <p:sp>
        <p:nvSpPr>
          <p:cNvPr id="12" name="Text Placeholder 31">
            <a:extLst>
              <a:ext uri="{FF2B5EF4-FFF2-40B4-BE49-F238E27FC236}">
                <a16:creationId xmlns:a16="http://schemas.microsoft.com/office/drawing/2014/main" id="{26C3F981-A832-95B0-9882-3950C1C7F55B}"/>
              </a:ext>
            </a:extLst>
          </p:cNvPr>
          <p:cNvSpPr>
            <a:spLocks noGrp="1"/>
          </p:cNvSpPr>
          <p:nvPr>
            <p:ph type="body" sz="quarter" idx="10"/>
          </p:nvPr>
        </p:nvSpPr>
        <p:spPr>
          <a:xfrm>
            <a:off x="1492190" y="2229442"/>
            <a:ext cx="9198351" cy="1073371"/>
          </a:xfrm>
          <a:noFill/>
          <a:effectLst>
            <a:outerShdw blurRad="50800" dist="629026" dir="3300000" algn="tl" rotWithShape="0">
              <a:schemeClr val="bg1">
                <a:alpha val="40000"/>
              </a:schemeClr>
            </a:outerShdw>
          </a:effectLst>
        </p:spPr>
        <p:txBody>
          <a:bodyPr wrap="square" lIns="0" tIns="0" rIns="0" bIns="0" anchor="ctr">
            <a:noAutofit/>
            <a:scene3d>
              <a:camera prst="isometricOffAxis1Right"/>
              <a:lightRig rig="threePt" dir="t"/>
            </a:scene3d>
          </a:bodyPr>
          <a:lstStyle>
            <a:lvl1pPr marL="0" indent="0" algn="ctr">
              <a:buNone/>
              <a:defRPr lang="en-US" sz="5400" b="0" dirty="0" smtClean="0">
                <a:solidFill>
                  <a:schemeClr val="tx1"/>
                </a:solidFill>
                <a:latin typeface="TT Norms Pro" panose="02000503030000020003" pitchFamily="2" charset="0"/>
              </a:defRPr>
            </a:lvl1pPr>
          </a:lstStyle>
          <a:p>
            <a:pPr marL="228372" marR="0" lvl="0" indent="-228372" defTabSz="913943" fontAlgn="auto">
              <a:lnSpc>
                <a:spcPts val="8996"/>
              </a:lnSpc>
              <a:spcBef>
                <a:spcPts val="0"/>
              </a:spcBef>
              <a:spcAft>
                <a:spcPts val="0"/>
              </a:spcAft>
              <a:buClrTx/>
              <a:buSzTx/>
              <a:tabLst/>
            </a:pPr>
            <a:r>
              <a:rPr lang="en-US"/>
              <a:t>Click to edit Master text styles</a:t>
            </a:r>
          </a:p>
        </p:txBody>
      </p:sp>
      <p:sp>
        <p:nvSpPr>
          <p:cNvPr id="7" name="Text Placeholder 6">
            <a:extLst>
              <a:ext uri="{FF2B5EF4-FFF2-40B4-BE49-F238E27FC236}">
                <a16:creationId xmlns:a16="http://schemas.microsoft.com/office/drawing/2014/main" id="{64D3569C-926C-E459-9E36-72F73B888F44}"/>
              </a:ext>
            </a:extLst>
          </p:cNvPr>
          <p:cNvSpPr>
            <a:spLocks noGrp="1"/>
          </p:cNvSpPr>
          <p:nvPr>
            <p:ph type="body" sz="quarter" idx="11" hasCustomPrompt="1"/>
          </p:nvPr>
        </p:nvSpPr>
        <p:spPr>
          <a:xfrm>
            <a:off x="3120231" y="3135872"/>
            <a:ext cx="5951538" cy="1122362"/>
          </a:xfrm>
        </p:spPr>
        <p:txBody>
          <a:bodyPr anchor="ctr">
            <a:noAutofit/>
            <a:scene3d>
              <a:camera prst="orthographicFront">
                <a:rot lat="1080000" lon="20040000" rev="0"/>
              </a:camera>
              <a:lightRig rig="threePt" dir="t"/>
            </a:scene3d>
          </a:bodyPr>
          <a:lstStyle>
            <a:lvl1pPr marL="0" indent="0" algn="ctr">
              <a:buNone/>
              <a:defRPr sz="6000" b="1" i="0">
                <a:latin typeface="+mj-lt"/>
              </a:defRPr>
            </a:lvl1pPr>
          </a:lstStyle>
          <a:p>
            <a:pPr lvl="0"/>
            <a:r>
              <a:rPr lang="en-US"/>
              <a:t>Section Title</a:t>
            </a:r>
          </a:p>
        </p:txBody>
      </p:sp>
    </p:spTree>
    <p:extLst>
      <p:ext uri="{BB962C8B-B14F-4D97-AF65-F5344CB8AC3E}">
        <p14:creationId xmlns:p14="http://schemas.microsoft.com/office/powerpoint/2010/main" val="567032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96A641-68F8-ABAB-9006-20221D3C978A}"/>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4" name="Footer Placeholder 5">
            <a:extLst>
              <a:ext uri="{FF2B5EF4-FFF2-40B4-BE49-F238E27FC236}">
                <a16:creationId xmlns:a16="http://schemas.microsoft.com/office/drawing/2014/main" id="{6D7D59F5-B738-9526-143A-445FD408C63F}"/>
              </a:ext>
            </a:extLst>
          </p:cNvPr>
          <p:cNvSpPr>
            <a:spLocks noGrp="1"/>
          </p:cNvSpPr>
          <p:nvPr>
            <p:ph type="ftr" sz="quarter" idx="3"/>
          </p:nvPr>
        </p:nvSpPr>
        <p:spPr>
          <a:xfrm>
            <a:off x="1871596" y="6328076"/>
            <a:ext cx="9188885" cy="169277"/>
          </a:xfrm>
          <a:prstGeom prst="rect">
            <a:avLst/>
          </a:prstGeom>
        </p:spPr>
        <p:txBody>
          <a:bodyPr vert="horz" lIns="0" tIns="0" rIns="0" bIns="0" rtlCol="0" anchor="ctr"/>
          <a:lstStyle>
            <a:lvl1pPr algn="l">
              <a:defRPr sz="1000">
                <a:solidFill>
                  <a:schemeClr val="tx1">
                    <a:tint val="75000"/>
                  </a:schemeClr>
                </a:solidFill>
              </a:defRPr>
            </a:lvl1pPr>
          </a:lstStyle>
          <a:p>
            <a:r>
              <a:rPr lang="en-US"/>
              <a:t>To add a footer: Insert tab &gt; Header &amp; Footer &gt; Select Footer &gt; Apply</a:t>
            </a:r>
          </a:p>
        </p:txBody>
      </p:sp>
      <p:sp>
        <p:nvSpPr>
          <p:cNvPr id="5" name="Slide Number Placeholder 5">
            <a:extLst>
              <a:ext uri="{FF2B5EF4-FFF2-40B4-BE49-F238E27FC236}">
                <a16:creationId xmlns:a16="http://schemas.microsoft.com/office/drawing/2014/main" id="{BD951C3A-2F7B-EE42-B02D-196A5F43F4E5}"/>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tx1"/>
                </a:solidFill>
                <a:latin typeface="Gazpacho Light" pitchFamily="2" charset="77"/>
              </a:defRPr>
            </a:lvl1pPr>
          </a:lstStyle>
          <a:p>
            <a:fld id="{1C897F9F-178E-40FE-BBF0-CD11DAF3CBDC}" type="slidenum">
              <a:rPr lang="en-IN" smtClean="0"/>
              <a:pPr/>
              <a:t>‹#›</a:t>
            </a:fld>
            <a:endParaRPr lang="en-IN"/>
          </a:p>
        </p:txBody>
      </p:sp>
    </p:spTree>
    <p:extLst>
      <p:ext uri="{BB962C8B-B14F-4D97-AF65-F5344CB8AC3E}">
        <p14:creationId xmlns:p14="http://schemas.microsoft.com/office/powerpoint/2010/main" val="3218797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w/Tall Brown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F1F861-6ADC-406B-8673-6E7C7D3A20D6}"/>
              </a:ext>
            </a:extLst>
          </p:cNvPr>
          <p:cNvSpPr/>
          <p:nvPr/>
        </p:nvSpPr>
        <p:spPr>
          <a:xfrm>
            <a:off x="0" y="4817097"/>
            <a:ext cx="12192000" cy="20409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399">
              <a:latin typeface="TT Norms Pro" panose="02000503030000020003" pitchFamily="2" charset="0"/>
            </a:endParaRPr>
          </a:p>
        </p:txBody>
      </p:sp>
      <p:grpSp>
        <p:nvGrpSpPr>
          <p:cNvPr id="5" name="Group 4">
            <a:extLst>
              <a:ext uri="{FF2B5EF4-FFF2-40B4-BE49-F238E27FC236}">
                <a16:creationId xmlns:a16="http://schemas.microsoft.com/office/drawing/2014/main" id="{9FDD857F-F0F6-5482-C97C-19A9944EBEA9}"/>
              </a:ext>
            </a:extLst>
          </p:cNvPr>
          <p:cNvGrpSpPr/>
          <p:nvPr/>
        </p:nvGrpSpPr>
        <p:grpSpPr>
          <a:xfrm flipH="1">
            <a:off x="8959817" y="5987969"/>
            <a:ext cx="867269" cy="1042006"/>
            <a:chOff x="3159654" y="702626"/>
            <a:chExt cx="1585181" cy="1904562"/>
          </a:xfrm>
          <a:solidFill>
            <a:srgbClr val="5C2020">
              <a:alpha val="75000"/>
            </a:srgbClr>
          </a:solidFill>
        </p:grpSpPr>
        <p:sp>
          <p:nvSpPr>
            <p:cNvPr id="16" name="Freeform: Shape 15">
              <a:extLst>
                <a:ext uri="{FF2B5EF4-FFF2-40B4-BE49-F238E27FC236}">
                  <a16:creationId xmlns:a16="http://schemas.microsoft.com/office/drawing/2014/main" id="{357E8354-12A0-B703-31EB-D6C4633BC8BF}"/>
                </a:ext>
              </a:extLst>
            </p:cNvPr>
            <p:cNvSpPr/>
            <p:nvPr/>
          </p:nvSpPr>
          <p:spPr>
            <a:xfrm rot="17521177">
              <a:off x="3636567" y="1088298"/>
              <a:ext cx="631355" cy="1585181"/>
            </a:xfrm>
            <a:custGeom>
              <a:avLst/>
              <a:gdLst>
                <a:gd name="connsiteX0" fmla="*/ 242506 w 511933"/>
                <a:gd name="connsiteY0" fmla="*/ 967087 h 1285341"/>
                <a:gd name="connsiteX1" fmla="*/ 239964 w 511933"/>
                <a:gd name="connsiteY1" fmla="*/ 975982 h 1285341"/>
                <a:gd name="connsiteX2" fmla="*/ 248859 w 511933"/>
                <a:gd name="connsiteY2" fmla="*/ 977253 h 1285341"/>
                <a:gd name="connsiteX3" fmla="*/ 252672 w 511933"/>
                <a:gd name="connsiteY3" fmla="*/ 968357 h 1285341"/>
                <a:gd name="connsiteX4" fmla="*/ 121784 w 511933"/>
                <a:gd name="connsiteY4" fmla="*/ 989961 h 1285341"/>
                <a:gd name="connsiteX5" fmla="*/ 121784 w 511933"/>
                <a:gd name="connsiteY5" fmla="*/ 995044 h 1285341"/>
                <a:gd name="connsiteX6" fmla="*/ 125597 w 511933"/>
                <a:gd name="connsiteY6" fmla="*/ 996314 h 1285341"/>
                <a:gd name="connsiteX7" fmla="*/ 125597 w 511933"/>
                <a:gd name="connsiteY7" fmla="*/ 991230 h 1285341"/>
                <a:gd name="connsiteX8" fmla="*/ 262838 w 511933"/>
                <a:gd name="connsiteY8" fmla="*/ 880676 h 1285341"/>
                <a:gd name="connsiteX9" fmla="*/ 261566 w 511933"/>
                <a:gd name="connsiteY9" fmla="*/ 887029 h 1285341"/>
                <a:gd name="connsiteX10" fmla="*/ 267921 w 511933"/>
                <a:gd name="connsiteY10" fmla="*/ 888301 h 1285341"/>
                <a:gd name="connsiteX11" fmla="*/ 269191 w 511933"/>
                <a:gd name="connsiteY11" fmla="*/ 881946 h 1285341"/>
                <a:gd name="connsiteX12" fmla="*/ 293336 w 511933"/>
                <a:gd name="connsiteY12" fmla="*/ 857802 h 1285341"/>
                <a:gd name="connsiteX13" fmla="*/ 293336 w 511933"/>
                <a:gd name="connsiteY13" fmla="*/ 859073 h 1285341"/>
                <a:gd name="connsiteX14" fmla="*/ 294606 w 511933"/>
                <a:gd name="connsiteY14" fmla="*/ 859073 h 1285341"/>
                <a:gd name="connsiteX15" fmla="*/ 294606 w 511933"/>
                <a:gd name="connsiteY15" fmla="*/ 857803 h 1285341"/>
                <a:gd name="connsiteX16" fmla="*/ 124325 w 511933"/>
                <a:gd name="connsiteY16" fmla="*/ 878135 h 1285341"/>
                <a:gd name="connsiteX17" fmla="*/ 119242 w 511933"/>
                <a:gd name="connsiteY17" fmla="*/ 890842 h 1285341"/>
                <a:gd name="connsiteX18" fmla="*/ 133221 w 511933"/>
                <a:gd name="connsiteY18" fmla="*/ 892112 h 1285341"/>
                <a:gd name="connsiteX19" fmla="*/ 138304 w 511933"/>
                <a:gd name="connsiteY19" fmla="*/ 878135 h 1285341"/>
                <a:gd name="connsiteX20" fmla="*/ 167531 w 511933"/>
                <a:gd name="connsiteY20" fmla="*/ 842553 h 1285341"/>
                <a:gd name="connsiteX21" fmla="*/ 163719 w 511933"/>
                <a:gd name="connsiteY21" fmla="*/ 853990 h 1285341"/>
                <a:gd name="connsiteX22" fmla="*/ 176427 w 511933"/>
                <a:gd name="connsiteY22" fmla="*/ 856531 h 1285341"/>
                <a:gd name="connsiteX23" fmla="*/ 180238 w 511933"/>
                <a:gd name="connsiteY23" fmla="*/ 842554 h 1285341"/>
                <a:gd name="connsiteX24" fmla="*/ 275545 w 511933"/>
                <a:gd name="connsiteY24" fmla="*/ 792993 h 1285341"/>
                <a:gd name="connsiteX25" fmla="*/ 269191 w 511933"/>
                <a:gd name="connsiteY25" fmla="*/ 804431 h 1285341"/>
                <a:gd name="connsiteX26" fmla="*/ 266649 w 511933"/>
                <a:gd name="connsiteY26" fmla="*/ 820950 h 1285341"/>
                <a:gd name="connsiteX27" fmla="*/ 284440 w 511933"/>
                <a:gd name="connsiteY27" fmla="*/ 819680 h 1285341"/>
                <a:gd name="connsiteX28" fmla="*/ 297147 w 511933"/>
                <a:gd name="connsiteY28" fmla="*/ 823492 h 1285341"/>
                <a:gd name="connsiteX29" fmla="*/ 300960 w 511933"/>
                <a:gd name="connsiteY29" fmla="*/ 810784 h 1285341"/>
                <a:gd name="connsiteX30" fmla="*/ 302230 w 511933"/>
                <a:gd name="connsiteY30" fmla="*/ 795535 h 1285341"/>
                <a:gd name="connsiteX31" fmla="*/ 286981 w 511933"/>
                <a:gd name="connsiteY31" fmla="*/ 796806 h 1285341"/>
                <a:gd name="connsiteX32" fmla="*/ 82391 w 511933"/>
                <a:gd name="connsiteY32" fmla="*/ 853990 h 1285341"/>
                <a:gd name="connsiteX33" fmla="*/ 77308 w 511933"/>
                <a:gd name="connsiteY33" fmla="*/ 870510 h 1285341"/>
                <a:gd name="connsiteX34" fmla="*/ 95099 w 511933"/>
                <a:gd name="connsiteY34" fmla="*/ 871780 h 1285341"/>
                <a:gd name="connsiteX35" fmla="*/ 97640 w 511933"/>
                <a:gd name="connsiteY35" fmla="*/ 856531 h 1285341"/>
                <a:gd name="connsiteX36" fmla="*/ 40456 w 511933"/>
                <a:gd name="connsiteY36" fmla="*/ 866697 h 1285341"/>
                <a:gd name="connsiteX37" fmla="*/ 39186 w 511933"/>
                <a:gd name="connsiteY37" fmla="*/ 875593 h 1285341"/>
                <a:gd name="connsiteX38" fmla="*/ 46810 w 511933"/>
                <a:gd name="connsiteY38" fmla="*/ 876863 h 1285341"/>
                <a:gd name="connsiteX39" fmla="*/ 49352 w 511933"/>
                <a:gd name="connsiteY39" fmla="*/ 869239 h 1285341"/>
                <a:gd name="connsiteX40" fmla="*/ 143387 w 511933"/>
                <a:gd name="connsiteY40" fmla="*/ 785369 h 1285341"/>
                <a:gd name="connsiteX41" fmla="*/ 139574 w 511933"/>
                <a:gd name="connsiteY41" fmla="*/ 796807 h 1285341"/>
                <a:gd name="connsiteX42" fmla="*/ 151012 w 511933"/>
                <a:gd name="connsiteY42" fmla="*/ 796806 h 1285341"/>
                <a:gd name="connsiteX43" fmla="*/ 153553 w 511933"/>
                <a:gd name="connsiteY43" fmla="*/ 787911 h 1285341"/>
                <a:gd name="connsiteX44" fmla="*/ 314938 w 511933"/>
                <a:gd name="connsiteY44" fmla="*/ 721832 h 1285341"/>
                <a:gd name="connsiteX45" fmla="*/ 309855 w 511933"/>
                <a:gd name="connsiteY45" fmla="*/ 734539 h 1285341"/>
                <a:gd name="connsiteX46" fmla="*/ 323834 w 511933"/>
                <a:gd name="connsiteY46" fmla="*/ 735811 h 1285341"/>
                <a:gd name="connsiteX47" fmla="*/ 328917 w 511933"/>
                <a:gd name="connsiteY47" fmla="*/ 721831 h 1285341"/>
                <a:gd name="connsiteX48" fmla="*/ 105265 w 511933"/>
                <a:gd name="connsiteY48" fmla="*/ 782828 h 1285341"/>
                <a:gd name="connsiteX49" fmla="*/ 106535 w 511933"/>
                <a:gd name="connsiteY49" fmla="*/ 798076 h 1285341"/>
                <a:gd name="connsiteX50" fmla="*/ 98910 w 511933"/>
                <a:gd name="connsiteY50" fmla="*/ 812055 h 1285341"/>
                <a:gd name="connsiteX51" fmla="*/ 114159 w 511933"/>
                <a:gd name="connsiteY51" fmla="*/ 815867 h 1285341"/>
                <a:gd name="connsiteX52" fmla="*/ 125597 w 511933"/>
                <a:gd name="connsiteY52" fmla="*/ 812055 h 1285341"/>
                <a:gd name="connsiteX53" fmla="*/ 129408 w 511933"/>
                <a:gd name="connsiteY53" fmla="*/ 801890 h 1285341"/>
                <a:gd name="connsiteX54" fmla="*/ 131950 w 511933"/>
                <a:gd name="connsiteY54" fmla="*/ 789182 h 1285341"/>
                <a:gd name="connsiteX55" fmla="*/ 119242 w 511933"/>
                <a:gd name="connsiteY55" fmla="*/ 789182 h 1285341"/>
                <a:gd name="connsiteX56" fmla="*/ 26478 w 511933"/>
                <a:gd name="connsiteY56" fmla="*/ 794265 h 1285341"/>
                <a:gd name="connsiteX57" fmla="*/ 23937 w 511933"/>
                <a:gd name="connsiteY57" fmla="*/ 810784 h 1285341"/>
                <a:gd name="connsiteX58" fmla="*/ 40456 w 511933"/>
                <a:gd name="connsiteY58" fmla="*/ 814597 h 1285341"/>
                <a:gd name="connsiteX59" fmla="*/ 44269 w 511933"/>
                <a:gd name="connsiteY59" fmla="*/ 796807 h 1285341"/>
                <a:gd name="connsiteX60" fmla="*/ 274274 w 511933"/>
                <a:gd name="connsiteY60" fmla="*/ 697688 h 1285341"/>
                <a:gd name="connsiteX61" fmla="*/ 269191 w 511933"/>
                <a:gd name="connsiteY61" fmla="*/ 715479 h 1285341"/>
                <a:gd name="connsiteX62" fmla="*/ 286981 w 511933"/>
                <a:gd name="connsiteY62" fmla="*/ 716748 h 1285341"/>
                <a:gd name="connsiteX63" fmla="*/ 289523 w 511933"/>
                <a:gd name="connsiteY63" fmla="*/ 701500 h 1285341"/>
                <a:gd name="connsiteX64" fmla="*/ 231068 w 511933"/>
                <a:gd name="connsiteY64" fmla="*/ 711666 h 1285341"/>
                <a:gd name="connsiteX65" fmla="*/ 229798 w 511933"/>
                <a:gd name="connsiteY65" fmla="*/ 720562 h 1285341"/>
                <a:gd name="connsiteX66" fmla="*/ 237423 w 511933"/>
                <a:gd name="connsiteY66" fmla="*/ 721831 h 1285341"/>
                <a:gd name="connsiteX67" fmla="*/ 239964 w 511933"/>
                <a:gd name="connsiteY67" fmla="*/ 714207 h 1285341"/>
                <a:gd name="connsiteX68" fmla="*/ 164989 w 511933"/>
                <a:gd name="connsiteY68" fmla="*/ 714207 h 1285341"/>
                <a:gd name="connsiteX69" fmla="*/ 162448 w 511933"/>
                <a:gd name="connsiteY69" fmla="*/ 725645 h 1285341"/>
                <a:gd name="connsiteX70" fmla="*/ 173885 w 511933"/>
                <a:gd name="connsiteY70" fmla="*/ 725644 h 1285341"/>
                <a:gd name="connsiteX71" fmla="*/ 176427 w 511933"/>
                <a:gd name="connsiteY71" fmla="*/ 716749 h 1285341"/>
                <a:gd name="connsiteX72" fmla="*/ 116701 w 511933"/>
                <a:gd name="connsiteY72" fmla="*/ 725644 h 1285341"/>
                <a:gd name="connsiteX73" fmla="*/ 116701 w 511933"/>
                <a:gd name="connsiteY73" fmla="*/ 728186 h 1285341"/>
                <a:gd name="connsiteX74" fmla="*/ 119242 w 511933"/>
                <a:gd name="connsiteY74" fmla="*/ 728186 h 1285341"/>
                <a:gd name="connsiteX75" fmla="*/ 119242 w 511933"/>
                <a:gd name="connsiteY75" fmla="*/ 725644 h 1285341"/>
                <a:gd name="connsiteX76" fmla="*/ 50622 w 511933"/>
                <a:gd name="connsiteY76" fmla="*/ 730728 h 1285341"/>
                <a:gd name="connsiteX77" fmla="*/ 46810 w 511933"/>
                <a:gd name="connsiteY77" fmla="*/ 753601 h 1285341"/>
                <a:gd name="connsiteX78" fmla="*/ 68412 w 511933"/>
                <a:gd name="connsiteY78" fmla="*/ 757413 h 1285341"/>
                <a:gd name="connsiteX79" fmla="*/ 72225 w 511933"/>
                <a:gd name="connsiteY79" fmla="*/ 735811 h 1285341"/>
                <a:gd name="connsiteX80" fmla="*/ 334000 w 511933"/>
                <a:gd name="connsiteY80" fmla="*/ 629068 h 1285341"/>
                <a:gd name="connsiteX81" fmla="*/ 330187 w 511933"/>
                <a:gd name="connsiteY81" fmla="*/ 640504 h 1285341"/>
                <a:gd name="connsiteX82" fmla="*/ 341624 w 511933"/>
                <a:gd name="connsiteY82" fmla="*/ 640504 h 1285341"/>
                <a:gd name="connsiteX83" fmla="*/ 344166 w 511933"/>
                <a:gd name="connsiteY83" fmla="*/ 631609 h 1285341"/>
                <a:gd name="connsiteX84" fmla="*/ 15041 w 511933"/>
                <a:gd name="connsiteY84" fmla="*/ 723103 h 1285341"/>
                <a:gd name="connsiteX85" fmla="*/ 12499 w 511933"/>
                <a:gd name="connsiteY85" fmla="*/ 731998 h 1285341"/>
                <a:gd name="connsiteX86" fmla="*/ 21395 w 511933"/>
                <a:gd name="connsiteY86" fmla="*/ 733269 h 1285341"/>
                <a:gd name="connsiteX87" fmla="*/ 25207 w 511933"/>
                <a:gd name="connsiteY87" fmla="*/ 724373 h 1285341"/>
                <a:gd name="connsiteX88" fmla="*/ 297147 w 511933"/>
                <a:gd name="connsiteY88" fmla="*/ 626526 h 1285341"/>
                <a:gd name="connsiteX89" fmla="*/ 298419 w 511933"/>
                <a:gd name="connsiteY89" fmla="*/ 641775 h 1285341"/>
                <a:gd name="connsiteX90" fmla="*/ 290794 w 511933"/>
                <a:gd name="connsiteY90" fmla="*/ 655753 h 1285341"/>
                <a:gd name="connsiteX91" fmla="*/ 306043 w 511933"/>
                <a:gd name="connsiteY91" fmla="*/ 659565 h 1285341"/>
                <a:gd name="connsiteX92" fmla="*/ 317480 w 511933"/>
                <a:gd name="connsiteY92" fmla="*/ 655753 h 1285341"/>
                <a:gd name="connsiteX93" fmla="*/ 321292 w 511933"/>
                <a:gd name="connsiteY93" fmla="*/ 645586 h 1285341"/>
                <a:gd name="connsiteX94" fmla="*/ 323834 w 511933"/>
                <a:gd name="connsiteY94" fmla="*/ 632879 h 1285341"/>
                <a:gd name="connsiteX95" fmla="*/ 311126 w 511933"/>
                <a:gd name="connsiteY95" fmla="*/ 632879 h 1285341"/>
                <a:gd name="connsiteX96" fmla="*/ 144657 w 511933"/>
                <a:gd name="connsiteY96" fmla="*/ 673543 h 1285341"/>
                <a:gd name="connsiteX97" fmla="*/ 143387 w 511933"/>
                <a:gd name="connsiteY97" fmla="*/ 682439 h 1285341"/>
                <a:gd name="connsiteX98" fmla="*/ 152282 w 511933"/>
                <a:gd name="connsiteY98" fmla="*/ 684981 h 1285341"/>
                <a:gd name="connsiteX99" fmla="*/ 154823 w 511933"/>
                <a:gd name="connsiteY99" fmla="*/ 674815 h 1285341"/>
                <a:gd name="connsiteX100" fmla="*/ 192946 w 511933"/>
                <a:gd name="connsiteY100" fmla="*/ 653211 h 1285341"/>
                <a:gd name="connsiteX101" fmla="*/ 192946 w 511933"/>
                <a:gd name="connsiteY101" fmla="*/ 657024 h 1285341"/>
                <a:gd name="connsiteX102" fmla="*/ 196759 w 511933"/>
                <a:gd name="connsiteY102" fmla="*/ 658294 h 1285341"/>
                <a:gd name="connsiteX103" fmla="*/ 196759 w 511933"/>
                <a:gd name="connsiteY103" fmla="*/ 654482 h 1285341"/>
                <a:gd name="connsiteX104" fmla="*/ 63329 w 511933"/>
                <a:gd name="connsiteY104" fmla="*/ 695146 h 1285341"/>
                <a:gd name="connsiteX105" fmla="*/ 62059 w 511933"/>
                <a:gd name="connsiteY105" fmla="*/ 702771 h 1285341"/>
                <a:gd name="connsiteX106" fmla="*/ 69684 w 511933"/>
                <a:gd name="connsiteY106" fmla="*/ 704041 h 1285341"/>
                <a:gd name="connsiteX107" fmla="*/ 72225 w 511933"/>
                <a:gd name="connsiteY107" fmla="*/ 696417 h 1285341"/>
                <a:gd name="connsiteX108" fmla="*/ 218361 w 511933"/>
                <a:gd name="connsiteY108" fmla="*/ 637962 h 1285341"/>
                <a:gd name="connsiteX109" fmla="*/ 215819 w 511933"/>
                <a:gd name="connsiteY109" fmla="*/ 654483 h 1285341"/>
                <a:gd name="connsiteX110" fmla="*/ 232340 w 511933"/>
                <a:gd name="connsiteY110" fmla="*/ 658294 h 1285341"/>
                <a:gd name="connsiteX111" fmla="*/ 236151 w 511933"/>
                <a:gd name="connsiteY111" fmla="*/ 640504 h 1285341"/>
                <a:gd name="connsiteX112" fmla="*/ 95099 w 511933"/>
                <a:gd name="connsiteY112" fmla="*/ 660836 h 1285341"/>
                <a:gd name="connsiteX113" fmla="*/ 91286 w 511933"/>
                <a:gd name="connsiteY113" fmla="*/ 676084 h 1285341"/>
                <a:gd name="connsiteX114" fmla="*/ 107806 w 511933"/>
                <a:gd name="connsiteY114" fmla="*/ 678626 h 1285341"/>
                <a:gd name="connsiteX115" fmla="*/ 107806 w 511933"/>
                <a:gd name="connsiteY115" fmla="*/ 664649 h 1285341"/>
                <a:gd name="connsiteX116" fmla="*/ 307314 w 511933"/>
                <a:gd name="connsiteY116" fmla="*/ 568072 h 1285341"/>
                <a:gd name="connsiteX117" fmla="*/ 307314 w 511933"/>
                <a:gd name="connsiteY117" fmla="*/ 571883 h 1285341"/>
                <a:gd name="connsiteX118" fmla="*/ 309855 w 511933"/>
                <a:gd name="connsiteY118" fmla="*/ 571883 h 1285341"/>
                <a:gd name="connsiteX119" fmla="*/ 309855 w 511933"/>
                <a:gd name="connsiteY119" fmla="*/ 569342 h 1285341"/>
                <a:gd name="connsiteX120" fmla="*/ 241234 w 511933"/>
                <a:gd name="connsiteY120" fmla="*/ 575696 h 1285341"/>
                <a:gd name="connsiteX121" fmla="*/ 237423 w 511933"/>
                <a:gd name="connsiteY121" fmla="*/ 598570 h 1285341"/>
                <a:gd name="connsiteX122" fmla="*/ 259025 w 511933"/>
                <a:gd name="connsiteY122" fmla="*/ 601111 h 1285341"/>
                <a:gd name="connsiteX123" fmla="*/ 262838 w 511933"/>
                <a:gd name="connsiteY123" fmla="*/ 579507 h 1285341"/>
                <a:gd name="connsiteX124" fmla="*/ 35373 w 511933"/>
                <a:gd name="connsiteY124" fmla="*/ 637962 h 1285341"/>
                <a:gd name="connsiteX125" fmla="*/ 34103 w 511933"/>
                <a:gd name="connsiteY125" fmla="*/ 644317 h 1285341"/>
                <a:gd name="connsiteX126" fmla="*/ 40456 w 511933"/>
                <a:gd name="connsiteY126" fmla="*/ 645587 h 1285341"/>
                <a:gd name="connsiteX127" fmla="*/ 41727 w 511933"/>
                <a:gd name="connsiteY127" fmla="*/ 639233 h 1285341"/>
                <a:gd name="connsiteX128" fmla="*/ 129408 w 511933"/>
                <a:gd name="connsiteY128" fmla="*/ 596028 h 1285341"/>
                <a:gd name="connsiteX129" fmla="*/ 128138 w 511933"/>
                <a:gd name="connsiteY129" fmla="*/ 610005 h 1285341"/>
                <a:gd name="connsiteX130" fmla="*/ 142116 w 511933"/>
                <a:gd name="connsiteY130" fmla="*/ 613819 h 1285341"/>
                <a:gd name="connsiteX131" fmla="*/ 145929 w 511933"/>
                <a:gd name="connsiteY131" fmla="*/ 598569 h 1285341"/>
                <a:gd name="connsiteX132" fmla="*/ 65871 w 511933"/>
                <a:gd name="connsiteY132" fmla="*/ 613818 h 1285341"/>
                <a:gd name="connsiteX133" fmla="*/ 65871 w 511933"/>
                <a:gd name="connsiteY133" fmla="*/ 615089 h 1285341"/>
                <a:gd name="connsiteX134" fmla="*/ 67142 w 511933"/>
                <a:gd name="connsiteY134" fmla="*/ 615089 h 1285341"/>
                <a:gd name="connsiteX135" fmla="*/ 67142 w 511933"/>
                <a:gd name="connsiteY135" fmla="*/ 613819 h 1285341"/>
                <a:gd name="connsiteX136" fmla="*/ 205653 w 511933"/>
                <a:gd name="connsiteY136" fmla="*/ 566800 h 1285341"/>
                <a:gd name="connsiteX137" fmla="*/ 204383 w 511933"/>
                <a:gd name="connsiteY137" fmla="*/ 575696 h 1285341"/>
                <a:gd name="connsiteX138" fmla="*/ 213278 w 511933"/>
                <a:gd name="connsiteY138" fmla="*/ 576966 h 1285341"/>
                <a:gd name="connsiteX139" fmla="*/ 215820 w 511933"/>
                <a:gd name="connsiteY139" fmla="*/ 568072 h 1285341"/>
                <a:gd name="connsiteX140" fmla="*/ 336541 w 511933"/>
                <a:gd name="connsiteY140" fmla="*/ 517242 h 1285341"/>
                <a:gd name="connsiteX141" fmla="*/ 335270 w 511933"/>
                <a:gd name="connsiteY141" fmla="*/ 526136 h 1285341"/>
                <a:gd name="connsiteX142" fmla="*/ 344166 w 511933"/>
                <a:gd name="connsiteY142" fmla="*/ 528678 h 1285341"/>
                <a:gd name="connsiteX143" fmla="*/ 346707 w 511933"/>
                <a:gd name="connsiteY143" fmla="*/ 518512 h 1285341"/>
                <a:gd name="connsiteX144" fmla="*/ 255213 w 511933"/>
                <a:gd name="connsiteY144" fmla="*/ 540115 h 1285341"/>
                <a:gd name="connsiteX145" fmla="*/ 253942 w 511933"/>
                <a:gd name="connsiteY145" fmla="*/ 547740 h 1285341"/>
                <a:gd name="connsiteX146" fmla="*/ 261566 w 511933"/>
                <a:gd name="connsiteY146" fmla="*/ 549009 h 1285341"/>
                <a:gd name="connsiteX147" fmla="*/ 264108 w 511933"/>
                <a:gd name="connsiteY147" fmla="*/ 541385 h 1285341"/>
                <a:gd name="connsiteX148" fmla="*/ 286982 w 511933"/>
                <a:gd name="connsiteY148" fmla="*/ 504534 h 1285341"/>
                <a:gd name="connsiteX149" fmla="*/ 283170 w 511933"/>
                <a:gd name="connsiteY149" fmla="*/ 519783 h 1285341"/>
                <a:gd name="connsiteX150" fmla="*/ 299689 w 511933"/>
                <a:gd name="connsiteY150" fmla="*/ 522325 h 1285341"/>
                <a:gd name="connsiteX151" fmla="*/ 299689 w 511933"/>
                <a:gd name="connsiteY151" fmla="*/ 508345 h 1285341"/>
                <a:gd name="connsiteX152" fmla="*/ 48080 w 511933"/>
                <a:gd name="connsiteY152" fmla="*/ 549010 h 1285341"/>
                <a:gd name="connsiteX153" fmla="*/ 41727 w 511933"/>
                <a:gd name="connsiteY153" fmla="*/ 560447 h 1285341"/>
                <a:gd name="connsiteX154" fmla="*/ 37914 w 511933"/>
                <a:gd name="connsiteY154" fmla="*/ 576966 h 1285341"/>
                <a:gd name="connsiteX155" fmla="*/ 55705 w 511933"/>
                <a:gd name="connsiteY155" fmla="*/ 575696 h 1285341"/>
                <a:gd name="connsiteX156" fmla="*/ 68412 w 511933"/>
                <a:gd name="connsiteY156" fmla="*/ 579508 h 1285341"/>
                <a:gd name="connsiteX157" fmla="*/ 72225 w 511933"/>
                <a:gd name="connsiteY157" fmla="*/ 566800 h 1285341"/>
                <a:gd name="connsiteX158" fmla="*/ 74767 w 511933"/>
                <a:gd name="connsiteY158" fmla="*/ 551551 h 1285341"/>
                <a:gd name="connsiteX159" fmla="*/ 59518 w 511933"/>
                <a:gd name="connsiteY159" fmla="*/ 552822 h 1285341"/>
                <a:gd name="connsiteX160" fmla="*/ 227257 w 511933"/>
                <a:gd name="connsiteY160" fmla="*/ 481660 h 1285341"/>
                <a:gd name="connsiteX161" fmla="*/ 225985 w 511933"/>
                <a:gd name="connsiteY161" fmla="*/ 488014 h 1285341"/>
                <a:gd name="connsiteX162" fmla="*/ 232340 w 511933"/>
                <a:gd name="connsiteY162" fmla="*/ 489285 h 1285341"/>
                <a:gd name="connsiteX163" fmla="*/ 233610 w 511933"/>
                <a:gd name="connsiteY163" fmla="*/ 482931 h 1285341"/>
                <a:gd name="connsiteX164" fmla="*/ 321292 w 511933"/>
                <a:gd name="connsiteY164" fmla="*/ 439725 h 1285341"/>
                <a:gd name="connsiteX165" fmla="*/ 320021 w 511933"/>
                <a:gd name="connsiteY165" fmla="*/ 453704 h 1285341"/>
                <a:gd name="connsiteX166" fmla="*/ 334000 w 511933"/>
                <a:gd name="connsiteY166" fmla="*/ 457516 h 1285341"/>
                <a:gd name="connsiteX167" fmla="*/ 337811 w 511933"/>
                <a:gd name="connsiteY167" fmla="*/ 442267 h 1285341"/>
                <a:gd name="connsiteX168" fmla="*/ 257755 w 511933"/>
                <a:gd name="connsiteY168" fmla="*/ 457516 h 1285341"/>
                <a:gd name="connsiteX169" fmla="*/ 257755 w 511933"/>
                <a:gd name="connsiteY169" fmla="*/ 458787 h 1285341"/>
                <a:gd name="connsiteX170" fmla="*/ 259025 w 511933"/>
                <a:gd name="connsiteY170" fmla="*/ 458787 h 1285341"/>
                <a:gd name="connsiteX171" fmla="*/ 259025 w 511933"/>
                <a:gd name="connsiteY171" fmla="*/ 457516 h 1285341"/>
                <a:gd name="connsiteX172" fmla="*/ 107806 w 511933"/>
                <a:gd name="connsiteY172" fmla="*/ 485472 h 1285341"/>
                <a:gd name="connsiteX173" fmla="*/ 102723 w 511933"/>
                <a:gd name="connsiteY173" fmla="*/ 498180 h 1285341"/>
                <a:gd name="connsiteX174" fmla="*/ 116701 w 511933"/>
                <a:gd name="connsiteY174" fmla="*/ 499451 h 1285341"/>
                <a:gd name="connsiteX175" fmla="*/ 120514 w 511933"/>
                <a:gd name="connsiteY175" fmla="*/ 485472 h 1285341"/>
                <a:gd name="connsiteX176" fmla="*/ 152282 w 511933"/>
                <a:gd name="connsiteY176" fmla="*/ 449891 h 1285341"/>
                <a:gd name="connsiteX177" fmla="*/ 148470 w 511933"/>
                <a:gd name="connsiteY177" fmla="*/ 461328 h 1285341"/>
                <a:gd name="connsiteX178" fmla="*/ 161178 w 511933"/>
                <a:gd name="connsiteY178" fmla="*/ 463870 h 1285341"/>
                <a:gd name="connsiteX179" fmla="*/ 164989 w 511933"/>
                <a:gd name="connsiteY179" fmla="*/ 449891 h 1285341"/>
                <a:gd name="connsiteX180" fmla="*/ 67142 w 511933"/>
                <a:gd name="connsiteY180" fmla="*/ 461328 h 1285341"/>
                <a:gd name="connsiteX181" fmla="*/ 62059 w 511933"/>
                <a:gd name="connsiteY181" fmla="*/ 479119 h 1285341"/>
                <a:gd name="connsiteX182" fmla="*/ 79850 w 511933"/>
                <a:gd name="connsiteY182" fmla="*/ 480389 h 1285341"/>
                <a:gd name="connsiteX183" fmla="*/ 82391 w 511933"/>
                <a:gd name="connsiteY183" fmla="*/ 465140 h 1285341"/>
                <a:gd name="connsiteX184" fmla="*/ 22665 w 511933"/>
                <a:gd name="connsiteY184" fmla="*/ 474036 h 1285341"/>
                <a:gd name="connsiteX185" fmla="*/ 28167 w 511933"/>
                <a:gd name="connsiteY185" fmla="*/ 475608 h 1285341"/>
                <a:gd name="connsiteX186" fmla="*/ 26444 w 511933"/>
                <a:gd name="connsiteY186" fmla="*/ 483561 h 1285341"/>
                <a:gd name="connsiteX187" fmla="*/ 22665 w 511933"/>
                <a:gd name="connsiteY187" fmla="*/ 482931 h 1285341"/>
                <a:gd name="connsiteX188" fmla="*/ 345436 w 511933"/>
                <a:gd name="connsiteY188" fmla="*/ 359668 h 1285341"/>
                <a:gd name="connsiteX189" fmla="*/ 340353 w 511933"/>
                <a:gd name="connsiteY189" fmla="*/ 377459 h 1285341"/>
                <a:gd name="connsiteX190" fmla="*/ 358143 w 511933"/>
                <a:gd name="connsiteY190" fmla="*/ 378729 h 1285341"/>
                <a:gd name="connsiteX191" fmla="*/ 360685 w 511933"/>
                <a:gd name="connsiteY191" fmla="*/ 363480 h 1285341"/>
                <a:gd name="connsiteX192" fmla="*/ 239964 w 511933"/>
                <a:gd name="connsiteY192" fmla="*/ 393978 h 1285341"/>
                <a:gd name="connsiteX193" fmla="*/ 233610 w 511933"/>
                <a:gd name="connsiteY193" fmla="*/ 405415 h 1285341"/>
                <a:gd name="connsiteX194" fmla="*/ 229798 w 511933"/>
                <a:gd name="connsiteY194" fmla="*/ 421934 h 1285341"/>
                <a:gd name="connsiteX195" fmla="*/ 247589 w 511933"/>
                <a:gd name="connsiteY195" fmla="*/ 420664 h 1285341"/>
                <a:gd name="connsiteX196" fmla="*/ 260296 w 511933"/>
                <a:gd name="connsiteY196" fmla="*/ 424476 h 1285341"/>
                <a:gd name="connsiteX197" fmla="*/ 264108 w 511933"/>
                <a:gd name="connsiteY197" fmla="*/ 411768 h 1285341"/>
                <a:gd name="connsiteX198" fmla="*/ 266649 w 511933"/>
                <a:gd name="connsiteY198" fmla="*/ 396519 h 1285341"/>
                <a:gd name="connsiteX199" fmla="*/ 251400 w 511933"/>
                <a:gd name="connsiteY199" fmla="*/ 397791 h 1285341"/>
                <a:gd name="connsiteX200" fmla="*/ 126867 w 511933"/>
                <a:gd name="connsiteY200" fmla="*/ 392708 h 1285341"/>
                <a:gd name="connsiteX201" fmla="*/ 123055 w 511933"/>
                <a:gd name="connsiteY201" fmla="*/ 404144 h 1285341"/>
                <a:gd name="connsiteX202" fmla="*/ 134491 w 511933"/>
                <a:gd name="connsiteY202" fmla="*/ 404144 h 1285341"/>
                <a:gd name="connsiteX203" fmla="*/ 137033 w 511933"/>
                <a:gd name="connsiteY203" fmla="*/ 395249 h 1285341"/>
                <a:gd name="connsiteX204" fmla="*/ 406432 w 511933"/>
                <a:gd name="connsiteY204" fmla="*/ 291048 h 1285341"/>
                <a:gd name="connsiteX205" fmla="*/ 402620 w 511933"/>
                <a:gd name="connsiteY205" fmla="*/ 302484 h 1285341"/>
                <a:gd name="connsiteX206" fmla="*/ 414057 w 511933"/>
                <a:gd name="connsiteY206" fmla="*/ 302484 h 1285341"/>
                <a:gd name="connsiteX207" fmla="*/ 415328 w 511933"/>
                <a:gd name="connsiteY207" fmla="*/ 293589 h 1285341"/>
                <a:gd name="connsiteX208" fmla="*/ 368309 w 511933"/>
                <a:gd name="connsiteY208" fmla="*/ 288506 h 1285341"/>
                <a:gd name="connsiteX209" fmla="*/ 369581 w 511933"/>
                <a:gd name="connsiteY209" fmla="*/ 303755 h 1285341"/>
                <a:gd name="connsiteX210" fmla="*/ 361956 w 511933"/>
                <a:gd name="connsiteY210" fmla="*/ 317733 h 1285341"/>
                <a:gd name="connsiteX211" fmla="*/ 377205 w 511933"/>
                <a:gd name="connsiteY211" fmla="*/ 321546 h 1285341"/>
                <a:gd name="connsiteX212" fmla="*/ 388642 w 511933"/>
                <a:gd name="connsiteY212" fmla="*/ 317733 h 1285341"/>
                <a:gd name="connsiteX213" fmla="*/ 392454 w 511933"/>
                <a:gd name="connsiteY213" fmla="*/ 307567 h 1285341"/>
                <a:gd name="connsiteX214" fmla="*/ 394996 w 511933"/>
                <a:gd name="connsiteY214" fmla="*/ 294860 h 1285341"/>
                <a:gd name="connsiteX215" fmla="*/ 382288 w 511933"/>
                <a:gd name="connsiteY215" fmla="*/ 294860 h 1285341"/>
                <a:gd name="connsiteX216" fmla="*/ 289523 w 511933"/>
                <a:gd name="connsiteY216" fmla="*/ 299942 h 1285341"/>
                <a:gd name="connsiteX217" fmla="*/ 286982 w 511933"/>
                <a:gd name="connsiteY217" fmla="*/ 316463 h 1285341"/>
                <a:gd name="connsiteX218" fmla="*/ 303502 w 511933"/>
                <a:gd name="connsiteY218" fmla="*/ 320274 h 1285341"/>
                <a:gd name="connsiteX219" fmla="*/ 307313 w 511933"/>
                <a:gd name="connsiteY219" fmla="*/ 302484 h 1285341"/>
                <a:gd name="connsiteX220" fmla="*/ 149740 w 511933"/>
                <a:gd name="connsiteY220" fmla="*/ 321546 h 1285341"/>
                <a:gd name="connsiteX221" fmla="*/ 148470 w 511933"/>
                <a:gd name="connsiteY221" fmla="*/ 334253 h 1285341"/>
                <a:gd name="connsiteX222" fmla="*/ 158636 w 511933"/>
                <a:gd name="connsiteY222" fmla="*/ 334253 h 1285341"/>
                <a:gd name="connsiteX223" fmla="*/ 161178 w 511933"/>
                <a:gd name="connsiteY223" fmla="*/ 324087 h 1285341"/>
                <a:gd name="connsiteX224" fmla="*/ 100182 w 511933"/>
                <a:gd name="connsiteY224" fmla="*/ 331712 h 1285341"/>
                <a:gd name="connsiteX225" fmla="*/ 100182 w 511933"/>
                <a:gd name="connsiteY225" fmla="*/ 335523 h 1285341"/>
                <a:gd name="connsiteX226" fmla="*/ 102723 w 511933"/>
                <a:gd name="connsiteY226" fmla="*/ 335524 h 1285341"/>
                <a:gd name="connsiteX227" fmla="*/ 102723 w 511933"/>
                <a:gd name="connsiteY227" fmla="*/ 332982 h 1285341"/>
                <a:gd name="connsiteX228" fmla="*/ 428035 w 511933"/>
                <a:gd name="connsiteY228" fmla="*/ 219886 h 1285341"/>
                <a:gd name="connsiteX229" fmla="*/ 426764 w 511933"/>
                <a:gd name="connsiteY229" fmla="*/ 232593 h 1285341"/>
                <a:gd name="connsiteX230" fmla="*/ 436930 w 511933"/>
                <a:gd name="connsiteY230" fmla="*/ 232593 h 1285341"/>
                <a:gd name="connsiteX231" fmla="*/ 439472 w 511933"/>
                <a:gd name="connsiteY231" fmla="*/ 222427 h 1285341"/>
                <a:gd name="connsiteX232" fmla="*/ 379747 w 511933"/>
                <a:gd name="connsiteY232" fmla="*/ 231322 h 1285341"/>
                <a:gd name="connsiteX233" fmla="*/ 379747 w 511933"/>
                <a:gd name="connsiteY233" fmla="*/ 235135 h 1285341"/>
                <a:gd name="connsiteX234" fmla="*/ 382288 w 511933"/>
                <a:gd name="connsiteY234" fmla="*/ 235135 h 1285341"/>
                <a:gd name="connsiteX235" fmla="*/ 382288 w 511933"/>
                <a:gd name="connsiteY235" fmla="*/ 232593 h 1285341"/>
                <a:gd name="connsiteX236" fmla="*/ 312396 w 511933"/>
                <a:gd name="connsiteY236" fmla="*/ 237676 h 1285341"/>
                <a:gd name="connsiteX237" fmla="*/ 308585 w 511933"/>
                <a:gd name="connsiteY237" fmla="*/ 260550 h 1285341"/>
                <a:gd name="connsiteX238" fmla="*/ 330187 w 511933"/>
                <a:gd name="connsiteY238" fmla="*/ 263091 h 1285341"/>
                <a:gd name="connsiteX239" fmla="*/ 334000 w 511933"/>
                <a:gd name="connsiteY239" fmla="*/ 241488 h 1285341"/>
                <a:gd name="connsiteX240" fmla="*/ 129408 w 511933"/>
                <a:gd name="connsiteY240" fmla="*/ 280882 h 1285341"/>
                <a:gd name="connsiteX241" fmla="*/ 128138 w 511933"/>
                <a:gd name="connsiteY241" fmla="*/ 289777 h 1285341"/>
                <a:gd name="connsiteX242" fmla="*/ 137033 w 511933"/>
                <a:gd name="connsiteY242" fmla="*/ 292318 h 1285341"/>
                <a:gd name="connsiteX243" fmla="*/ 139574 w 511933"/>
                <a:gd name="connsiteY243" fmla="*/ 282152 h 1285341"/>
                <a:gd name="connsiteX244" fmla="*/ 278087 w 511933"/>
                <a:gd name="connsiteY244" fmla="*/ 230052 h 1285341"/>
                <a:gd name="connsiteX245" fmla="*/ 275545 w 511933"/>
                <a:gd name="connsiteY245" fmla="*/ 238946 h 1285341"/>
                <a:gd name="connsiteX246" fmla="*/ 284440 w 511933"/>
                <a:gd name="connsiteY246" fmla="*/ 240218 h 1285341"/>
                <a:gd name="connsiteX247" fmla="*/ 288253 w 511933"/>
                <a:gd name="connsiteY247" fmla="*/ 231322 h 1285341"/>
                <a:gd name="connsiteX248" fmla="*/ 407703 w 511933"/>
                <a:gd name="connsiteY248" fmla="*/ 179222 h 1285341"/>
                <a:gd name="connsiteX249" fmla="*/ 406432 w 511933"/>
                <a:gd name="connsiteY249" fmla="*/ 188117 h 1285341"/>
                <a:gd name="connsiteX250" fmla="*/ 415328 w 511933"/>
                <a:gd name="connsiteY250" fmla="*/ 190658 h 1285341"/>
                <a:gd name="connsiteX251" fmla="*/ 417869 w 511933"/>
                <a:gd name="connsiteY251" fmla="*/ 180492 h 1285341"/>
                <a:gd name="connsiteX252" fmla="*/ 326375 w 511933"/>
                <a:gd name="connsiteY252" fmla="*/ 202095 h 1285341"/>
                <a:gd name="connsiteX253" fmla="*/ 325104 w 511933"/>
                <a:gd name="connsiteY253" fmla="*/ 209720 h 1285341"/>
                <a:gd name="connsiteX254" fmla="*/ 332728 w 511933"/>
                <a:gd name="connsiteY254" fmla="*/ 210990 h 1285341"/>
                <a:gd name="connsiteX255" fmla="*/ 335270 w 511933"/>
                <a:gd name="connsiteY255" fmla="*/ 203365 h 1285341"/>
                <a:gd name="connsiteX256" fmla="*/ 455992 w 511933"/>
                <a:gd name="connsiteY256" fmla="*/ 158890 h 1285341"/>
                <a:gd name="connsiteX257" fmla="*/ 455992 w 511933"/>
                <a:gd name="connsiteY257" fmla="*/ 162702 h 1285341"/>
                <a:gd name="connsiteX258" fmla="*/ 459804 w 511933"/>
                <a:gd name="connsiteY258" fmla="*/ 163973 h 1285341"/>
                <a:gd name="connsiteX259" fmla="*/ 459804 w 511933"/>
                <a:gd name="connsiteY259" fmla="*/ 160160 h 1285341"/>
                <a:gd name="connsiteX260" fmla="*/ 358143 w 511933"/>
                <a:gd name="connsiteY260" fmla="*/ 166514 h 1285341"/>
                <a:gd name="connsiteX261" fmla="*/ 354332 w 511933"/>
                <a:gd name="connsiteY261" fmla="*/ 181763 h 1285341"/>
                <a:gd name="connsiteX262" fmla="*/ 370851 w 511933"/>
                <a:gd name="connsiteY262" fmla="*/ 184305 h 1285341"/>
                <a:gd name="connsiteX263" fmla="*/ 370851 w 511933"/>
                <a:gd name="connsiteY263" fmla="*/ 170326 h 1285341"/>
                <a:gd name="connsiteX264" fmla="*/ 298419 w 511933"/>
                <a:gd name="connsiteY264" fmla="*/ 143641 h 1285341"/>
                <a:gd name="connsiteX265" fmla="*/ 297147 w 511933"/>
                <a:gd name="connsiteY265" fmla="*/ 149994 h 1285341"/>
                <a:gd name="connsiteX266" fmla="*/ 303502 w 511933"/>
                <a:gd name="connsiteY266" fmla="*/ 151265 h 1285341"/>
                <a:gd name="connsiteX267" fmla="*/ 304772 w 511933"/>
                <a:gd name="connsiteY267" fmla="*/ 144911 h 1285341"/>
                <a:gd name="connsiteX268" fmla="*/ 392454 w 511933"/>
                <a:gd name="connsiteY268" fmla="*/ 102977 h 1285341"/>
                <a:gd name="connsiteX269" fmla="*/ 391183 w 511933"/>
                <a:gd name="connsiteY269" fmla="*/ 116955 h 1285341"/>
                <a:gd name="connsiteX270" fmla="*/ 405162 w 511933"/>
                <a:gd name="connsiteY270" fmla="*/ 120767 h 1285341"/>
                <a:gd name="connsiteX271" fmla="*/ 408974 w 511933"/>
                <a:gd name="connsiteY271" fmla="*/ 105518 h 1285341"/>
                <a:gd name="connsiteX272" fmla="*/ 328917 w 511933"/>
                <a:gd name="connsiteY272" fmla="*/ 119496 h 1285341"/>
                <a:gd name="connsiteX273" fmla="*/ 328917 w 511933"/>
                <a:gd name="connsiteY273" fmla="*/ 120767 h 1285341"/>
                <a:gd name="connsiteX274" fmla="*/ 330187 w 511933"/>
                <a:gd name="connsiteY274" fmla="*/ 120767 h 1285341"/>
                <a:gd name="connsiteX275" fmla="*/ 330187 w 511933"/>
                <a:gd name="connsiteY275" fmla="*/ 119496 h 1285341"/>
                <a:gd name="connsiteX276" fmla="*/ 176427 w 511933"/>
                <a:gd name="connsiteY276" fmla="*/ 108060 h 1285341"/>
                <a:gd name="connsiteX277" fmla="*/ 176427 w 511933"/>
                <a:gd name="connsiteY277" fmla="*/ 109330 h 1285341"/>
                <a:gd name="connsiteX278" fmla="*/ 177697 w 511933"/>
                <a:gd name="connsiteY278" fmla="*/ 109330 h 1285341"/>
                <a:gd name="connsiteX279" fmla="*/ 177697 w 511933"/>
                <a:gd name="connsiteY279" fmla="*/ 108060 h 1285341"/>
                <a:gd name="connsiteX280" fmla="*/ 311126 w 511933"/>
                <a:gd name="connsiteY280" fmla="*/ 55958 h 1285341"/>
                <a:gd name="connsiteX281" fmla="*/ 304772 w 511933"/>
                <a:gd name="connsiteY281" fmla="*/ 67396 h 1285341"/>
                <a:gd name="connsiteX282" fmla="*/ 300960 w 511933"/>
                <a:gd name="connsiteY282" fmla="*/ 83915 h 1285341"/>
                <a:gd name="connsiteX283" fmla="*/ 318751 w 511933"/>
                <a:gd name="connsiteY283" fmla="*/ 82645 h 1285341"/>
                <a:gd name="connsiteX284" fmla="*/ 331458 w 511933"/>
                <a:gd name="connsiteY284" fmla="*/ 86456 h 1285341"/>
                <a:gd name="connsiteX285" fmla="*/ 335270 w 511933"/>
                <a:gd name="connsiteY285" fmla="*/ 73749 h 1285341"/>
                <a:gd name="connsiteX286" fmla="*/ 337811 w 511933"/>
                <a:gd name="connsiteY286" fmla="*/ 58500 h 1285341"/>
                <a:gd name="connsiteX287" fmla="*/ 322562 w 511933"/>
                <a:gd name="connsiteY287" fmla="*/ 59771 h 1285341"/>
                <a:gd name="connsiteX288" fmla="*/ 205653 w 511933"/>
                <a:gd name="connsiteY288" fmla="*/ 80103 h 1285341"/>
                <a:gd name="connsiteX289" fmla="*/ 203112 w 511933"/>
                <a:gd name="connsiteY289" fmla="*/ 86456 h 1285341"/>
                <a:gd name="connsiteX290" fmla="*/ 209466 w 511933"/>
                <a:gd name="connsiteY290" fmla="*/ 87728 h 1285341"/>
                <a:gd name="connsiteX291" fmla="*/ 212008 w 511933"/>
                <a:gd name="connsiteY291" fmla="*/ 81373 h 1285341"/>
                <a:gd name="connsiteX292" fmla="*/ 181510 w 511933"/>
                <a:gd name="connsiteY292" fmla="*/ 17836 h 1285341"/>
                <a:gd name="connsiteX293" fmla="*/ 178968 w 511933"/>
                <a:gd name="connsiteY293" fmla="*/ 25460 h 1285341"/>
                <a:gd name="connsiteX294" fmla="*/ 186593 w 511933"/>
                <a:gd name="connsiteY294" fmla="*/ 28002 h 1285341"/>
                <a:gd name="connsiteX295" fmla="*/ 189134 w 511933"/>
                <a:gd name="connsiteY295" fmla="*/ 19107 h 1285341"/>
                <a:gd name="connsiteX296" fmla="*/ 173964 w 511933"/>
                <a:gd name="connsiteY296" fmla="*/ 3640 h 1285341"/>
                <a:gd name="connsiteX297" fmla="*/ 195487 w 511933"/>
                <a:gd name="connsiteY297" fmla="*/ 45 h 1285341"/>
                <a:gd name="connsiteX298" fmla="*/ 345436 w 511933"/>
                <a:gd name="connsiteY298" fmla="*/ 44522 h 1285341"/>
                <a:gd name="connsiteX299" fmla="*/ 511905 w 511933"/>
                <a:gd name="connsiteY299" fmla="*/ 133475 h 1285341"/>
                <a:gd name="connsiteX300" fmla="*/ 422952 w 511933"/>
                <a:gd name="connsiteY300" fmla="*/ 299943 h 1285341"/>
                <a:gd name="connsiteX301" fmla="*/ 350519 w 511933"/>
                <a:gd name="connsiteY301" fmla="*/ 466411 h 1285341"/>
                <a:gd name="connsiteX302" fmla="*/ 332728 w 511933"/>
                <a:gd name="connsiteY302" fmla="*/ 773933 h 1285341"/>
                <a:gd name="connsiteX303" fmla="*/ 195912 w 511933"/>
                <a:gd name="connsiteY303" fmla="*/ 1214265 h 1285341"/>
                <a:gd name="connsiteX304" fmla="*/ 173389 w 511933"/>
                <a:gd name="connsiteY304" fmla="*/ 1285341 h 1285341"/>
                <a:gd name="connsiteX305" fmla="*/ 100738 w 511933"/>
                <a:gd name="connsiteY305" fmla="*/ 1063664 h 1285341"/>
                <a:gd name="connsiteX306" fmla="*/ 101452 w 511933"/>
                <a:gd name="connsiteY306" fmla="*/ 1063664 h 1285341"/>
                <a:gd name="connsiteX307" fmla="*/ 105265 w 511933"/>
                <a:gd name="connsiteY307" fmla="*/ 1054768 h 1285341"/>
                <a:gd name="connsiteX308" fmla="*/ 97238 w 511933"/>
                <a:gd name="connsiteY308" fmla="*/ 1052984 h 1285341"/>
                <a:gd name="connsiteX309" fmla="*/ 63414 w 511933"/>
                <a:gd name="connsiteY309" fmla="*/ 949781 h 1285341"/>
                <a:gd name="connsiteX310" fmla="*/ 70954 w 511933"/>
                <a:gd name="connsiteY310" fmla="*/ 951838 h 1285341"/>
                <a:gd name="connsiteX311" fmla="*/ 74767 w 511933"/>
                <a:gd name="connsiteY311" fmla="*/ 936589 h 1285341"/>
                <a:gd name="connsiteX312" fmla="*/ 58258 w 511933"/>
                <a:gd name="connsiteY312" fmla="*/ 934049 h 1285341"/>
                <a:gd name="connsiteX313" fmla="*/ 0 w 511933"/>
                <a:gd name="connsiteY313" fmla="*/ 756290 h 1285341"/>
                <a:gd name="connsiteX314" fmla="*/ 130 w 511933"/>
                <a:gd name="connsiteY314" fmla="*/ 695682 h 1285341"/>
                <a:gd name="connsiteX315" fmla="*/ 26061 w 511933"/>
                <a:gd name="connsiteY315" fmla="*/ 485333 h 1285341"/>
                <a:gd name="connsiteX316" fmla="*/ 26444 w 511933"/>
                <a:gd name="connsiteY316" fmla="*/ 483561 h 1285341"/>
                <a:gd name="connsiteX317" fmla="*/ 30290 w 511933"/>
                <a:gd name="connsiteY317" fmla="*/ 484202 h 1285341"/>
                <a:gd name="connsiteX318" fmla="*/ 31561 w 511933"/>
                <a:gd name="connsiteY318" fmla="*/ 476578 h 1285341"/>
                <a:gd name="connsiteX319" fmla="*/ 28167 w 511933"/>
                <a:gd name="connsiteY319" fmla="*/ 475608 h 1285341"/>
                <a:gd name="connsiteX320" fmla="*/ 30943 w 511933"/>
                <a:gd name="connsiteY320" fmla="*/ 462790 h 1285341"/>
                <a:gd name="connsiteX321" fmla="*/ 32831 w 511933"/>
                <a:gd name="connsiteY321" fmla="*/ 454974 h 1285341"/>
                <a:gd name="connsiteX322" fmla="*/ 93827 w 511933"/>
                <a:gd name="connsiteY322" fmla="*/ 285965 h 1285341"/>
                <a:gd name="connsiteX323" fmla="*/ 96369 w 511933"/>
                <a:gd name="connsiteY323" fmla="*/ 285965 h 1285341"/>
                <a:gd name="connsiteX324" fmla="*/ 96369 w 511933"/>
                <a:gd name="connsiteY324" fmla="*/ 277069 h 1285341"/>
                <a:gd name="connsiteX325" fmla="*/ 121784 w 511933"/>
                <a:gd name="connsiteY325" fmla="*/ 219886 h 1285341"/>
                <a:gd name="connsiteX326" fmla="*/ 126867 w 511933"/>
                <a:gd name="connsiteY326" fmla="*/ 221156 h 1285341"/>
                <a:gd name="connsiteX327" fmla="*/ 190404 w 511933"/>
                <a:gd name="connsiteY327" fmla="*/ 270716 h 1285341"/>
                <a:gd name="connsiteX328" fmla="*/ 331458 w 511933"/>
                <a:gd name="connsiteY328" fmla="*/ 428289 h 1285341"/>
                <a:gd name="connsiteX329" fmla="*/ 302230 w 511933"/>
                <a:gd name="connsiteY329" fmla="*/ 340607 h 1285341"/>
                <a:gd name="connsiteX330" fmla="*/ 196759 w 511933"/>
                <a:gd name="connsiteY330" fmla="*/ 207178 h 1285341"/>
                <a:gd name="connsiteX331" fmla="*/ 170072 w 511933"/>
                <a:gd name="connsiteY331" fmla="*/ 170326 h 1285341"/>
                <a:gd name="connsiteX332" fmla="*/ 182780 w 511933"/>
                <a:gd name="connsiteY332" fmla="*/ 170326 h 1285341"/>
                <a:gd name="connsiteX333" fmla="*/ 194217 w 511933"/>
                <a:gd name="connsiteY333" fmla="*/ 175409 h 1285341"/>
                <a:gd name="connsiteX334" fmla="*/ 201842 w 511933"/>
                <a:gd name="connsiteY334" fmla="*/ 165243 h 1285341"/>
                <a:gd name="connsiteX335" fmla="*/ 205653 w 511933"/>
                <a:gd name="connsiteY335" fmla="*/ 148724 h 1285341"/>
                <a:gd name="connsiteX336" fmla="*/ 187863 w 511933"/>
                <a:gd name="connsiteY336" fmla="*/ 148724 h 1285341"/>
                <a:gd name="connsiteX337" fmla="*/ 175155 w 511933"/>
                <a:gd name="connsiteY337" fmla="*/ 143641 h 1285341"/>
                <a:gd name="connsiteX338" fmla="*/ 170072 w 511933"/>
                <a:gd name="connsiteY338" fmla="*/ 156348 h 1285341"/>
                <a:gd name="connsiteX339" fmla="*/ 166261 w 511933"/>
                <a:gd name="connsiteY339" fmla="*/ 167784 h 1285341"/>
                <a:gd name="connsiteX340" fmla="*/ 153553 w 511933"/>
                <a:gd name="connsiteY340" fmla="*/ 62313 h 1285341"/>
                <a:gd name="connsiteX341" fmla="*/ 153553 w 511933"/>
                <a:gd name="connsiteY341" fmla="*/ 61042 h 1285341"/>
                <a:gd name="connsiteX342" fmla="*/ 156095 w 511933"/>
                <a:gd name="connsiteY342" fmla="*/ 62313 h 1285341"/>
                <a:gd name="connsiteX343" fmla="*/ 161178 w 511933"/>
                <a:gd name="connsiteY343" fmla="*/ 48334 h 1285341"/>
                <a:gd name="connsiteX344" fmla="*/ 156095 w 511933"/>
                <a:gd name="connsiteY344" fmla="*/ 47064 h 1285341"/>
                <a:gd name="connsiteX345" fmla="*/ 173964 w 511933"/>
                <a:gd name="connsiteY345" fmla="*/ 3640 h 128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Lst>
              <a:rect l="l" t="t" r="r" b="b"/>
              <a:pathLst>
                <a:path w="511933" h="1285341">
                  <a:moveTo>
                    <a:pt x="242506" y="967087"/>
                  </a:moveTo>
                  <a:lnTo>
                    <a:pt x="239964" y="975982"/>
                  </a:lnTo>
                  <a:lnTo>
                    <a:pt x="248859" y="977253"/>
                  </a:lnTo>
                  <a:lnTo>
                    <a:pt x="252672" y="968357"/>
                  </a:lnTo>
                  <a:close/>
                  <a:moveTo>
                    <a:pt x="121784" y="989961"/>
                  </a:moveTo>
                  <a:lnTo>
                    <a:pt x="121784" y="995044"/>
                  </a:lnTo>
                  <a:lnTo>
                    <a:pt x="125597" y="996314"/>
                  </a:lnTo>
                  <a:lnTo>
                    <a:pt x="125597" y="991230"/>
                  </a:lnTo>
                  <a:close/>
                  <a:moveTo>
                    <a:pt x="262838" y="880676"/>
                  </a:moveTo>
                  <a:lnTo>
                    <a:pt x="261566" y="887029"/>
                  </a:lnTo>
                  <a:lnTo>
                    <a:pt x="267921" y="888301"/>
                  </a:lnTo>
                  <a:lnTo>
                    <a:pt x="269191" y="881946"/>
                  </a:lnTo>
                  <a:close/>
                  <a:moveTo>
                    <a:pt x="293336" y="857802"/>
                  </a:moveTo>
                  <a:lnTo>
                    <a:pt x="293336" y="859073"/>
                  </a:lnTo>
                  <a:lnTo>
                    <a:pt x="294606" y="859073"/>
                  </a:lnTo>
                  <a:lnTo>
                    <a:pt x="294606" y="857803"/>
                  </a:lnTo>
                  <a:close/>
                  <a:moveTo>
                    <a:pt x="124325" y="878135"/>
                  </a:moveTo>
                  <a:lnTo>
                    <a:pt x="119242" y="890842"/>
                  </a:lnTo>
                  <a:lnTo>
                    <a:pt x="133221" y="892112"/>
                  </a:lnTo>
                  <a:lnTo>
                    <a:pt x="138304" y="878135"/>
                  </a:lnTo>
                  <a:close/>
                  <a:moveTo>
                    <a:pt x="167531" y="842553"/>
                  </a:moveTo>
                  <a:lnTo>
                    <a:pt x="163719" y="853990"/>
                  </a:lnTo>
                  <a:lnTo>
                    <a:pt x="176427" y="856531"/>
                  </a:lnTo>
                  <a:lnTo>
                    <a:pt x="180238" y="842554"/>
                  </a:lnTo>
                  <a:close/>
                  <a:moveTo>
                    <a:pt x="275545" y="792993"/>
                  </a:moveTo>
                  <a:lnTo>
                    <a:pt x="269191" y="804431"/>
                  </a:lnTo>
                  <a:lnTo>
                    <a:pt x="266649" y="820950"/>
                  </a:lnTo>
                  <a:lnTo>
                    <a:pt x="284440" y="819680"/>
                  </a:lnTo>
                  <a:lnTo>
                    <a:pt x="297147" y="823492"/>
                  </a:lnTo>
                  <a:lnTo>
                    <a:pt x="300960" y="810784"/>
                  </a:lnTo>
                  <a:lnTo>
                    <a:pt x="302230" y="795535"/>
                  </a:lnTo>
                  <a:lnTo>
                    <a:pt x="286981" y="796806"/>
                  </a:lnTo>
                  <a:close/>
                  <a:moveTo>
                    <a:pt x="82391" y="853990"/>
                  </a:moveTo>
                  <a:lnTo>
                    <a:pt x="77308" y="870510"/>
                  </a:lnTo>
                  <a:lnTo>
                    <a:pt x="95099" y="871780"/>
                  </a:lnTo>
                  <a:lnTo>
                    <a:pt x="97640" y="856531"/>
                  </a:lnTo>
                  <a:close/>
                  <a:moveTo>
                    <a:pt x="40456" y="866697"/>
                  </a:moveTo>
                  <a:lnTo>
                    <a:pt x="39186" y="875593"/>
                  </a:lnTo>
                  <a:lnTo>
                    <a:pt x="46810" y="876863"/>
                  </a:lnTo>
                  <a:lnTo>
                    <a:pt x="49352" y="869239"/>
                  </a:lnTo>
                  <a:close/>
                  <a:moveTo>
                    <a:pt x="143387" y="785369"/>
                  </a:moveTo>
                  <a:lnTo>
                    <a:pt x="139574" y="796807"/>
                  </a:lnTo>
                  <a:lnTo>
                    <a:pt x="151012" y="796806"/>
                  </a:lnTo>
                  <a:lnTo>
                    <a:pt x="153553" y="787911"/>
                  </a:lnTo>
                  <a:close/>
                  <a:moveTo>
                    <a:pt x="314938" y="721832"/>
                  </a:moveTo>
                  <a:lnTo>
                    <a:pt x="309855" y="734539"/>
                  </a:lnTo>
                  <a:lnTo>
                    <a:pt x="323834" y="735811"/>
                  </a:lnTo>
                  <a:lnTo>
                    <a:pt x="328917" y="721831"/>
                  </a:lnTo>
                  <a:close/>
                  <a:moveTo>
                    <a:pt x="105265" y="782828"/>
                  </a:moveTo>
                  <a:lnTo>
                    <a:pt x="106535" y="798076"/>
                  </a:lnTo>
                  <a:lnTo>
                    <a:pt x="98910" y="812055"/>
                  </a:lnTo>
                  <a:lnTo>
                    <a:pt x="114159" y="815867"/>
                  </a:lnTo>
                  <a:lnTo>
                    <a:pt x="125597" y="812055"/>
                  </a:lnTo>
                  <a:lnTo>
                    <a:pt x="129408" y="801890"/>
                  </a:lnTo>
                  <a:lnTo>
                    <a:pt x="131950" y="789182"/>
                  </a:lnTo>
                  <a:lnTo>
                    <a:pt x="119242" y="789182"/>
                  </a:lnTo>
                  <a:close/>
                  <a:moveTo>
                    <a:pt x="26478" y="794265"/>
                  </a:moveTo>
                  <a:lnTo>
                    <a:pt x="23937" y="810784"/>
                  </a:lnTo>
                  <a:lnTo>
                    <a:pt x="40456" y="814597"/>
                  </a:lnTo>
                  <a:lnTo>
                    <a:pt x="44269" y="796807"/>
                  </a:lnTo>
                  <a:close/>
                  <a:moveTo>
                    <a:pt x="274274" y="697688"/>
                  </a:moveTo>
                  <a:lnTo>
                    <a:pt x="269191" y="715479"/>
                  </a:lnTo>
                  <a:lnTo>
                    <a:pt x="286981" y="716748"/>
                  </a:lnTo>
                  <a:lnTo>
                    <a:pt x="289523" y="701500"/>
                  </a:lnTo>
                  <a:close/>
                  <a:moveTo>
                    <a:pt x="231068" y="711666"/>
                  </a:moveTo>
                  <a:lnTo>
                    <a:pt x="229798" y="720562"/>
                  </a:lnTo>
                  <a:lnTo>
                    <a:pt x="237423" y="721831"/>
                  </a:lnTo>
                  <a:lnTo>
                    <a:pt x="239964" y="714207"/>
                  </a:lnTo>
                  <a:close/>
                  <a:moveTo>
                    <a:pt x="164989" y="714207"/>
                  </a:moveTo>
                  <a:lnTo>
                    <a:pt x="162448" y="725645"/>
                  </a:lnTo>
                  <a:lnTo>
                    <a:pt x="173885" y="725644"/>
                  </a:lnTo>
                  <a:lnTo>
                    <a:pt x="176427" y="716749"/>
                  </a:lnTo>
                  <a:close/>
                  <a:moveTo>
                    <a:pt x="116701" y="725644"/>
                  </a:moveTo>
                  <a:lnTo>
                    <a:pt x="116701" y="728186"/>
                  </a:lnTo>
                  <a:lnTo>
                    <a:pt x="119242" y="728186"/>
                  </a:lnTo>
                  <a:lnTo>
                    <a:pt x="119242" y="725644"/>
                  </a:lnTo>
                  <a:close/>
                  <a:moveTo>
                    <a:pt x="50622" y="730728"/>
                  </a:moveTo>
                  <a:lnTo>
                    <a:pt x="46810" y="753601"/>
                  </a:lnTo>
                  <a:lnTo>
                    <a:pt x="68412" y="757413"/>
                  </a:lnTo>
                  <a:lnTo>
                    <a:pt x="72225" y="735811"/>
                  </a:lnTo>
                  <a:close/>
                  <a:moveTo>
                    <a:pt x="334000" y="629068"/>
                  </a:moveTo>
                  <a:lnTo>
                    <a:pt x="330187" y="640504"/>
                  </a:lnTo>
                  <a:lnTo>
                    <a:pt x="341624" y="640504"/>
                  </a:lnTo>
                  <a:lnTo>
                    <a:pt x="344166" y="631609"/>
                  </a:lnTo>
                  <a:close/>
                  <a:moveTo>
                    <a:pt x="15041" y="723103"/>
                  </a:moveTo>
                  <a:lnTo>
                    <a:pt x="12499" y="731998"/>
                  </a:lnTo>
                  <a:lnTo>
                    <a:pt x="21395" y="733269"/>
                  </a:lnTo>
                  <a:lnTo>
                    <a:pt x="25207" y="724373"/>
                  </a:lnTo>
                  <a:close/>
                  <a:moveTo>
                    <a:pt x="297147" y="626526"/>
                  </a:moveTo>
                  <a:lnTo>
                    <a:pt x="298419" y="641775"/>
                  </a:lnTo>
                  <a:lnTo>
                    <a:pt x="290794" y="655753"/>
                  </a:lnTo>
                  <a:lnTo>
                    <a:pt x="306043" y="659565"/>
                  </a:lnTo>
                  <a:lnTo>
                    <a:pt x="317480" y="655753"/>
                  </a:lnTo>
                  <a:lnTo>
                    <a:pt x="321292" y="645586"/>
                  </a:lnTo>
                  <a:lnTo>
                    <a:pt x="323834" y="632879"/>
                  </a:lnTo>
                  <a:lnTo>
                    <a:pt x="311126" y="632879"/>
                  </a:lnTo>
                  <a:close/>
                  <a:moveTo>
                    <a:pt x="144657" y="673543"/>
                  </a:moveTo>
                  <a:lnTo>
                    <a:pt x="143387" y="682439"/>
                  </a:lnTo>
                  <a:lnTo>
                    <a:pt x="152282" y="684981"/>
                  </a:lnTo>
                  <a:lnTo>
                    <a:pt x="154823" y="674815"/>
                  </a:lnTo>
                  <a:close/>
                  <a:moveTo>
                    <a:pt x="192946" y="653211"/>
                  </a:moveTo>
                  <a:lnTo>
                    <a:pt x="192946" y="657024"/>
                  </a:lnTo>
                  <a:lnTo>
                    <a:pt x="196759" y="658294"/>
                  </a:lnTo>
                  <a:lnTo>
                    <a:pt x="196759" y="654482"/>
                  </a:lnTo>
                  <a:close/>
                  <a:moveTo>
                    <a:pt x="63329" y="695146"/>
                  </a:moveTo>
                  <a:lnTo>
                    <a:pt x="62059" y="702771"/>
                  </a:lnTo>
                  <a:lnTo>
                    <a:pt x="69684" y="704041"/>
                  </a:lnTo>
                  <a:lnTo>
                    <a:pt x="72225" y="696417"/>
                  </a:lnTo>
                  <a:close/>
                  <a:moveTo>
                    <a:pt x="218361" y="637962"/>
                  </a:moveTo>
                  <a:lnTo>
                    <a:pt x="215819" y="654483"/>
                  </a:lnTo>
                  <a:lnTo>
                    <a:pt x="232340" y="658294"/>
                  </a:lnTo>
                  <a:lnTo>
                    <a:pt x="236151" y="640504"/>
                  </a:lnTo>
                  <a:close/>
                  <a:moveTo>
                    <a:pt x="95099" y="660836"/>
                  </a:moveTo>
                  <a:lnTo>
                    <a:pt x="91286" y="676084"/>
                  </a:lnTo>
                  <a:lnTo>
                    <a:pt x="107806" y="678626"/>
                  </a:lnTo>
                  <a:lnTo>
                    <a:pt x="107806" y="664649"/>
                  </a:lnTo>
                  <a:close/>
                  <a:moveTo>
                    <a:pt x="307314" y="568072"/>
                  </a:moveTo>
                  <a:lnTo>
                    <a:pt x="307314" y="571883"/>
                  </a:lnTo>
                  <a:lnTo>
                    <a:pt x="309855" y="571883"/>
                  </a:lnTo>
                  <a:lnTo>
                    <a:pt x="309855" y="569342"/>
                  </a:lnTo>
                  <a:close/>
                  <a:moveTo>
                    <a:pt x="241234" y="575696"/>
                  </a:moveTo>
                  <a:lnTo>
                    <a:pt x="237423" y="598570"/>
                  </a:lnTo>
                  <a:lnTo>
                    <a:pt x="259025" y="601111"/>
                  </a:lnTo>
                  <a:lnTo>
                    <a:pt x="262838" y="579507"/>
                  </a:lnTo>
                  <a:close/>
                  <a:moveTo>
                    <a:pt x="35373" y="637962"/>
                  </a:moveTo>
                  <a:lnTo>
                    <a:pt x="34103" y="644317"/>
                  </a:lnTo>
                  <a:lnTo>
                    <a:pt x="40456" y="645587"/>
                  </a:lnTo>
                  <a:lnTo>
                    <a:pt x="41727" y="639233"/>
                  </a:lnTo>
                  <a:close/>
                  <a:moveTo>
                    <a:pt x="129408" y="596028"/>
                  </a:moveTo>
                  <a:lnTo>
                    <a:pt x="128138" y="610005"/>
                  </a:lnTo>
                  <a:lnTo>
                    <a:pt x="142116" y="613819"/>
                  </a:lnTo>
                  <a:lnTo>
                    <a:pt x="145929" y="598569"/>
                  </a:lnTo>
                  <a:close/>
                  <a:moveTo>
                    <a:pt x="65871" y="613818"/>
                  </a:moveTo>
                  <a:lnTo>
                    <a:pt x="65871" y="615089"/>
                  </a:lnTo>
                  <a:lnTo>
                    <a:pt x="67142" y="615089"/>
                  </a:lnTo>
                  <a:lnTo>
                    <a:pt x="67142" y="613819"/>
                  </a:lnTo>
                  <a:close/>
                  <a:moveTo>
                    <a:pt x="205653" y="566800"/>
                  </a:moveTo>
                  <a:lnTo>
                    <a:pt x="204383" y="575696"/>
                  </a:lnTo>
                  <a:lnTo>
                    <a:pt x="213278" y="576966"/>
                  </a:lnTo>
                  <a:lnTo>
                    <a:pt x="215820" y="568072"/>
                  </a:lnTo>
                  <a:close/>
                  <a:moveTo>
                    <a:pt x="336541" y="517242"/>
                  </a:moveTo>
                  <a:lnTo>
                    <a:pt x="335270" y="526136"/>
                  </a:lnTo>
                  <a:lnTo>
                    <a:pt x="344166" y="528678"/>
                  </a:lnTo>
                  <a:lnTo>
                    <a:pt x="346707" y="518512"/>
                  </a:lnTo>
                  <a:close/>
                  <a:moveTo>
                    <a:pt x="255213" y="540115"/>
                  </a:moveTo>
                  <a:lnTo>
                    <a:pt x="253942" y="547740"/>
                  </a:lnTo>
                  <a:lnTo>
                    <a:pt x="261566" y="549009"/>
                  </a:lnTo>
                  <a:lnTo>
                    <a:pt x="264108" y="541385"/>
                  </a:lnTo>
                  <a:close/>
                  <a:moveTo>
                    <a:pt x="286982" y="504534"/>
                  </a:moveTo>
                  <a:lnTo>
                    <a:pt x="283170" y="519783"/>
                  </a:lnTo>
                  <a:lnTo>
                    <a:pt x="299689" y="522325"/>
                  </a:lnTo>
                  <a:lnTo>
                    <a:pt x="299689" y="508345"/>
                  </a:lnTo>
                  <a:close/>
                  <a:moveTo>
                    <a:pt x="48080" y="549010"/>
                  </a:moveTo>
                  <a:lnTo>
                    <a:pt x="41727" y="560447"/>
                  </a:lnTo>
                  <a:lnTo>
                    <a:pt x="37914" y="576966"/>
                  </a:lnTo>
                  <a:lnTo>
                    <a:pt x="55705" y="575696"/>
                  </a:lnTo>
                  <a:lnTo>
                    <a:pt x="68412" y="579508"/>
                  </a:lnTo>
                  <a:lnTo>
                    <a:pt x="72225" y="566800"/>
                  </a:lnTo>
                  <a:lnTo>
                    <a:pt x="74767" y="551551"/>
                  </a:lnTo>
                  <a:lnTo>
                    <a:pt x="59518" y="552822"/>
                  </a:lnTo>
                  <a:close/>
                  <a:moveTo>
                    <a:pt x="227257" y="481660"/>
                  </a:moveTo>
                  <a:lnTo>
                    <a:pt x="225985" y="488014"/>
                  </a:lnTo>
                  <a:lnTo>
                    <a:pt x="232340" y="489285"/>
                  </a:lnTo>
                  <a:lnTo>
                    <a:pt x="233610" y="482931"/>
                  </a:lnTo>
                  <a:close/>
                  <a:moveTo>
                    <a:pt x="321292" y="439725"/>
                  </a:moveTo>
                  <a:lnTo>
                    <a:pt x="320021" y="453704"/>
                  </a:lnTo>
                  <a:lnTo>
                    <a:pt x="334000" y="457516"/>
                  </a:lnTo>
                  <a:lnTo>
                    <a:pt x="337811" y="442267"/>
                  </a:lnTo>
                  <a:close/>
                  <a:moveTo>
                    <a:pt x="257755" y="457516"/>
                  </a:moveTo>
                  <a:lnTo>
                    <a:pt x="257755" y="458787"/>
                  </a:lnTo>
                  <a:lnTo>
                    <a:pt x="259025" y="458787"/>
                  </a:lnTo>
                  <a:lnTo>
                    <a:pt x="259025" y="457516"/>
                  </a:lnTo>
                  <a:close/>
                  <a:moveTo>
                    <a:pt x="107806" y="485472"/>
                  </a:moveTo>
                  <a:lnTo>
                    <a:pt x="102723" y="498180"/>
                  </a:lnTo>
                  <a:lnTo>
                    <a:pt x="116701" y="499451"/>
                  </a:lnTo>
                  <a:lnTo>
                    <a:pt x="120514" y="485472"/>
                  </a:lnTo>
                  <a:close/>
                  <a:moveTo>
                    <a:pt x="152282" y="449891"/>
                  </a:moveTo>
                  <a:lnTo>
                    <a:pt x="148470" y="461328"/>
                  </a:lnTo>
                  <a:lnTo>
                    <a:pt x="161178" y="463870"/>
                  </a:lnTo>
                  <a:lnTo>
                    <a:pt x="164989" y="449891"/>
                  </a:lnTo>
                  <a:close/>
                  <a:moveTo>
                    <a:pt x="67142" y="461328"/>
                  </a:moveTo>
                  <a:lnTo>
                    <a:pt x="62059" y="479119"/>
                  </a:lnTo>
                  <a:lnTo>
                    <a:pt x="79850" y="480389"/>
                  </a:lnTo>
                  <a:lnTo>
                    <a:pt x="82391" y="465140"/>
                  </a:lnTo>
                  <a:close/>
                  <a:moveTo>
                    <a:pt x="22665" y="474036"/>
                  </a:moveTo>
                  <a:lnTo>
                    <a:pt x="28167" y="475608"/>
                  </a:lnTo>
                  <a:lnTo>
                    <a:pt x="26444" y="483561"/>
                  </a:lnTo>
                  <a:lnTo>
                    <a:pt x="22665" y="482931"/>
                  </a:lnTo>
                  <a:close/>
                  <a:moveTo>
                    <a:pt x="345436" y="359668"/>
                  </a:moveTo>
                  <a:lnTo>
                    <a:pt x="340353" y="377459"/>
                  </a:lnTo>
                  <a:lnTo>
                    <a:pt x="358143" y="378729"/>
                  </a:lnTo>
                  <a:lnTo>
                    <a:pt x="360685" y="363480"/>
                  </a:lnTo>
                  <a:close/>
                  <a:moveTo>
                    <a:pt x="239964" y="393978"/>
                  </a:moveTo>
                  <a:lnTo>
                    <a:pt x="233610" y="405415"/>
                  </a:lnTo>
                  <a:lnTo>
                    <a:pt x="229798" y="421934"/>
                  </a:lnTo>
                  <a:lnTo>
                    <a:pt x="247589" y="420664"/>
                  </a:lnTo>
                  <a:lnTo>
                    <a:pt x="260296" y="424476"/>
                  </a:lnTo>
                  <a:lnTo>
                    <a:pt x="264108" y="411768"/>
                  </a:lnTo>
                  <a:lnTo>
                    <a:pt x="266649" y="396519"/>
                  </a:lnTo>
                  <a:lnTo>
                    <a:pt x="251400" y="397791"/>
                  </a:lnTo>
                  <a:close/>
                  <a:moveTo>
                    <a:pt x="126867" y="392708"/>
                  </a:moveTo>
                  <a:lnTo>
                    <a:pt x="123055" y="404144"/>
                  </a:lnTo>
                  <a:lnTo>
                    <a:pt x="134491" y="404144"/>
                  </a:lnTo>
                  <a:lnTo>
                    <a:pt x="137033" y="395249"/>
                  </a:lnTo>
                  <a:close/>
                  <a:moveTo>
                    <a:pt x="406432" y="291048"/>
                  </a:moveTo>
                  <a:lnTo>
                    <a:pt x="402620" y="302484"/>
                  </a:lnTo>
                  <a:lnTo>
                    <a:pt x="414057" y="302484"/>
                  </a:lnTo>
                  <a:lnTo>
                    <a:pt x="415328" y="293589"/>
                  </a:lnTo>
                  <a:close/>
                  <a:moveTo>
                    <a:pt x="368309" y="288506"/>
                  </a:moveTo>
                  <a:lnTo>
                    <a:pt x="369581" y="303755"/>
                  </a:lnTo>
                  <a:lnTo>
                    <a:pt x="361956" y="317733"/>
                  </a:lnTo>
                  <a:lnTo>
                    <a:pt x="377205" y="321546"/>
                  </a:lnTo>
                  <a:lnTo>
                    <a:pt x="388642" y="317733"/>
                  </a:lnTo>
                  <a:lnTo>
                    <a:pt x="392454" y="307567"/>
                  </a:lnTo>
                  <a:lnTo>
                    <a:pt x="394996" y="294860"/>
                  </a:lnTo>
                  <a:lnTo>
                    <a:pt x="382288" y="294860"/>
                  </a:lnTo>
                  <a:close/>
                  <a:moveTo>
                    <a:pt x="289523" y="299942"/>
                  </a:moveTo>
                  <a:lnTo>
                    <a:pt x="286982" y="316463"/>
                  </a:lnTo>
                  <a:lnTo>
                    <a:pt x="303502" y="320274"/>
                  </a:lnTo>
                  <a:lnTo>
                    <a:pt x="307313" y="302484"/>
                  </a:lnTo>
                  <a:close/>
                  <a:moveTo>
                    <a:pt x="149740" y="321546"/>
                  </a:moveTo>
                  <a:lnTo>
                    <a:pt x="148470" y="334253"/>
                  </a:lnTo>
                  <a:lnTo>
                    <a:pt x="158636" y="334253"/>
                  </a:lnTo>
                  <a:lnTo>
                    <a:pt x="161178" y="324087"/>
                  </a:lnTo>
                  <a:close/>
                  <a:moveTo>
                    <a:pt x="100182" y="331712"/>
                  </a:moveTo>
                  <a:lnTo>
                    <a:pt x="100182" y="335523"/>
                  </a:lnTo>
                  <a:lnTo>
                    <a:pt x="102723" y="335524"/>
                  </a:lnTo>
                  <a:lnTo>
                    <a:pt x="102723" y="332982"/>
                  </a:lnTo>
                  <a:close/>
                  <a:moveTo>
                    <a:pt x="428035" y="219886"/>
                  </a:moveTo>
                  <a:lnTo>
                    <a:pt x="426764" y="232593"/>
                  </a:lnTo>
                  <a:lnTo>
                    <a:pt x="436930" y="232593"/>
                  </a:lnTo>
                  <a:lnTo>
                    <a:pt x="439472" y="222427"/>
                  </a:lnTo>
                  <a:close/>
                  <a:moveTo>
                    <a:pt x="379747" y="231322"/>
                  </a:moveTo>
                  <a:lnTo>
                    <a:pt x="379747" y="235135"/>
                  </a:lnTo>
                  <a:lnTo>
                    <a:pt x="382288" y="235135"/>
                  </a:lnTo>
                  <a:lnTo>
                    <a:pt x="382288" y="232593"/>
                  </a:lnTo>
                  <a:close/>
                  <a:moveTo>
                    <a:pt x="312396" y="237676"/>
                  </a:moveTo>
                  <a:lnTo>
                    <a:pt x="308585" y="260550"/>
                  </a:lnTo>
                  <a:lnTo>
                    <a:pt x="330187" y="263091"/>
                  </a:lnTo>
                  <a:lnTo>
                    <a:pt x="334000" y="241488"/>
                  </a:lnTo>
                  <a:close/>
                  <a:moveTo>
                    <a:pt x="129408" y="280882"/>
                  </a:moveTo>
                  <a:lnTo>
                    <a:pt x="128138" y="289777"/>
                  </a:lnTo>
                  <a:lnTo>
                    <a:pt x="137033" y="292318"/>
                  </a:lnTo>
                  <a:lnTo>
                    <a:pt x="139574" y="282152"/>
                  </a:lnTo>
                  <a:close/>
                  <a:moveTo>
                    <a:pt x="278087" y="230052"/>
                  </a:moveTo>
                  <a:lnTo>
                    <a:pt x="275545" y="238946"/>
                  </a:lnTo>
                  <a:lnTo>
                    <a:pt x="284440" y="240218"/>
                  </a:lnTo>
                  <a:lnTo>
                    <a:pt x="288253" y="231322"/>
                  </a:lnTo>
                  <a:close/>
                  <a:moveTo>
                    <a:pt x="407703" y="179222"/>
                  </a:moveTo>
                  <a:lnTo>
                    <a:pt x="406432" y="188117"/>
                  </a:lnTo>
                  <a:lnTo>
                    <a:pt x="415328" y="190658"/>
                  </a:lnTo>
                  <a:lnTo>
                    <a:pt x="417869" y="180492"/>
                  </a:lnTo>
                  <a:close/>
                  <a:moveTo>
                    <a:pt x="326375" y="202095"/>
                  </a:moveTo>
                  <a:lnTo>
                    <a:pt x="325104" y="209720"/>
                  </a:lnTo>
                  <a:lnTo>
                    <a:pt x="332728" y="210990"/>
                  </a:lnTo>
                  <a:lnTo>
                    <a:pt x="335270" y="203365"/>
                  </a:lnTo>
                  <a:close/>
                  <a:moveTo>
                    <a:pt x="455992" y="158890"/>
                  </a:moveTo>
                  <a:lnTo>
                    <a:pt x="455992" y="162702"/>
                  </a:lnTo>
                  <a:lnTo>
                    <a:pt x="459804" y="163973"/>
                  </a:lnTo>
                  <a:lnTo>
                    <a:pt x="459804" y="160160"/>
                  </a:lnTo>
                  <a:close/>
                  <a:moveTo>
                    <a:pt x="358143" y="166514"/>
                  </a:moveTo>
                  <a:lnTo>
                    <a:pt x="354332" y="181763"/>
                  </a:lnTo>
                  <a:lnTo>
                    <a:pt x="370851" y="184305"/>
                  </a:lnTo>
                  <a:lnTo>
                    <a:pt x="370851" y="170326"/>
                  </a:lnTo>
                  <a:close/>
                  <a:moveTo>
                    <a:pt x="298419" y="143641"/>
                  </a:moveTo>
                  <a:lnTo>
                    <a:pt x="297147" y="149994"/>
                  </a:lnTo>
                  <a:lnTo>
                    <a:pt x="303502" y="151265"/>
                  </a:lnTo>
                  <a:lnTo>
                    <a:pt x="304772" y="144911"/>
                  </a:lnTo>
                  <a:close/>
                  <a:moveTo>
                    <a:pt x="392454" y="102977"/>
                  </a:moveTo>
                  <a:lnTo>
                    <a:pt x="391183" y="116955"/>
                  </a:lnTo>
                  <a:lnTo>
                    <a:pt x="405162" y="120767"/>
                  </a:lnTo>
                  <a:lnTo>
                    <a:pt x="408974" y="105518"/>
                  </a:lnTo>
                  <a:close/>
                  <a:moveTo>
                    <a:pt x="328917" y="119496"/>
                  </a:moveTo>
                  <a:lnTo>
                    <a:pt x="328917" y="120767"/>
                  </a:lnTo>
                  <a:lnTo>
                    <a:pt x="330187" y="120767"/>
                  </a:lnTo>
                  <a:lnTo>
                    <a:pt x="330187" y="119496"/>
                  </a:lnTo>
                  <a:close/>
                  <a:moveTo>
                    <a:pt x="176427" y="108060"/>
                  </a:moveTo>
                  <a:lnTo>
                    <a:pt x="176427" y="109330"/>
                  </a:lnTo>
                  <a:lnTo>
                    <a:pt x="177697" y="109330"/>
                  </a:lnTo>
                  <a:lnTo>
                    <a:pt x="177697" y="108060"/>
                  </a:lnTo>
                  <a:close/>
                  <a:moveTo>
                    <a:pt x="311126" y="55958"/>
                  </a:moveTo>
                  <a:lnTo>
                    <a:pt x="304772" y="67396"/>
                  </a:lnTo>
                  <a:lnTo>
                    <a:pt x="300960" y="83915"/>
                  </a:lnTo>
                  <a:lnTo>
                    <a:pt x="318751" y="82645"/>
                  </a:lnTo>
                  <a:lnTo>
                    <a:pt x="331458" y="86456"/>
                  </a:lnTo>
                  <a:lnTo>
                    <a:pt x="335270" y="73749"/>
                  </a:lnTo>
                  <a:lnTo>
                    <a:pt x="337811" y="58500"/>
                  </a:lnTo>
                  <a:lnTo>
                    <a:pt x="322562" y="59771"/>
                  </a:lnTo>
                  <a:close/>
                  <a:moveTo>
                    <a:pt x="205653" y="80103"/>
                  </a:moveTo>
                  <a:lnTo>
                    <a:pt x="203112" y="86456"/>
                  </a:lnTo>
                  <a:lnTo>
                    <a:pt x="209466" y="87728"/>
                  </a:lnTo>
                  <a:lnTo>
                    <a:pt x="212008" y="81373"/>
                  </a:lnTo>
                  <a:close/>
                  <a:moveTo>
                    <a:pt x="181510" y="17836"/>
                  </a:moveTo>
                  <a:lnTo>
                    <a:pt x="178968" y="25460"/>
                  </a:lnTo>
                  <a:lnTo>
                    <a:pt x="186593" y="28002"/>
                  </a:lnTo>
                  <a:lnTo>
                    <a:pt x="189134" y="19107"/>
                  </a:lnTo>
                  <a:close/>
                  <a:moveTo>
                    <a:pt x="173964" y="3640"/>
                  </a:moveTo>
                  <a:cubicBezTo>
                    <a:pt x="179286" y="1078"/>
                    <a:pt x="186275" y="-272"/>
                    <a:pt x="195487" y="45"/>
                  </a:cubicBezTo>
                  <a:cubicBezTo>
                    <a:pt x="242506" y="2587"/>
                    <a:pt x="345436" y="44522"/>
                    <a:pt x="345436" y="44522"/>
                  </a:cubicBezTo>
                  <a:cubicBezTo>
                    <a:pt x="347977" y="44522"/>
                    <a:pt x="514447" y="78832"/>
                    <a:pt x="511905" y="133475"/>
                  </a:cubicBezTo>
                  <a:cubicBezTo>
                    <a:pt x="510634" y="152536"/>
                    <a:pt x="455992" y="236405"/>
                    <a:pt x="422952" y="299943"/>
                  </a:cubicBezTo>
                  <a:cubicBezTo>
                    <a:pt x="386100" y="368563"/>
                    <a:pt x="350519" y="466411"/>
                    <a:pt x="350519" y="466411"/>
                  </a:cubicBezTo>
                  <a:cubicBezTo>
                    <a:pt x="350519" y="466411"/>
                    <a:pt x="367039" y="655752"/>
                    <a:pt x="332728" y="773933"/>
                  </a:cubicBezTo>
                  <a:cubicBezTo>
                    <a:pt x="304931" y="868445"/>
                    <a:pt x="240401" y="1073651"/>
                    <a:pt x="195912" y="1214265"/>
                  </a:cubicBezTo>
                  <a:lnTo>
                    <a:pt x="173389" y="1285341"/>
                  </a:lnTo>
                  <a:lnTo>
                    <a:pt x="100738" y="1063664"/>
                  </a:lnTo>
                  <a:lnTo>
                    <a:pt x="101452" y="1063664"/>
                  </a:lnTo>
                  <a:lnTo>
                    <a:pt x="105265" y="1054768"/>
                  </a:lnTo>
                  <a:lnTo>
                    <a:pt x="97238" y="1052984"/>
                  </a:lnTo>
                  <a:lnTo>
                    <a:pt x="63414" y="949781"/>
                  </a:lnTo>
                  <a:lnTo>
                    <a:pt x="70954" y="951838"/>
                  </a:lnTo>
                  <a:lnTo>
                    <a:pt x="74767" y="936589"/>
                  </a:lnTo>
                  <a:lnTo>
                    <a:pt x="58258" y="934049"/>
                  </a:lnTo>
                  <a:lnTo>
                    <a:pt x="0" y="756290"/>
                  </a:lnTo>
                  <a:lnTo>
                    <a:pt x="130" y="695682"/>
                  </a:lnTo>
                  <a:cubicBezTo>
                    <a:pt x="5252" y="599542"/>
                    <a:pt x="18079" y="524607"/>
                    <a:pt x="26061" y="485333"/>
                  </a:cubicBezTo>
                  <a:lnTo>
                    <a:pt x="26444" y="483561"/>
                  </a:lnTo>
                  <a:lnTo>
                    <a:pt x="30290" y="484202"/>
                  </a:lnTo>
                  <a:lnTo>
                    <a:pt x="31561" y="476578"/>
                  </a:lnTo>
                  <a:lnTo>
                    <a:pt x="28167" y="475608"/>
                  </a:lnTo>
                  <a:lnTo>
                    <a:pt x="30943" y="462790"/>
                  </a:lnTo>
                  <a:cubicBezTo>
                    <a:pt x="32136" y="457655"/>
                    <a:pt x="32831" y="454974"/>
                    <a:pt x="32831" y="454974"/>
                  </a:cubicBezTo>
                  <a:cubicBezTo>
                    <a:pt x="32831" y="454974"/>
                    <a:pt x="60788" y="366022"/>
                    <a:pt x="93827" y="285965"/>
                  </a:cubicBezTo>
                  <a:lnTo>
                    <a:pt x="96369" y="285965"/>
                  </a:lnTo>
                  <a:lnTo>
                    <a:pt x="96369" y="277069"/>
                  </a:lnTo>
                  <a:cubicBezTo>
                    <a:pt x="105265" y="256737"/>
                    <a:pt x="112889" y="237676"/>
                    <a:pt x="121784" y="219886"/>
                  </a:cubicBezTo>
                  <a:lnTo>
                    <a:pt x="126867" y="221156"/>
                  </a:lnTo>
                  <a:cubicBezTo>
                    <a:pt x="145929" y="238946"/>
                    <a:pt x="167531" y="255467"/>
                    <a:pt x="190404" y="270716"/>
                  </a:cubicBezTo>
                  <a:cubicBezTo>
                    <a:pt x="266649" y="319004"/>
                    <a:pt x="331458" y="428289"/>
                    <a:pt x="331458" y="428289"/>
                  </a:cubicBezTo>
                  <a:cubicBezTo>
                    <a:pt x="331458" y="428289"/>
                    <a:pt x="328917" y="386354"/>
                    <a:pt x="302230" y="340607"/>
                  </a:cubicBezTo>
                  <a:cubicBezTo>
                    <a:pt x="275545" y="294859"/>
                    <a:pt x="271732" y="294860"/>
                    <a:pt x="196759" y="207178"/>
                  </a:cubicBezTo>
                  <a:cubicBezTo>
                    <a:pt x="185321" y="194471"/>
                    <a:pt x="176427" y="183034"/>
                    <a:pt x="170072" y="170326"/>
                  </a:cubicBezTo>
                  <a:lnTo>
                    <a:pt x="182780" y="170326"/>
                  </a:lnTo>
                  <a:lnTo>
                    <a:pt x="194217" y="175409"/>
                  </a:lnTo>
                  <a:lnTo>
                    <a:pt x="201842" y="165243"/>
                  </a:lnTo>
                  <a:lnTo>
                    <a:pt x="205653" y="148724"/>
                  </a:lnTo>
                  <a:lnTo>
                    <a:pt x="187863" y="148724"/>
                  </a:lnTo>
                  <a:lnTo>
                    <a:pt x="175155" y="143641"/>
                  </a:lnTo>
                  <a:lnTo>
                    <a:pt x="170072" y="156348"/>
                  </a:lnTo>
                  <a:lnTo>
                    <a:pt x="166261" y="167784"/>
                  </a:lnTo>
                  <a:cubicBezTo>
                    <a:pt x="147199" y="130933"/>
                    <a:pt x="144657" y="96622"/>
                    <a:pt x="153553" y="62313"/>
                  </a:cubicBezTo>
                  <a:cubicBezTo>
                    <a:pt x="153553" y="62313"/>
                    <a:pt x="153553" y="61042"/>
                    <a:pt x="153553" y="61042"/>
                  </a:cubicBezTo>
                  <a:lnTo>
                    <a:pt x="156095" y="62313"/>
                  </a:lnTo>
                  <a:lnTo>
                    <a:pt x="161178" y="48334"/>
                  </a:lnTo>
                  <a:lnTo>
                    <a:pt x="156095" y="47064"/>
                  </a:lnTo>
                  <a:cubicBezTo>
                    <a:pt x="157047" y="29909"/>
                    <a:pt x="158001" y="11324"/>
                    <a:pt x="173964" y="3640"/>
                  </a:cubicBezTo>
                  <a:close/>
                </a:path>
              </a:pathLst>
            </a:custGeom>
            <a:grp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7" name="Freeform: Shape 16">
              <a:extLst>
                <a:ext uri="{FF2B5EF4-FFF2-40B4-BE49-F238E27FC236}">
                  <a16:creationId xmlns:a16="http://schemas.microsoft.com/office/drawing/2014/main" id="{9E9D2A98-B911-A537-A6FF-272051CA94E0}"/>
                </a:ext>
              </a:extLst>
            </p:cNvPr>
            <p:cNvSpPr/>
            <p:nvPr/>
          </p:nvSpPr>
          <p:spPr>
            <a:xfrm rot="19581670">
              <a:off x="4057121" y="702626"/>
              <a:ext cx="628414" cy="1904562"/>
            </a:xfrm>
            <a:custGeom>
              <a:avLst/>
              <a:gdLst>
                <a:gd name="connsiteX0" fmla="*/ 458726 w 509550"/>
                <a:gd name="connsiteY0" fmla="*/ 1512653 h 1544311"/>
                <a:gd name="connsiteX1" fmla="*/ 459935 w 509550"/>
                <a:gd name="connsiteY1" fmla="*/ 1517487 h 1544311"/>
                <a:gd name="connsiteX2" fmla="*/ 464770 w 509550"/>
                <a:gd name="connsiteY2" fmla="*/ 1516278 h 1544311"/>
                <a:gd name="connsiteX3" fmla="*/ 463561 w 509550"/>
                <a:gd name="connsiteY3" fmla="*/ 1512652 h 1544311"/>
                <a:gd name="connsiteX4" fmla="*/ 450266 w 509550"/>
                <a:gd name="connsiteY4" fmla="*/ 1431670 h 1544311"/>
                <a:gd name="connsiteX5" fmla="*/ 450266 w 509550"/>
                <a:gd name="connsiteY5" fmla="*/ 1440132 h 1544311"/>
                <a:gd name="connsiteX6" fmla="*/ 458726 w 509550"/>
                <a:gd name="connsiteY6" fmla="*/ 1438923 h 1544311"/>
                <a:gd name="connsiteX7" fmla="*/ 459936 w 509550"/>
                <a:gd name="connsiteY7" fmla="*/ 1430462 h 1544311"/>
                <a:gd name="connsiteX8" fmla="*/ 469605 w 509550"/>
                <a:gd name="connsiteY8" fmla="*/ 1316847 h 1544311"/>
                <a:gd name="connsiteX9" fmla="*/ 469605 w 509550"/>
                <a:gd name="connsiteY9" fmla="*/ 1318055 h 1544311"/>
                <a:gd name="connsiteX10" fmla="*/ 470813 w 509550"/>
                <a:gd name="connsiteY10" fmla="*/ 1318055 h 1544311"/>
                <a:gd name="connsiteX11" fmla="*/ 470813 w 509550"/>
                <a:gd name="connsiteY11" fmla="*/ 1316847 h 1544311"/>
                <a:gd name="connsiteX12" fmla="*/ 447849 w 509550"/>
                <a:gd name="connsiteY12" fmla="*/ 1348272 h 1544311"/>
                <a:gd name="connsiteX13" fmla="*/ 447849 w 509550"/>
                <a:gd name="connsiteY13" fmla="*/ 1354315 h 1544311"/>
                <a:gd name="connsiteX14" fmla="*/ 453891 w 509550"/>
                <a:gd name="connsiteY14" fmla="*/ 1353107 h 1544311"/>
                <a:gd name="connsiteX15" fmla="*/ 453891 w 509550"/>
                <a:gd name="connsiteY15" fmla="*/ 1347063 h 1544311"/>
                <a:gd name="connsiteX16" fmla="*/ 491361 w 509550"/>
                <a:gd name="connsiteY16" fmla="*/ 1227404 h 1544311"/>
                <a:gd name="connsiteX17" fmla="*/ 492569 w 509550"/>
                <a:gd name="connsiteY17" fmla="*/ 1235865 h 1544311"/>
                <a:gd name="connsiteX18" fmla="*/ 499821 w 509550"/>
                <a:gd name="connsiteY18" fmla="*/ 1235865 h 1544311"/>
                <a:gd name="connsiteX19" fmla="*/ 498613 w 509550"/>
                <a:gd name="connsiteY19" fmla="*/ 1228613 h 1544311"/>
                <a:gd name="connsiteX20" fmla="*/ 439387 w 509550"/>
                <a:gd name="connsiteY20" fmla="*/ 1263665 h 1544311"/>
                <a:gd name="connsiteX21" fmla="*/ 435762 w 509550"/>
                <a:gd name="connsiteY21" fmla="*/ 1275752 h 1544311"/>
                <a:gd name="connsiteX22" fmla="*/ 436970 w 509550"/>
                <a:gd name="connsiteY22" fmla="*/ 1291464 h 1544311"/>
                <a:gd name="connsiteX23" fmla="*/ 452683 w 509550"/>
                <a:gd name="connsiteY23" fmla="*/ 1285421 h 1544311"/>
                <a:gd name="connsiteX24" fmla="*/ 464770 w 509550"/>
                <a:gd name="connsiteY24" fmla="*/ 1285421 h 1544311"/>
                <a:gd name="connsiteX25" fmla="*/ 464770 w 509550"/>
                <a:gd name="connsiteY25" fmla="*/ 1273334 h 1544311"/>
                <a:gd name="connsiteX26" fmla="*/ 463561 w 509550"/>
                <a:gd name="connsiteY26" fmla="*/ 1258830 h 1544311"/>
                <a:gd name="connsiteX27" fmla="*/ 450266 w 509550"/>
                <a:gd name="connsiteY27" fmla="*/ 1263665 h 1544311"/>
                <a:gd name="connsiteX28" fmla="*/ 369284 w 509550"/>
                <a:gd name="connsiteY28" fmla="*/ 1336186 h 1544311"/>
                <a:gd name="connsiteX29" fmla="*/ 369284 w 509550"/>
                <a:gd name="connsiteY29" fmla="*/ 1348272 h 1544311"/>
                <a:gd name="connsiteX30" fmla="*/ 381371 w 509550"/>
                <a:gd name="connsiteY30" fmla="*/ 1347063 h 1544311"/>
                <a:gd name="connsiteX31" fmla="*/ 381371 w 509550"/>
                <a:gd name="connsiteY31" fmla="*/ 1333768 h 1544311"/>
                <a:gd name="connsiteX32" fmla="*/ 339068 w 509550"/>
                <a:gd name="connsiteY32" fmla="*/ 1380906 h 1544311"/>
                <a:gd name="connsiteX33" fmla="*/ 337858 w 509550"/>
                <a:gd name="connsiteY33" fmla="*/ 1394202 h 1544311"/>
                <a:gd name="connsiteX34" fmla="*/ 351155 w 509550"/>
                <a:gd name="connsiteY34" fmla="*/ 1391785 h 1544311"/>
                <a:gd name="connsiteX35" fmla="*/ 351154 w 509550"/>
                <a:gd name="connsiteY35" fmla="*/ 1377280 h 1544311"/>
                <a:gd name="connsiteX36" fmla="*/ 459935 w 509550"/>
                <a:gd name="connsiteY36" fmla="*/ 1165762 h 1544311"/>
                <a:gd name="connsiteX37" fmla="*/ 461143 w 509550"/>
                <a:gd name="connsiteY37" fmla="*/ 1181475 h 1544311"/>
                <a:gd name="connsiteX38" fmla="*/ 476857 w 509550"/>
                <a:gd name="connsiteY38" fmla="*/ 1180266 h 1544311"/>
                <a:gd name="connsiteX39" fmla="*/ 476857 w 509550"/>
                <a:gd name="connsiteY39" fmla="*/ 1163344 h 1544311"/>
                <a:gd name="connsiteX40" fmla="*/ 295555 w 509550"/>
                <a:gd name="connsiteY40" fmla="*/ 1368819 h 1544311"/>
                <a:gd name="connsiteX41" fmla="*/ 294346 w 509550"/>
                <a:gd name="connsiteY41" fmla="*/ 1384532 h 1544311"/>
                <a:gd name="connsiteX42" fmla="*/ 311267 w 509550"/>
                <a:gd name="connsiteY42" fmla="*/ 1382115 h 1544311"/>
                <a:gd name="connsiteX43" fmla="*/ 310059 w 509550"/>
                <a:gd name="connsiteY43" fmla="*/ 1367611 h 1544311"/>
                <a:gd name="connsiteX44" fmla="*/ 465978 w 509550"/>
                <a:gd name="connsiteY44" fmla="*/ 1101702 h 1544311"/>
                <a:gd name="connsiteX45" fmla="*/ 467187 w 509550"/>
                <a:gd name="connsiteY45" fmla="*/ 1123458 h 1544311"/>
                <a:gd name="connsiteX46" fmla="*/ 488944 w 509550"/>
                <a:gd name="connsiteY46" fmla="*/ 1121041 h 1544311"/>
                <a:gd name="connsiteX47" fmla="*/ 487734 w 509550"/>
                <a:gd name="connsiteY47" fmla="*/ 1100493 h 1544311"/>
                <a:gd name="connsiteX48" fmla="*/ 334233 w 509550"/>
                <a:gd name="connsiteY48" fmla="*/ 1291464 h 1544311"/>
                <a:gd name="connsiteX49" fmla="*/ 333024 w 509550"/>
                <a:gd name="connsiteY49" fmla="*/ 1303550 h 1544311"/>
                <a:gd name="connsiteX50" fmla="*/ 343902 w 509550"/>
                <a:gd name="connsiteY50" fmla="*/ 1299925 h 1544311"/>
                <a:gd name="connsiteX51" fmla="*/ 343902 w 509550"/>
                <a:gd name="connsiteY51" fmla="*/ 1290256 h 1544311"/>
                <a:gd name="connsiteX52" fmla="*/ 468395 w 509550"/>
                <a:gd name="connsiteY52" fmla="*/ 1065442 h 1544311"/>
                <a:gd name="connsiteX53" fmla="*/ 469605 w 509550"/>
                <a:gd name="connsiteY53" fmla="*/ 1072694 h 1544311"/>
                <a:gd name="connsiteX54" fmla="*/ 476857 w 509550"/>
                <a:gd name="connsiteY54" fmla="*/ 1071485 h 1544311"/>
                <a:gd name="connsiteX55" fmla="*/ 476857 w 509550"/>
                <a:gd name="connsiteY55" fmla="*/ 1064233 h 1544311"/>
                <a:gd name="connsiteX56" fmla="*/ 430927 w 509550"/>
                <a:gd name="connsiteY56" fmla="*/ 1102910 h 1544311"/>
                <a:gd name="connsiteX57" fmla="*/ 432135 w 509550"/>
                <a:gd name="connsiteY57" fmla="*/ 1111372 h 1544311"/>
                <a:gd name="connsiteX58" fmla="*/ 440596 w 509550"/>
                <a:gd name="connsiteY58" fmla="*/ 1110162 h 1544311"/>
                <a:gd name="connsiteX59" fmla="*/ 440597 w 509550"/>
                <a:gd name="connsiteY59" fmla="*/ 1101702 h 1544311"/>
                <a:gd name="connsiteX60" fmla="*/ 336650 w 509550"/>
                <a:gd name="connsiteY60" fmla="*/ 1220152 h 1544311"/>
                <a:gd name="connsiteX61" fmla="*/ 337858 w 509550"/>
                <a:gd name="connsiteY61" fmla="*/ 1232239 h 1544311"/>
                <a:gd name="connsiteX62" fmla="*/ 347528 w 509550"/>
                <a:gd name="connsiteY62" fmla="*/ 1229822 h 1544311"/>
                <a:gd name="connsiteX63" fmla="*/ 347528 w 509550"/>
                <a:gd name="connsiteY63" fmla="*/ 1220153 h 1544311"/>
                <a:gd name="connsiteX64" fmla="*/ 294346 w 509550"/>
                <a:gd name="connsiteY64" fmla="*/ 1241909 h 1544311"/>
                <a:gd name="connsiteX65" fmla="*/ 294346 w 509550"/>
                <a:gd name="connsiteY65" fmla="*/ 1244326 h 1544311"/>
                <a:gd name="connsiteX66" fmla="*/ 296763 w 509550"/>
                <a:gd name="connsiteY66" fmla="*/ 1244326 h 1544311"/>
                <a:gd name="connsiteX67" fmla="*/ 296763 w 509550"/>
                <a:gd name="connsiteY67" fmla="*/ 1241909 h 1544311"/>
                <a:gd name="connsiteX68" fmla="*/ 346320 w 509550"/>
                <a:gd name="connsiteY68" fmla="*/ 1156092 h 1544311"/>
                <a:gd name="connsiteX69" fmla="*/ 347528 w 509550"/>
                <a:gd name="connsiteY69" fmla="*/ 1160927 h 1544311"/>
                <a:gd name="connsiteX70" fmla="*/ 352363 w 509550"/>
                <a:gd name="connsiteY70" fmla="*/ 1160927 h 1544311"/>
                <a:gd name="connsiteX71" fmla="*/ 351154 w 509550"/>
                <a:gd name="connsiteY71" fmla="*/ 1157301 h 1544311"/>
                <a:gd name="connsiteX72" fmla="*/ 229078 w 509550"/>
                <a:gd name="connsiteY72" fmla="*/ 1328934 h 1544311"/>
                <a:gd name="connsiteX73" fmla="*/ 230287 w 509550"/>
                <a:gd name="connsiteY73" fmla="*/ 1344646 h 1544311"/>
                <a:gd name="connsiteX74" fmla="*/ 245999 w 509550"/>
                <a:gd name="connsiteY74" fmla="*/ 1343438 h 1544311"/>
                <a:gd name="connsiteX75" fmla="*/ 245999 w 509550"/>
                <a:gd name="connsiteY75" fmla="*/ 1326516 h 1544311"/>
                <a:gd name="connsiteX76" fmla="*/ 451474 w 509550"/>
                <a:gd name="connsiteY76" fmla="*/ 989295 h 1544311"/>
                <a:gd name="connsiteX77" fmla="*/ 451474 w 509550"/>
                <a:gd name="connsiteY77" fmla="*/ 990504 h 1544311"/>
                <a:gd name="connsiteX78" fmla="*/ 452683 w 509550"/>
                <a:gd name="connsiteY78" fmla="*/ 990504 h 1544311"/>
                <a:gd name="connsiteX79" fmla="*/ 452683 w 509550"/>
                <a:gd name="connsiteY79" fmla="*/ 989295 h 1544311"/>
                <a:gd name="connsiteX80" fmla="*/ 428510 w 509550"/>
                <a:gd name="connsiteY80" fmla="*/ 1019512 h 1544311"/>
                <a:gd name="connsiteX81" fmla="*/ 428510 w 509550"/>
                <a:gd name="connsiteY81" fmla="*/ 1025555 h 1544311"/>
                <a:gd name="connsiteX82" fmla="*/ 434552 w 509550"/>
                <a:gd name="connsiteY82" fmla="*/ 1024347 h 1544311"/>
                <a:gd name="connsiteX83" fmla="*/ 434552 w 509550"/>
                <a:gd name="connsiteY83" fmla="*/ 1018303 h 1544311"/>
                <a:gd name="connsiteX84" fmla="*/ 308850 w 509550"/>
                <a:gd name="connsiteY84" fmla="*/ 1188727 h 1544311"/>
                <a:gd name="connsiteX85" fmla="*/ 310060 w 509550"/>
                <a:gd name="connsiteY85" fmla="*/ 1197187 h 1544311"/>
                <a:gd name="connsiteX86" fmla="*/ 318520 w 509550"/>
                <a:gd name="connsiteY86" fmla="*/ 1197187 h 1544311"/>
                <a:gd name="connsiteX87" fmla="*/ 317312 w 509550"/>
                <a:gd name="connsiteY87" fmla="*/ 1187518 h 1544311"/>
                <a:gd name="connsiteX88" fmla="*/ 236329 w 509550"/>
                <a:gd name="connsiteY88" fmla="*/ 1264873 h 1544311"/>
                <a:gd name="connsiteX89" fmla="*/ 237539 w 509550"/>
                <a:gd name="connsiteY89" fmla="*/ 1286629 h 1544311"/>
                <a:gd name="connsiteX90" fmla="*/ 258086 w 509550"/>
                <a:gd name="connsiteY90" fmla="*/ 1284212 h 1544311"/>
                <a:gd name="connsiteX91" fmla="*/ 256878 w 509550"/>
                <a:gd name="connsiteY91" fmla="*/ 1263665 h 1544311"/>
                <a:gd name="connsiteX92" fmla="*/ 237539 w 509550"/>
                <a:gd name="connsiteY92" fmla="*/ 1228613 h 1544311"/>
                <a:gd name="connsiteX93" fmla="*/ 238747 w 509550"/>
                <a:gd name="connsiteY93" fmla="*/ 1235865 h 1544311"/>
                <a:gd name="connsiteX94" fmla="*/ 245999 w 509550"/>
                <a:gd name="connsiteY94" fmla="*/ 1234657 h 1544311"/>
                <a:gd name="connsiteX95" fmla="*/ 245999 w 509550"/>
                <a:gd name="connsiteY95" fmla="*/ 1228613 h 1544311"/>
                <a:gd name="connsiteX96" fmla="*/ 258086 w 509550"/>
                <a:gd name="connsiteY96" fmla="*/ 1188727 h 1544311"/>
                <a:gd name="connsiteX97" fmla="*/ 258086 w 509550"/>
                <a:gd name="connsiteY97" fmla="*/ 1203231 h 1544311"/>
                <a:gd name="connsiteX98" fmla="*/ 273799 w 509550"/>
                <a:gd name="connsiteY98" fmla="*/ 1202022 h 1544311"/>
                <a:gd name="connsiteX99" fmla="*/ 270172 w 509550"/>
                <a:gd name="connsiteY99" fmla="*/ 1188727 h 1544311"/>
                <a:gd name="connsiteX100" fmla="*/ 420048 w 509550"/>
                <a:gd name="connsiteY100" fmla="*/ 936113 h 1544311"/>
                <a:gd name="connsiteX101" fmla="*/ 416423 w 509550"/>
                <a:gd name="connsiteY101" fmla="*/ 948200 h 1544311"/>
                <a:gd name="connsiteX102" fmla="*/ 417631 w 509550"/>
                <a:gd name="connsiteY102" fmla="*/ 963913 h 1544311"/>
                <a:gd name="connsiteX103" fmla="*/ 433344 w 509550"/>
                <a:gd name="connsiteY103" fmla="*/ 957869 h 1544311"/>
                <a:gd name="connsiteX104" fmla="*/ 445431 w 509550"/>
                <a:gd name="connsiteY104" fmla="*/ 957869 h 1544311"/>
                <a:gd name="connsiteX105" fmla="*/ 445431 w 509550"/>
                <a:gd name="connsiteY105" fmla="*/ 945782 h 1544311"/>
                <a:gd name="connsiteX106" fmla="*/ 444222 w 509550"/>
                <a:gd name="connsiteY106" fmla="*/ 931278 h 1544311"/>
                <a:gd name="connsiteX107" fmla="*/ 430927 w 509550"/>
                <a:gd name="connsiteY107" fmla="*/ 936113 h 1544311"/>
                <a:gd name="connsiteX108" fmla="*/ 201279 w 509550"/>
                <a:gd name="connsiteY108" fmla="*/ 1267290 h 1544311"/>
                <a:gd name="connsiteX109" fmla="*/ 201279 w 509550"/>
                <a:gd name="connsiteY109" fmla="*/ 1275752 h 1544311"/>
                <a:gd name="connsiteX110" fmla="*/ 209739 w 509550"/>
                <a:gd name="connsiteY110" fmla="*/ 1274542 h 1544311"/>
                <a:gd name="connsiteX111" fmla="*/ 210948 w 509550"/>
                <a:gd name="connsiteY111" fmla="*/ 1266082 h 1544311"/>
                <a:gd name="connsiteX112" fmla="*/ 456309 w 509550"/>
                <a:gd name="connsiteY112" fmla="*/ 862384 h 1544311"/>
                <a:gd name="connsiteX113" fmla="*/ 455101 w 509550"/>
                <a:gd name="connsiteY113" fmla="*/ 875679 h 1544311"/>
                <a:gd name="connsiteX114" fmla="*/ 468395 w 509550"/>
                <a:gd name="connsiteY114" fmla="*/ 873261 h 1544311"/>
                <a:gd name="connsiteX115" fmla="*/ 468395 w 509550"/>
                <a:gd name="connsiteY115" fmla="*/ 858757 h 1544311"/>
                <a:gd name="connsiteX116" fmla="*/ 273799 w 509550"/>
                <a:gd name="connsiteY116" fmla="*/ 1121041 h 1544311"/>
                <a:gd name="connsiteX117" fmla="*/ 276216 w 509550"/>
                <a:gd name="connsiteY117" fmla="*/ 1134336 h 1544311"/>
                <a:gd name="connsiteX118" fmla="*/ 290721 w 509550"/>
                <a:gd name="connsiteY118" fmla="*/ 1134336 h 1544311"/>
                <a:gd name="connsiteX119" fmla="*/ 289512 w 509550"/>
                <a:gd name="connsiteY119" fmla="*/ 1119832 h 1544311"/>
                <a:gd name="connsiteX120" fmla="*/ 311268 w 509550"/>
                <a:gd name="connsiteY120" fmla="*/ 1052146 h 1544311"/>
                <a:gd name="connsiteX121" fmla="*/ 310060 w 509550"/>
                <a:gd name="connsiteY121" fmla="*/ 1064233 h 1544311"/>
                <a:gd name="connsiteX122" fmla="*/ 310059 w 509550"/>
                <a:gd name="connsiteY122" fmla="*/ 1078737 h 1544311"/>
                <a:gd name="connsiteX123" fmla="*/ 324564 w 509550"/>
                <a:gd name="connsiteY123" fmla="*/ 1073902 h 1544311"/>
                <a:gd name="connsiteX124" fmla="*/ 335441 w 509550"/>
                <a:gd name="connsiteY124" fmla="*/ 1075111 h 1544311"/>
                <a:gd name="connsiteX125" fmla="*/ 340276 w 509550"/>
                <a:gd name="connsiteY125" fmla="*/ 1063025 h 1544311"/>
                <a:gd name="connsiteX126" fmla="*/ 339068 w 509550"/>
                <a:gd name="connsiteY126" fmla="*/ 1048520 h 1544311"/>
                <a:gd name="connsiteX127" fmla="*/ 323354 w 509550"/>
                <a:gd name="connsiteY127" fmla="*/ 1053355 h 1544311"/>
                <a:gd name="connsiteX128" fmla="*/ 220618 w 509550"/>
                <a:gd name="connsiteY128" fmla="*/ 1152467 h 1544311"/>
                <a:gd name="connsiteX129" fmla="*/ 220618 w 509550"/>
                <a:gd name="connsiteY129" fmla="*/ 1153675 h 1544311"/>
                <a:gd name="connsiteX130" fmla="*/ 221826 w 509550"/>
                <a:gd name="connsiteY130" fmla="*/ 1153675 h 1544311"/>
                <a:gd name="connsiteX131" fmla="*/ 221825 w 509550"/>
                <a:gd name="connsiteY131" fmla="*/ 1152467 h 1544311"/>
                <a:gd name="connsiteX132" fmla="*/ 307642 w 509550"/>
                <a:gd name="connsiteY132" fmla="*/ 1017095 h 1544311"/>
                <a:gd name="connsiteX133" fmla="*/ 307642 w 509550"/>
                <a:gd name="connsiteY133" fmla="*/ 1018303 h 1544311"/>
                <a:gd name="connsiteX134" fmla="*/ 308850 w 509550"/>
                <a:gd name="connsiteY134" fmla="*/ 1018303 h 1544311"/>
                <a:gd name="connsiteX135" fmla="*/ 308850 w 509550"/>
                <a:gd name="connsiteY135" fmla="*/ 1017095 h 1544311"/>
                <a:gd name="connsiteX136" fmla="*/ 328189 w 509550"/>
                <a:gd name="connsiteY136" fmla="*/ 984460 h 1544311"/>
                <a:gd name="connsiteX137" fmla="*/ 326981 w 509550"/>
                <a:gd name="connsiteY137" fmla="*/ 990504 h 1544311"/>
                <a:gd name="connsiteX138" fmla="*/ 333024 w 509550"/>
                <a:gd name="connsiteY138" fmla="*/ 990504 h 1544311"/>
                <a:gd name="connsiteX139" fmla="*/ 333024 w 509550"/>
                <a:gd name="connsiteY139" fmla="*/ 984460 h 1544311"/>
                <a:gd name="connsiteX140" fmla="*/ 197652 w 509550"/>
                <a:gd name="connsiteY140" fmla="*/ 1182683 h 1544311"/>
                <a:gd name="connsiteX141" fmla="*/ 197652 w 509550"/>
                <a:gd name="connsiteY141" fmla="*/ 1188727 h 1544311"/>
                <a:gd name="connsiteX142" fmla="*/ 203696 w 509550"/>
                <a:gd name="connsiteY142" fmla="*/ 1187517 h 1544311"/>
                <a:gd name="connsiteX143" fmla="*/ 203696 w 509550"/>
                <a:gd name="connsiteY143" fmla="*/ 1181475 h 1544311"/>
                <a:gd name="connsiteX144" fmla="*/ 412796 w 509550"/>
                <a:gd name="connsiteY144" fmla="*/ 850297 h 1544311"/>
                <a:gd name="connsiteX145" fmla="*/ 412796 w 509550"/>
                <a:gd name="connsiteY145" fmla="*/ 867219 h 1544311"/>
                <a:gd name="connsiteX146" fmla="*/ 429718 w 509550"/>
                <a:gd name="connsiteY146" fmla="*/ 864802 h 1544311"/>
                <a:gd name="connsiteX147" fmla="*/ 427300 w 509550"/>
                <a:gd name="connsiteY147" fmla="*/ 849088 h 1544311"/>
                <a:gd name="connsiteX148" fmla="*/ 376536 w 509550"/>
                <a:gd name="connsiteY148" fmla="*/ 873262 h 1544311"/>
                <a:gd name="connsiteX149" fmla="*/ 377745 w 509550"/>
                <a:gd name="connsiteY149" fmla="*/ 881723 h 1544311"/>
                <a:gd name="connsiteX150" fmla="*/ 384997 w 509550"/>
                <a:gd name="connsiteY150" fmla="*/ 880513 h 1544311"/>
                <a:gd name="connsiteX151" fmla="*/ 384998 w 509550"/>
                <a:gd name="connsiteY151" fmla="*/ 873262 h 1544311"/>
                <a:gd name="connsiteX152" fmla="*/ 329398 w 509550"/>
                <a:gd name="connsiteY152" fmla="*/ 898644 h 1544311"/>
                <a:gd name="connsiteX153" fmla="*/ 328189 w 509550"/>
                <a:gd name="connsiteY153" fmla="*/ 907104 h 1544311"/>
                <a:gd name="connsiteX154" fmla="*/ 337859 w 509550"/>
                <a:gd name="connsiteY154" fmla="*/ 905897 h 1544311"/>
                <a:gd name="connsiteX155" fmla="*/ 337858 w 509550"/>
                <a:gd name="connsiteY155" fmla="*/ 897435 h 1544311"/>
                <a:gd name="connsiteX156" fmla="*/ 238747 w 509550"/>
                <a:gd name="connsiteY156" fmla="*/ 1031599 h 1544311"/>
                <a:gd name="connsiteX157" fmla="*/ 237539 w 509550"/>
                <a:gd name="connsiteY157" fmla="*/ 1046103 h 1544311"/>
                <a:gd name="connsiteX158" fmla="*/ 253251 w 509550"/>
                <a:gd name="connsiteY158" fmla="*/ 1046103 h 1544311"/>
                <a:gd name="connsiteX159" fmla="*/ 252043 w 509550"/>
                <a:gd name="connsiteY159" fmla="*/ 1032807 h 1544311"/>
                <a:gd name="connsiteX160" fmla="*/ 187983 w 509550"/>
                <a:gd name="connsiteY160" fmla="*/ 1099285 h 1544311"/>
                <a:gd name="connsiteX161" fmla="*/ 184357 w 509550"/>
                <a:gd name="connsiteY161" fmla="*/ 1111372 h 1544311"/>
                <a:gd name="connsiteX162" fmla="*/ 185565 w 509550"/>
                <a:gd name="connsiteY162" fmla="*/ 1127084 h 1544311"/>
                <a:gd name="connsiteX163" fmla="*/ 201279 w 509550"/>
                <a:gd name="connsiteY163" fmla="*/ 1121041 h 1544311"/>
                <a:gd name="connsiteX164" fmla="*/ 213365 w 509550"/>
                <a:gd name="connsiteY164" fmla="*/ 1121041 h 1544311"/>
                <a:gd name="connsiteX165" fmla="*/ 213366 w 509550"/>
                <a:gd name="connsiteY165" fmla="*/ 1108954 h 1544311"/>
                <a:gd name="connsiteX166" fmla="*/ 212156 w 509550"/>
                <a:gd name="connsiteY166" fmla="*/ 1094450 h 1544311"/>
                <a:gd name="connsiteX167" fmla="*/ 198861 w 509550"/>
                <a:gd name="connsiteY167" fmla="*/ 1099285 h 1544311"/>
                <a:gd name="connsiteX168" fmla="*/ 288303 w 509550"/>
                <a:gd name="connsiteY168" fmla="*/ 934905 h 1544311"/>
                <a:gd name="connsiteX169" fmla="*/ 288303 w 509550"/>
                <a:gd name="connsiteY169" fmla="*/ 942157 h 1544311"/>
                <a:gd name="connsiteX170" fmla="*/ 295556 w 509550"/>
                <a:gd name="connsiteY170" fmla="*/ 943365 h 1544311"/>
                <a:gd name="connsiteX171" fmla="*/ 295555 w 509550"/>
                <a:gd name="connsiteY171" fmla="*/ 934905 h 1544311"/>
                <a:gd name="connsiteX172" fmla="*/ 259295 w 509550"/>
                <a:gd name="connsiteY172" fmla="*/ 965121 h 1544311"/>
                <a:gd name="connsiteX173" fmla="*/ 261712 w 509550"/>
                <a:gd name="connsiteY173" fmla="*/ 978417 h 1544311"/>
                <a:gd name="connsiteX174" fmla="*/ 273799 w 509550"/>
                <a:gd name="connsiteY174" fmla="*/ 979625 h 1544311"/>
                <a:gd name="connsiteX175" fmla="*/ 275007 w 509550"/>
                <a:gd name="connsiteY175" fmla="*/ 965121 h 1544311"/>
                <a:gd name="connsiteX176" fmla="*/ 411588 w 509550"/>
                <a:gd name="connsiteY176" fmla="*/ 723386 h 1544311"/>
                <a:gd name="connsiteX177" fmla="*/ 411588 w 509550"/>
                <a:gd name="connsiteY177" fmla="*/ 725803 h 1544311"/>
                <a:gd name="connsiteX178" fmla="*/ 414006 w 509550"/>
                <a:gd name="connsiteY178" fmla="*/ 725803 h 1544311"/>
                <a:gd name="connsiteX179" fmla="*/ 414006 w 509550"/>
                <a:gd name="connsiteY179" fmla="*/ 723386 h 1544311"/>
                <a:gd name="connsiteX180" fmla="*/ 346320 w 509550"/>
                <a:gd name="connsiteY180" fmla="*/ 809202 h 1544311"/>
                <a:gd name="connsiteX181" fmla="*/ 347528 w 509550"/>
                <a:gd name="connsiteY181" fmla="*/ 824914 h 1544311"/>
                <a:gd name="connsiteX182" fmla="*/ 363241 w 509550"/>
                <a:gd name="connsiteY182" fmla="*/ 823706 h 1544311"/>
                <a:gd name="connsiteX183" fmla="*/ 363241 w 509550"/>
                <a:gd name="connsiteY183" fmla="*/ 806785 h 1544311"/>
                <a:gd name="connsiteX184" fmla="*/ 281051 w 509550"/>
                <a:gd name="connsiteY184" fmla="*/ 884140 h 1544311"/>
                <a:gd name="connsiteX185" fmla="*/ 281051 w 509550"/>
                <a:gd name="connsiteY185" fmla="*/ 904687 h 1544311"/>
                <a:gd name="connsiteX186" fmla="*/ 301598 w 509550"/>
                <a:gd name="connsiteY186" fmla="*/ 904687 h 1544311"/>
                <a:gd name="connsiteX187" fmla="*/ 301598 w 509550"/>
                <a:gd name="connsiteY187" fmla="*/ 882931 h 1544311"/>
                <a:gd name="connsiteX188" fmla="*/ 215783 w 509550"/>
                <a:gd name="connsiteY188" fmla="*/ 966330 h 1544311"/>
                <a:gd name="connsiteX189" fmla="*/ 214574 w 509550"/>
                <a:gd name="connsiteY189" fmla="*/ 974790 h 1544311"/>
                <a:gd name="connsiteX190" fmla="*/ 224243 w 509550"/>
                <a:gd name="connsiteY190" fmla="*/ 974790 h 1544311"/>
                <a:gd name="connsiteX191" fmla="*/ 224243 w 509550"/>
                <a:gd name="connsiteY191" fmla="*/ 966330 h 1544311"/>
                <a:gd name="connsiteX192" fmla="*/ 239956 w 509550"/>
                <a:gd name="connsiteY192" fmla="*/ 920400 h 1544311"/>
                <a:gd name="connsiteX193" fmla="*/ 239956 w 509550"/>
                <a:gd name="connsiteY193" fmla="*/ 924026 h 1544311"/>
                <a:gd name="connsiteX194" fmla="*/ 242374 w 509550"/>
                <a:gd name="connsiteY194" fmla="*/ 924026 h 1544311"/>
                <a:gd name="connsiteX195" fmla="*/ 242374 w 509550"/>
                <a:gd name="connsiteY195" fmla="*/ 920401 h 1544311"/>
                <a:gd name="connsiteX196" fmla="*/ 353572 w 509550"/>
                <a:gd name="connsiteY196" fmla="*/ 746351 h 1544311"/>
                <a:gd name="connsiteX197" fmla="*/ 354780 w 509550"/>
                <a:gd name="connsiteY197" fmla="*/ 768107 h 1544311"/>
                <a:gd name="connsiteX198" fmla="*/ 375328 w 509550"/>
                <a:gd name="connsiteY198" fmla="*/ 765690 h 1544311"/>
                <a:gd name="connsiteX199" fmla="*/ 374119 w 509550"/>
                <a:gd name="connsiteY199" fmla="*/ 745142 h 1544311"/>
                <a:gd name="connsiteX200" fmla="*/ 297973 w 509550"/>
                <a:gd name="connsiteY200" fmla="*/ 827332 h 1544311"/>
                <a:gd name="connsiteX201" fmla="*/ 296763 w 509550"/>
                <a:gd name="connsiteY201" fmla="*/ 844253 h 1544311"/>
                <a:gd name="connsiteX202" fmla="*/ 313685 w 509550"/>
                <a:gd name="connsiteY202" fmla="*/ 843045 h 1544311"/>
                <a:gd name="connsiteX203" fmla="*/ 313685 w 509550"/>
                <a:gd name="connsiteY203" fmla="*/ 827332 h 1544311"/>
                <a:gd name="connsiteX204" fmla="*/ 178313 w 509550"/>
                <a:gd name="connsiteY204" fmla="*/ 998964 h 1544311"/>
                <a:gd name="connsiteX205" fmla="*/ 179523 w 509550"/>
                <a:gd name="connsiteY205" fmla="*/ 1002591 h 1544311"/>
                <a:gd name="connsiteX206" fmla="*/ 183148 w 509550"/>
                <a:gd name="connsiteY206" fmla="*/ 1003799 h 1544311"/>
                <a:gd name="connsiteX207" fmla="*/ 183148 w 509550"/>
                <a:gd name="connsiteY207" fmla="*/ 998964 h 1544311"/>
                <a:gd name="connsiteX208" fmla="*/ 355989 w 509550"/>
                <a:gd name="connsiteY208" fmla="*/ 710091 h 1544311"/>
                <a:gd name="connsiteX209" fmla="*/ 357197 w 509550"/>
                <a:gd name="connsiteY209" fmla="*/ 717343 h 1544311"/>
                <a:gd name="connsiteX210" fmla="*/ 364449 w 509550"/>
                <a:gd name="connsiteY210" fmla="*/ 716133 h 1544311"/>
                <a:gd name="connsiteX211" fmla="*/ 364449 w 509550"/>
                <a:gd name="connsiteY211" fmla="*/ 708882 h 1544311"/>
                <a:gd name="connsiteX212" fmla="*/ 375328 w 509550"/>
                <a:gd name="connsiteY212" fmla="*/ 670204 h 1544311"/>
                <a:gd name="connsiteX213" fmla="*/ 375328 w 509550"/>
                <a:gd name="connsiteY213" fmla="*/ 684708 h 1544311"/>
                <a:gd name="connsiteX214" fmla="*/ 391040 w 509550"/>
                <a:gd name="connsiteY214" fmla="*/ 683500 h 1544311"/>
                <a:gd name="connsiteX215" fmla="*/ 387415 w 509550"/>
                <a:gd name="connsiteY215" fmla="*/ 670204 h 1544311"/>
                <a:gd name="connsiteX216" fmla="*/ 318519 w 509550"/>
                <a:gd name="connsiteY216" fmla="*/ 747559 h 1544311"/>
                <a:gd name="connsiteX217" fmla="*/ 318520 w 509550"/>
                <a:gd name="connsiteY217" fmla="*/ 756021 h 1544311"/>
                <a:gd name="connsiteX218" fmla="*/ 326981 w 509550"/>
                <a:gd name="connsiteY218" fmla="*/ 754811 h 1544311"/>
                <a:gd name="connsiteX219" fmla="*/ 328189 w 509550"/>
                <a:gd name="connsiteY219" fmla="*/ 746351 h 1544311"/>
                <a:gd name="connsiteX220" fmla="*/ 189192 w 509550"/>
                <a:gd name="connsiteY220" fmla="*/ 932487 h 1544311"/>
                <a:gd name="connsiteX221" fmla="*/ 187982 w 509550"/>
                <a:gd name="connsiteY221" fmla="*/ 942157 h 1544311"/>
                <a:gd name="connsiteX222" fmla="*/ 198861 w 509550"/>
                <a:gd name="connsiteY222" fmla="*/ 942157 h 1544311"/>
                <a:gd name="connsiteX223" fmla="*/ 198861 w 509550"/>
                <a:gd name="connsiteY223" fmla="*/ 931278 h 1544311"/>
                <a:gd name="connsiteX224" fmla="*/ 281051 w 509550"/>
                <a:gd name="connsiteY224" fmla="*/ 768107 h 1544311"/>
                <a:gd name="connsiteX225" fmla="*/ 281051 w 509550"/>
                <a:gd name="connsiteY225" fmla="*/ 775359 h 1544311"/>
                <a:gd name="connsiteX226" fmla="*/ 289511 w 509550"/>
                <a:gd name="connsiteY226" fmla="*/ 776567 h 1544311"/>
                <a:gd name="connsiteX227" fmla="*/ 288303 w 509550"/>
                <a:gd name="connsiteY227" fmla="*/ 768107 h 1544311"/>
                <a:gd name="connsiteX228" fmla="*/ 197652 w 509550"/>
                <a:gd name="connsiteY228" fmla="*/ 862384 h 1544311"/>
                <a:gd name="connsiteX229" fmla="*/ 197652 w 509550"/>
                <a:gd name="connsiteY229" fmla="*/ 872053 h 1544311"/>
                <a:gd name="connsiteX230" fmla="*/ 207321 w 509550"/>
                <a:gd name="connsiteY230" fmla="*/ 872053 h 1544311"/>
                <a:gd name="connsiteX231" fmla="*/ 208531 w 509550"/>
                <a:gd name="connsiteY231" fmla="*/ 859967 h 1544311"/>
                <a:gd name="connsiteX232" fmla="*/ 337858 w 509550"/>
                <a:gd name="connsiteY232" fmla="*/ 633943 h 1544311"/>
                <a:gd name="connsiteX233" fmla="*/ 337859 w 509550"/>
                <a:gd name="connsiteY233" fmla="*/ 635153 h 1544311"/>
                <a:gd name="connsiteX234" fmla="*/ 339068 w 509550"/>
                <a:gd name="connsiteY234" fmla="*/ 635153 h 1544311"/>
                <a:gd name="connsiteX235" fmla="*/ 339068 w 509550"/>
                <a:gd name="connsiteY235" fmla="*/ 633943 h 1544311"/>
                <a:gd name="connsiteX236" fmla="*/ 316102 w 509550"/>
                <a:gd name="connsiteY236" fmla="*/ 664161 h 1544311"/>
                <a:gd name="connsiteX237" fmla="*/ 316102 w 509550"/>
                <a:gd name="connsiteY237" fmla="*/ 670204 h 1544311"/>
                <a:gd name="connsiteX238" fmla="*/ 322146 w 509550"/>
                <a:gd name="connsiteY238" fmla="*/ 668996 h 1544311"/>
                <a:gd name="connsiteX239" fmla="*/ 322146 w 509550"/>
                <a:gd name="connsiteY239" fmla="*/ 662952 h 1544311"/>
                <a:gd name="connsiteX240" fmla="*/ 236329 w 509550"/>
                <a:gd name="connsiteY240" fmla="*/ 782611 h 1544311"/>
                <a:gd name="connsiteX241" fmla="*/ 236330 w 509550"/>
                <a:gd name="connsiteY241" fmla="*/ 797116 h 1544311"/>
                <a:gd name="connsiteX242" fmla="*/ 250834 w 509550"/>
                <a:gd name="connsiteY242" fmla="*/ 797115 h 1544311"/>
                <a:gd name="connsiteX243" fmla="*/ 253251 w 509550"/>
                <a:gd name="connsiteY243" fmla="*/ 780194 h 1544311"/>
                <a:gd name="connsiteX244" fmla="*/ 197652 w 509550"/>
                <a:gd name="connsiteY244" fmla="*/ 769315 h 1544311"/>
                <a:gd name="connsiteX245" fmla="*/ 197652 w 509550"/>
                <a:gd name="connsiteY245" fmla="*/ 782611 h 1544311"/>
                <a:gd name="connsiteX246" fmla="*/ 209739 w 509550"/>
                <a:gd name="connsiteY246" fmla="*/ 780194 h 1544311"/>
                <a:gd name="connsiteX247" fmla="*/ 212156 w 509550"/>
                <a:gd name="connsiteY247" fmla="*/ 768107 h 1544311"/>
                <a:gd name="connsiteX248" fmla="*/ 163809 w 509550"/>
                <a:gd name="connsiteY248" fmla="*/ 811620 h 1544311"/>
                <a:gd name="connsiteX249" fmla="*/ 162601 w 509550"/>
                <a:gd name="connsiteY249" fmla="*/ 824914 h 1544311"/>
                <a:gd name="connsiteX250" fmla="*/ 174688 w 509550"/>
                <a:gd name="connsiteY250" fmla="*/ 822497 h 1544311"/>
                <a:gd name="connsiteX251" fmla="*/ 177105 w 509550"/>
                <a:gd name="connsiteY251" fmla="*/ 811619 h 1544311"/>
                <a:gd name="connsiteX252" fmla="*/ 306433 w 509550"/>
                <a:gd name="connsiteY252" fmla="*/ 579554 h 1544311"/>
                <a:gd name="connsiteX253" fmla="*/ 302807 w 509550"/>
                <a:gd name="connsiteY253" fmla="*/ 591640 h 1544311"/>
                <a:gd name="connsiteX254" fmla="*/ 304015 w 509550"/>
                <a:gd name="connsiteY254" fmla="*/ 607352 h 1544311"/>
                <a:gd name="connsiteX255" fmla="*/ 319729 w 509550"/>
                <a:gd name="connsiteY255" fmla="*/ 601310 h 1544311"/>
                <a:gd name="connsiteX256" fmla="*/ 331816 w 509550"/>
                <a:gd name="connsiteY256" fmla="*/ 601310 h 1544311"/>
                <a:gd name="connsiteX257" fmla="*/ 331816 w 509550"/>
                <a:gd name="connsiteY257" fmla="*/ 589223 h 1544311"/>
                <a:gd name="connsiteX258" fmla="*/ 330606 w 509550"/>
                <a:gd name="connsiteY258" fmla="*/ 574719 h 1544311"/>
                <a:gd name="connsiteX259" fmla="*/ 317311 w 509550"/>
                <a:gd name="connsiteY259" fmla="*/ 579554 h 1544311"/>
                <a:gd name="connsiteX260" fmla="*/ 236329 w 509550"/>
                <a:gd name="connsiteY260" fmla="*/ 359574 h 1544311"/>
                <a:gd name="connsiteX261" fmla="*/ 235122 w 509550"/>
                <a:gd name="connsiteY261" fmla="*/ 371661 h 1544311"/>
                <a:gd name="connsiteX262" fmla="*/ 235122 w 509550"/>
                <a:gd name="connsiteY262" fmla="*/ 386165 h 1544311"/>
                <a:gd name="connsiteX263" fmla="*/ 248416 w 509550"/>
                <a:gd name="connsiteY263" fmla="*/ 381331 h 1544311"/>
                <a:gd name="connsiteX264" fmla="*/ 259295 w 509550"/>
                <a:gd name="connsiteY264" fmla="*/ 382538 h 1544311"/>
                <a:gd name="connsiteX265" fmla="*/ 264130 w 509550"/>
                <a:gd name="connsiteY265" fmla="*/ 371661 h 1544311"/>
                <a:gd name="connsiteX266" fmla="*/ 264130 w 509550"/>
                <a:gd name="connsiteY266" fmla="*/ 355947 h 1544311"/>
                <a:gd name="connsiteX267" fmla="*/ 248416 w 509550"/>
                <a:gd name="connsiteY267" fmla="*/ 360782 h 1544311"/>
                <a:gd name="connsiteX268" fmla="*/ 231495 w 509550"/>
                <a:gd name="connsiteY268" fmla="*/ 325731 h 1544311"/>
                <a:gd name="connsiteX269" fmla="*/ 231495 w 509550"/>
                <a:gd name="connsiteY269" fmla="*/ 326939 h 1544311"/>
                <a:gd name="connsiteX270" fmla="*/ 232704 w 509550"/>
                <a:gd name="connsiteY270" fmla="*/ 326939 h 1544311"/>
                <a:gd name="connsiteX271" fmla="*/ 232704 w 509550"/>
                <a:gd name="connsiteY271" fmla="*/ 325731 h 1544311"/>
                <a:gd name="connsiteX272" fmla="*/ 252043 w 509550"/>
                <a:gd name="connsiteY272" fmla="*/ 291888 h 1544311"/>
                <a:gd name="connsiteX273" fmla="*/ 252043 w 509550"/>
                <a:gd name="connsiteY273" fmla="*/ 297931 h 1544311"/>
                <a:gd name="connsiteX274" fmla="*/ 258086 w 509550"/>
                <a:gd name="connsiteY274" fmla="*/ 297931 h 1544311"/>
                <a:gd name="connsiteX275" fmla="*/ 258086 w 509550"/>
                <a:gd name="connsiteY275" fmla="*/ 291888 h 1544311"/>
                <a:gd name="connsiteX276" fmla="*/ 254460 w 509550"/>
                <a:gd name="connsiteY276" fmla="*/ 206072 h 1544311"/>
                <a:gd name="connsiteX277" fmla="*/ 253251 w 509550"/>
                <a:gd name="connsiteY277" fmla="*/ 213324 h 1544311"/>
                <a:gd name="connsiteX278" fmla="*/ 262920 w 509550"/>
                <a:gd name="connsiteY278" fmla="*/ 213324 h 1544311"/>
                <a:gd name="connsiteX279" fmla="*/ 262920 w 509550"/>
                <a:gd name="connsiteY279" fmla="*/ 204864 h 1544311"/>
                <a:gd name="connsiteX280" fmla="*/ 162601 w 509550"/>
                <a:gd name="connsiteY280" fmla="*/ 339026 h 1544311"/>
                <a:gd name="connsiteX281" fmla="*/ 161392 w 509550"/>
                <a:gd name="connsiteY281" fmla="*/ 353530 h 1544311"/>
                <a:gd name="connsiteX282" fmla="*/ 177105 w 509550"/>
                <a:gd name="connsiteY282" fmla="*/ 353530 h 1544311"/>
                <a:gd name="connsiteX283" fmla="*/ 175896 w 509550"/>
                <a:gd name="connsiteY283" fmla="*/ 340235 h 1544311"/>
                <a:gd name="connsiteX284" fmla="*/ 213365 w 509550"/>
                <a:gd name="connsiteY284" fmla="*/ 242332 h 1544311"/>
                <a:gd name="connsiteX285" fmla="*/ 213366 w 509550"/>
                <a:gd name="connsiteY285" fmla="*/ 249584 h 1544311"/>
                <a:gd name="connsiteX286" fmla="*/ 220618 w 509550"/>
                <a:gd name="connsiteY286" fmla="*/ 250793 h 1544311"/>
                <a:gd name="connsiteX287" fmla="*/ 220617 w 509550"/>
                <a:gd name="connsiteY287" fmla="*/ 242332 h 1544311"/>
                <a:gd name="connsiteX288" fmla="*/ 183148 w 509550"/>
                <a:gd name="connsiteY288" fmla="*/ 272550 h 1544311"/>
                <a:gd name="connsiteX289" fmla="*/ 185565 w 509550"/>
                <a:gd name="connsiteY289" fmla="*/ 285844 h 1544311"/>
                <a:gd name="connsiteX290" fmla="*/ 197652 w 509550"/>
                <a:gd name="connsiteY290" fmla="*/ 287054 h 1544311"/>
                <a:gd name="connsiteX291" fmla="*/ 198861 w 509550"/>
                <a:gd name="connsiteY291" fmla="*/ 272549 h 1544311"/>
                <a:gd name="connsiteX292" fmla="*/ 204904 w 509550"/>
                <a:gd name="connsiteY292" fmla="*/ 191567 h 1544311"/>
                <a:gd name="connsiteX293" fmla="*/ 204904 w 509550"/>
                <a:gd name="connsiteY293" fmla="*/ 212116 h 1544311"/>
                <a:gd name="connsiteX294" fmla="*/ 226660 w 509550"/>
                <a:gd name="connsiteY294" fmla="*/ 212116 h 1544311"/>
                <a:gd name="connsiteX295" fmla="*/ 225452 w 509550"/>
                <a:gd name="connsiteY295" fmla="*/ 190359 h 1544311"/>
                <a:gd name="connsiteX296" fmla="*/ 139636 w 509550"/>
                <a:gd name="connsiteY296" fmla="*/ 274967 h 1544311"/>
                <a:gd name="connsiteX297" fmla="*/ 138427 w 509550"/>
                <a:gd name="connsiteY297" fmla="*/ 283427 h 1544311"/>
                <a:gd name="connsiteX298" fmla="*/ 148097 w 509550"/>
                <a:gd name="connsiteY298" fmla="*/ 283427 h 1544311"/>
                <a:gd name="connsiteX299" fmla="*/ 148097 w 509550"/>
                <a:gd name="connsiteY299" fmla="*/ 274967 h 1544311"/>
                <a:gd name="connsiteX300" fmla="*/ 163809 w 509550"/>
                <a:gd name="connsiteY300" fmla="*/ 227828 h 1544311"/>
                <a:gd name="connsiteX301" fmla="*/ 163809 w 509550"/>
                <a:gd name="connsiteY301" fmla="*/ 231454 h 1544311"/>
                <a:gd name="connsiteX302" fmla="*/ 166226 w 509550"/>
                <a:gd name="connsiteY302" fmla="*/ 231454 h 1544311"/>
                <a:gd name="connsiteX303" fmla="*/ 166227 w 509550"/>
                <a:gd name="connsiteY303" fmla="*/ 227828 h 1544311"/>
                <a:gd name="connsiteX304" fmla="*/ 221825 w 509550"/>
                <a:gd name="connsiteY304" fmla="*/ 134760 h 1544311"/>
                <a:gd name="connsiteX305" fmla="*/ 220617 w 509550"/>
                <a:gd name="connsiteY305" fmla="*/ 151682 h 1544311"/>
                <a:gd name="connsiteX306" fmla="*/ 237539 w 509550"/>
                <a:gd name="connsiteY306" fmla="*/ 150473 h 1544311"/>
                <a:gd name="connsiteX307" fmla="*/ 237539 w 509550"/>
                <a:gd name="connsiteY307" fmla="*/ 134760 h 1544311"/>
                <a:gd name="connsiteX308" fmla="*/ 102167 w 509550"/>
                <a:gd name="connsiteY308" fmla="*/ 307600 h 1544311"/>
                <a:gd name="connsiteX309" fmla="*/ 103375 w 509550"/>
                <a:gd name="connsiteY309" fmla="*/ 311227 h 1544311"/>
                <a:gd name="connsiteX310" fmla="*/ 107002 w 509550"/>
                <a:gd name="connsiteY310" fmla="*/ 312435 h 1544311"/>
                <a:gd name="connsiteX311" fmla="*/ 107002 w 509550"/>
                <a:gd name="connsiteY311" fmla="*/ 307600 h 1544311"/>
                <a:gd name="connsiteX312" fmla="*/ 113045 w 509550"/>
                <a:gd name="connsiteY312" fmla="*/ 239915 h 1544311"/>
                <a:gd name="connsiteX313" fmla="*/ 111837 w 509550"/>
                <a:gd name="connsiteY313" fmla="*/ 249584 h 1544311"/>
                <a:gd name="connsiteX314" fmla="*/ 122714 w 509550"/>
                <a:gd name="connsiteY314" fmla="*/ 249584 h 1544311"/>
                <a:gd name="connsiteX315" fmla="*/ 122714 w 509550"/>
                <a:gd name="connsiteY315" fmla="*/ 238707 h 1544311"/>
                <a:gd name="connsiteX316" fmla="*/ 206113 w 509550"/>
                <a:gd name="connsiteY316" fmla="*/ 76744 h 1544311"/>
                <a:gd name="connsiteX317" fmla="*/ 206113 w 509550"/>
                <a:gd name="connsiteY317" fmla="*/ 83996 h 1544311"/>
                <a:gd name="connsiteX318" fmla="*/ 214574 w 509550"/>
                <a:gd name="connsiteY318" fmla="*/ 85204 h 1544311"/>
                <a:gd name="connsiteX319" fmla="*/ 213366 w 509550"/>
                <a:gd name="connsiteY319" fmla="*/ 76744 h 1544311"/>
                <a:gd name="connsiteX320" fmla="*/ 142053 w 509550"/>
                <a:gd name="connsiteY320" fmla="*/ 151682 h 1544311"/>
                <a:gd name="connsiteX321" fmla="*/ 139635 w 509550"/>
                <a:gd name="connsiteY321" fmla="*/ 162559 h 1544311"/>
                <a:gd name="connsiteX322" fmla="*/ 139635 w 509550"/>
                <a:gd name="connsiteY322" fmla="*/ 174646 h 1544311"/>
                <a:gd name="connsiteX323" fmla="*/ 151722 w 509550"/>
                <a:gd name="connsiteY323" fmla="*/ 172229 h 1544311"/>
                <a:gd name="connsiteX324" fmla="*/ 166226 w 509550"/>
                <a:gd name="connsiteY324" fmla="*/ 175855 h 1544311"/>
                <a:gd name="connsiteX325" fmla="*/ 162601 w 509550"/>
                <a:gd name="connsiteY325" fmla="*/ 161351 h 1544311"/>
                <a:gd name="connsiteX326" fmla="*/ 167436 w 509550"/>
                <a:gd name="connsiteY326" fmla="*/ 146847 h 1544311"/>
                <a:gd name="connsiteX327" fmla="*/ 152932 w 509550"/>
                <a:gd name="connsiteY327" fmla="*/ 146847 h 1544311"/>
                <a:gd name="connsiteX328" fmla="*/ 121506 w 509550"/>
                <a:gd name="connsiteY328" fmla="*/ 169811 h 1544311"/>
                <a:gd name="connsiteX329" fmla="*/ 121506 w 509550"/>
                <a:gd name="connsiteY329" fmla="*/ 179481 h 1544311"/>
                <a:gd name="connsiteX330" fmla="*/ 131175 w 509550"/>
                <a:gd name="connsiteY330" fmla="*/ 179481 h 1544311"/>
                <a:gd name="connsiteX331" fmla="*/ 132383 w 509550"/>
                <a:gd name="connsiteY331" fmla="*/ 167394 h 1544311"/>
                <a:gd name="connsiteX332" fmla="*/ 161392 w 509550"/>
                <a:gd name="connsiteY332" fmla="*/ 90038 h 1544311"/>
                <a:gd name="connsiteX333" fmla="*/ 161392 w 509550"/>
                <a:gd name="connsiteY333" fmla="*/ 104543 h 1544311"/>
                <a:gd name="connsiteX334" fmla="*/ 175896 w 509550"/>
                <a:gd name="connsiteY334" fmla="*/ 104543 h 1544311"/>
                <a:gd name="connsiteX335" fmla="*/ 177105 w 509550"/>
                <a:gd name="connsiteY335" fmla="*/ 87621 h 1544311"/>
                <a:gd name="connsiteX336" fmla="*/ 122714 w 509550"/>
                <a:gd name="connsiteY336" fmla="*/ 76744 h 1544311"/>
                <a:gd name="connsiteX337" fmla="*/ 122714 w 509550"/>
                <a:gd name="connsiteY337" fmla="*/ 90039 h 1544311"/>
                <a:gd name="connsiteX338" fmla="*/ 134801 w 509550"/>
                <a:gd name="connsiteY338" fmla="*/ 87621 h 1544311"/>
                <a:gd name="connsiteX339" fmla="*/ 137218 w 509550"/>
                <a:gd name="connsiteY339" fmla="*/ 75535 h 1544311"/>
                <a:gd name="connsiteX340" fmla="*/ 88871 w 509550"/>
                <a:gd name="connsiteY340" fmla="*/ 119047 h 1544311"/>
                <a:gd name="connsiteX341" fmla="*/ 87663 w 509550"/>
                <a:gd name="connsiteY341" fmla="*/ 132343 h 1544311"/>
                <a:gd name="connsiteX342" fmla="*/ 99750 w 509550"/>
                <a:gd name="connsiteY342" fmla="*/ 129926 h 1544311"/>
                <a:gd name="connsiteX343" fmla="*/ 102167 w 509550"/>
                <a:gd name="connsiteY343" fmla="*/ 119047 h 1544311"/>
                <a:gd name="connsiteX344" fmla="*/ 3357 w 509550"/>
                <a:gd name="connsiteY344" fmla="*/ 65374 h 1544311"/>
                <a:gd name="connsiteX345" fmla="*/ 26020 w 509550"/>
                <a:gd name="connsiteY345" fmla="*/ 46526 h 1544311"/>
                <a:gd name="connsiteX346" fmla="*/ 306433 w 509550"/>
                <a:gd name="connsiteY346" fmla="*/ 7849 h 1544311"/>
                <a:gd name="connsiteX347" fmla="*/ 347528 w 509550"/>
                <a:gd name="connsiteY347" fmla="*/ 17518 h 1544311"/>
                <a:gd name="connsiteX348" fmla="*/ 345110 w 509550"/>
                <a:gd name="connsiteY348" fmla="*/ 200029 h 1544311"/>
                <a:gd name="connsiteX349" fmla="*/ 323354 w 509550"/>
                <a:gd name="connsiteY349" fmla="*/ 303975 h 1544311"/>
                <a:gd name="connsiteX350" fmla="*/ 197652 w 509550"/>
                <a:gd name="connsiteY350" fmla="*/ 592848 h 1544311"/>
                <a:gd name="connsiteX351" fmla="*/ 180731 w 509550"/>
                <a:gd name="connsiteY351" fmla="*/ 716134 h 1544311"/>
                <a:gd name="connsiteX352" fmla="*/ 238747 w 509550"/>
                <a:gd name="connsiteY352" fmla="*/ 596475 h 1544311"/>
                <a:gd name="connsiteX353" fmla="*/ 348737 w 509550"/>
                <a:gd name="connsiteY353" fmla="*/ 435720 h 1544311"/>
                <a:gd name="connsiteX354" fmla="*/ 352362 w 509550"/>
                <a:gd name="connsiteY354" fmla="*/ 461103 h 1544311"/>
                <a:gd name="connsiteX355" fmla="*/ 398292 w 509550"/>
                <a:gd name="connsiteY355" fmla="*/ 604935 h 1544311"/>
                <a:gd name="connsiteX356" fmla="*/ 393457 w 509550"/>
                <a:gd name="connsiteY356" fmla="*/ 604935 h 1544311"/>
                <a:gd name="connsiteX357" fmla="*/ 395875 w 509550"/>
                <a:gd name="connsiteY357" fmla="*/ 618231 h 1544311"/>
                <a:gd name="connsiteX358" fmla="*/ 403127 w 509550"/>
                <a:gd name="connsiteY358" fmla="*/ 618231 h 1544311"/>
                <a:gd name="connsiteX359" fmla="*/ 452683 w 509550"/>
                <a:gd name="connsiteY359" fmla="*/ 781402 h 1544311"/>
                <a:gd name="connsiteX360" fmla="*/ 452683 w 509550"/>
                <a:gd name="connsiteY360" fmla="*/ 786237 h 1544311"/>
                <a:gd name="connsiteX361" fmla="*/ 453891 w 509550"/>
                <a:gd name="connsiteY361" fmla="*/ 786237 h 1544311"/>
                <a:gd name="connsiteX362" fmla="*/ 501030 w 509550"/>
                <a:gd name="connsiteY362" fmla="*/ 1019512 h 1544311"/>
                <a:gd name="connsiteX363" fmla="*/ 502239 w 509550"/>
                <a:gd name="connsiteY363" fmla="*/ 1027972 h 1544311"/>
                <a:gd name="connsiteX364" fmla="*/ 491361 w 509550"/>
                <a:gd name="connsiteY364" fmla="*/ 1027972 h 1544311"/>
                <a:gd name="connsiteX365" fmla="*/ 491361 w 509550"/>
                <a:gd name="connsiteY365" fmla="*/ 1042476 h 1544311"/>
                <a:gd name="connsiteX366" fmla="*/ 503448 w 509550"/>
                <a:gd name="connsiteY366" fmla="*/ 1041268 h 1544311"/>
                <a:gd name="connsiteX367" fmla="*/ 493778 w 509550"/>
                <a:gd name="connsiteY367" fmla="*/ 1395410 h 1544311"/>
                <a:gd name="connsiteX368" fmla="*/ 491361 w 509550"/>
                <a:gd name="connsiteY368" fmla="*/ 1395410 h 1544311"/>
                <a:gd name="connsiteX369" fmla="*/ 492569 w 509550"/>
                <a:gd name="connsiteY369" fmla="*/ 1401454 h 1544311"/>
                <a:gd name="connsiteX370" fmla="*/ 492569 w 509550"/>
                <a:gd name="connsiteY370" fmla="*/ 1402662 h 1544311"/>
                <a:gd name="connsiteX371" fmla="*/ 490151 w 509550"/>
                <a:gd name="connsiteY371" fmla="*/ 1493313 h 1544311"/>
                <a:gd name="connsiteX372" fmla="*/ 482899 w 509550"/>
                <a:gd name="connsiteY372" fmla="*/ 1494522 h 1544311"/>
                <a:gd name="connsiteX373" fmla="*/ 484109 w 509550"/>
                <a:gd name="connsiteY373" fmla="*/ 1510235 h 1544311"/>
                <a:gd name="connsiteX374" fmla="*/ 490151 w 509550"/>
                <a:gd name="connsiteY374" fmla="*/ 1510235 h 1544311"/>
                <a:gd name="connsiteX375" fmla="*/ 495558 w 509550"/>
                <a:gd name="connsiteY375" fmla="*/ 1544311 h 1544311"/>
                <a:gd name="connsiteX376" fmla="*/ 438506 w 509550"/>
                <a:gd name="connsiteY376" fmla="*/ 1506860 h 1544311"/>
                <a:gd name="connsiteX377" fmla="*/ 441352 w 509550"/>
                <a:gd name="connsiteY377" fmla="*/ 1494371 h 1544311"/>
                <a:gd name="connsiteX378" fmla="*/ 439387 w 509550"/>
                <a:gd name="connsiteY378" fmla="*/ 1480017 h 1544311"/>
                <a:gd name="connsiteX379" fmla="*/ 423221 w 509550"/>
                <a:gd name="connsiteY379" fmla="*/ 1496335 h 1544311"/>
                <a:gd name="connsiteX380" fmla="*/ 422928 w 509550"/>
                <a:gd name="connsiteY380" fmla="*/ 1496633 h 1544311"/>
                <a:gd name="connsiteX381" fmla="*/ 401919 w 509550"/>
                <a:gd name="connsiteY381" fmla="*/ 1482842 h 1544311"/>
                <a:gd name="connsiteX382" fmla="*/ 401919 w 509550"/>
                <a:gd name="connsiteY382" fmla="*/ 1475183 h 1544311"/>
                <a:gd name="connsiteX383" fmla="*/ 391475 w 509550"/>
                <a:gd name="connsiteY383" fmla="*/ 1475987 h 1544311"/>
                <a:gd name="connsiteX384" fmla="*/ 268314 w 509550"/>
                <a:gd name="connsiteY384" fmla="*/ 1395138 h 1544311"/>
                <a:gd name="connsiteX385" fmla="*/ 267755 w 509550"/>
                <a:gd name="connsiteY385" fmla="*/ 1391785 h 1544311"/>
                <a:gd name="connsiteX386" fmla="*/ 263206 w 509550"/>
                <a:gd name="connsiteY386" fmla="*/ 1391785 h 1544311"/>
                <a:gd name="connsiteX387" fmla="*/ 155146 w 509550"/>
                <a:gd name="connsiteY387" fmla="*/ 1320850 h 1544311"/>
                <a:gd name="connsiteX388" fmla="*/ 149097 w 509550"/>
                <a:gd name="connsiteY388" fmla="*/ 1279850 h 1544311"/>
                <a:gd name="connsiteX389" fmla="*/ 132383 w 509550"/>
                <a:gd name="connsiteY389" fmla="*/ 1130710 h 1544311"/>
                <a:gd name="connsiteX390" fmla="*/ 128758 w 509550"/>
                <a:gd name="connsiteY390" fmla="*/ 615814 h 1544311"/>
                <a:gd name="connsiteX391" fmla="*/ 11516 w 509550"/>
                <a:gd name="connsiteY391" fmla="*/ 121464 h 1544311"/>
                <a:gd name="connsiteX392" fmla="*/ 3357 w 509550"/>
                <a:gd name="connsiteY392" fmla="*/ 65374 h 154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Lst>
              <a:rect l="l" t="t" r="r" b="b"/>
              <a:pathLst>
                <a:path w="509550" h="1544311">
                  <a:moveTo>
                    <a:pt x="458726" y="1512653"/>
                  </a:moveTo>
                  <a:lnTo>
                    <a:pt x="459935" y="1517487"/>
                  </a:lnTo>
                  <a:lnTo>
                    <a:pt x="464770" y="1516278"/>
                  </a:lnTo>
                  <a:lnTo>
                    <a:pt x="463561" y="1512652"/>
                  </a:lnTo>
                  <a:close/>
                  <a:moveTo>
                    <a:pt x="450266" y="1431670"/>
                  </a:moveTo>
                  <a:lnTo>
                    <a:pt x="450266" y="1440132"/>
                  </a:lnTo>
                  <a:lnTo>
                    <a:pt x="458726" y="1438923"/>
                  </a:lnTo>
                  <a:lnTo>
                    <a:pt x="459936" y="1430462"/>
                  </a:lnTo>
                  <a:close/>
                  <a:moveTo>
                    <a:pt x="469605" y="1316847"/>
                  </a:moveTo>
                  <a:lnTo>
                    <a:pt x="469605" y="1318055"/>
                  </a:lnTo>
                  <a:lnTo>
                    <a:pt x="470813" y="1318055"/>
                  </a:lnTo>
                  <a:lnTo>
                    <a:pt x="470813" y="1316847"/>
                  </a:lnTo>
                  <a:close/>
                  <a:moveTo>
                    <a:pt x="447849" y="1348272"/>
                  </a:moveTo>
                  <a:lnTo>
                    <a:pt x="447849" y="1354315"/>
                  </a:lnTo>
                  <a:lnTo>
                    <a:pt x="453891" y="1353107"/>
                  </a:lnTo>
                  <a:lnTo>
                    <a:pt x="453891" y="1347063"/>
                  </a:lnTo>
                  <a:close/>
                  <a:moveTo>
                    <a:pt x="491361" y="1227404"/>
                  </a:moveTo>
                  <a:lnTo>
                    <a:pt x="492569" y="1235865"/>
                  </a:lnTo>
                  <a:lnTo>
                    <a:pt x="499821" y="1235865"/>
                  </a:lnTo>
                  <a:lnTo>
                    <a:pt x="498613" y="1228613"/>
                  </a:lnTo>
                  <a:close/>
                  <a:moveTo>
                    <a:pt x="439387" y="1263665"/>
                  </a:moveTo>
                  <a:lnTo>
                    <a:pt x="435762" y="1275752"/>
                  </a:lnTo>
                  <a:lnTo>
                    <a:pt x="436970" y="1291464"/>
                  </a:lnTo>
                  <a:lnTo>
                    <a:pt x="452683" y="1285421"/>
                  </a:lnTo>
                  <a:lnTo>
                    <a:pt x="464770" y="1285421"/>
                  </a:lnTo>
                  <a:lnTo>
                    <a:pt x="464770" y="1273334"/>
                  </a:lnTo>
                  <a:lnTo>
                    <a:pt x="463561" y="1258830"/>
                  </a:lnTo>
                  <a:lnTo>
                    <a:pt x="450266" y="1263665"/>
                  </a:lnTo>
                  <a:close/>
                  <a:moveTo>
                    <a:pt x="369284" y="1336186"/>
                  </a:moveTo>
                  <a:lnTo>
                    <a:pt x="369284" y="1348272"/>
                  </a:lnTo>
                  <a:lnTo>
                    <a:pt x="381371" y="1347063"/>
                  </a:lnTo>
                  <a:lnTo>
                    <a:pt x="381371" y="1333768"/>
                  </a:lnTo>
                  <a:close/>
                  <a:moveTo>
                    <a:pt x="339068" y="1380906"/>
                  </a:moveTo>
                  <a:lnTo>
                    <a:pt x="337858" y="1394202"/>
                  </a:lnTo>
                  <a:lnTo>
                    <a:pt x="351155" y="1391785"/>
                  </a:lnTo>
                  <a:lnTo>
                    <a:pt x="351154" y="1377280"/>
                  </a:lnTo>
                  <a:close/>
                  <a:moveTo>
                    <a:pt x="459935" y="1165762"/>
                  </a:moveTo>
                  <a:lnTo>
                    <a:pt x="461143" y="1181475"/>
                  </a:lnTo>
                  <a:lnTo>
                    <a:pt x="476857" y="1180266"/>
                  </a:lnTo>
                  <a:lnTo>
                    <a:pt x="476857" y="1163344"/>
                  </a:lnTo>
                  <a:close/>
                  <a:moveTo>
                    <a:pt x="295555" y="1368819"/>
                  </a:moveTo>
                  <a:lnTo>
                    <a:pt x="294346" y="1384532"/>
                  </a:lnTo>
                  <a:lnTo>
                    <a:pt x="311267" y="1382115"/>
                  </a:lnTo>
                  <a:lnTo>
                    <a:pt x="310059" y="1367611"/>
                  </a:lnTo>
                  <a:close/>
                  <a:moveTo>
                    <a:pt x="465978" y="1101702"/>
                  </a:moveTo>
                  <a:lnTo>
                    <a:pt x="467187" y="1123458"/>
                  </a:lnTo>
                  <a:lnTo>
                    <a:pt x="488944" y="1121041"/>
                  </a:lnTo>
                  <a:lnTo>
                    <a:pt x="487734" y="1100493"/>
                  </a:lnTo>
                  <a:close/>
                  <a:moveTo>
                    <a:pt x="334233" y="1291464"/>
                  </a:moveTo>
                  <a:lnTo>
                    <a:pt x="333024" y="1303550"/>
                  </a:lnTo>
                  <a:lnTo>
                    <a:pt x="343902" y="1299925"/>
                  </a:lnTo>
                  <a:lnTo>
                    <a:pt x="343902" y="1290256"/>
                  </a:lnTo>
                  <a:close/>
                  <a:moveTo>
                    <a:pt x="468395" y="1065442"/>
                  </a:moveTo>
                  <a:lnTo>
                    <a:pt x="469605" y="1072694"/>
                  </a:lnTo>
                  <a:lnTo>
                    <a:pt x="476857" y="1071485"/>
                  </a:lnTo>
                  <a:lnTo>
                    <a:pt x="476857" y="1064233"/>
                  </a:lnTo>
                  <a:close/>
                  <a:moveTo>
                    <a:pt x="430927" y="1102910"/>
                  </a:moveTo>
                  <a:lnTo>
                    <a:pt x="432135" y="1111372"/>
                  </a:lnTo>
                  <a:lnTo>
                    <a:pt x="440596" y="1110162"/>
                  </a:lnTo>
                  <a:lnTo>
                    <a:pt x="440597" y="1101702"/>
                  </a:lnTo>
                  <a:close/>
                  <a:moveTo>
                    <a:pt x="336650" y="1220152"/>
                  </a:moveTo>
                  <a:lnTo>
                    <a:pt x="337858" y="1232239"/>
                  </a:lnTo>
                  <a:lnTo>
                    <a:pt x="347528" y="1229822"/>
                  </a:lnTo>
                  <a:lnTo>
                    <a:pt x="347528" y="1220153"/>
                  </a:lnTo>
                  <a:close/>
                  <a:moveTo>
                    <a:pt x="294346" y="1241909"/>
                  </a:moveTo>
                  <a:lnTo>
                    <a:pt x="294346" y="1244326"/>
                  </a:lnTo>
                  <a:lnTo>
                    <a:pt x="296763" y="1244326"/>
                  </a:lnTo>
                  <a:lnTo>
                    <a:pt x="296763" y="1241909"/>
                  </a:lnTo>
                  <a:close/>
                  <a:moveTo>
                    <a:pt x="346320" y="1156092"/>
                  </a:moveTo>
                  <a:lnTo>
                    <a:pt x="347528" y="1160927"/>
                  </a:lnTo>
                  <a:lnTo>
                    <a:pt x="352363" y="1160927"/>
                  </a:lnTo>
                  <a:lnTo>
                    <a:pt x="351154" y="1157301"/>
                  </a:lnTo>
                  <a:close/>
                  <a:moveTo>
                    <a:pt x="229078" y="1328934"/>
                  </a:moveTo>
                  <a:lnTo>
                    <a:pt x="230287" y="1344646"/>
                  </a:lnTo>
                  <a:lnTo>
                    <a:pt x="245999" y="1343438"/>
                  </a:lnTo>
                  <a:lnTo>
                    <a:pt x="245999" y="1326516"/>
                  </a:lnTo>
                  <a:close/>
                  <a:moveTo>
                    <a:pt x="451474" y="989295"/>
                  </a:moveTo>
                  <a:lnTo>
                    <a:pt x="451474" y="990504"/>
                  </a:lnTo>
                  <a:lnTo>
                    <a:pt x="452683" y="990504"/>
                  </a:lnTo>
                  <a:lnTo>
                    <a:pt x="452683" y="989295"/>
                  </a:lnTo>
                  <a:close/>
                  <a:moveTo>
                    <a:pt x="428510" y="1019512"/>
                  </a:moveTo>
                  <a:lnTo>
                    <a:pt x="428510" y="1025555"/>
                  </a:lnTo>
                  <a:lnTo>
                    <a:pt x="434552" y="1024347"/>
                  </a:lnTo>
                  <a:lnTo>
                    <a:pt x="434552" y="1018303"/>
                  </a:lnTo>
                  <a:close/>
                  <a:moveTo>
                    <a:pt x="308850" y="1188727"/>
                  </a:moveTo>
                  <a:lnTo>
                    <a:pt x="310060" y="1197187"/>
                  </a:lnTo>
                  <a:lnTo>
                    <a:pt x="318520" y="1197187"/>
                  </a:lnTo>
                  <a:lnTo>
                    <a:pt x="317312" y="1187518"/>
                  </a:lnTo>
                  <a:close/>
                  <a:moveTo>
                    <a:pt x="236329" y="1264873"/>
                  </a:moveTo>
                  <a:lnTo>
                    <a:pt x="237539" y="1286629"/>
                  </a:lnTo>
                  <a:lnTo>
                    <a:pt x="258086" y="1284212"/>
                  </a:lnTo>
                  <a:lnTo>
                    <a:pt x="256878" y="1263665"/>
                  </a:lnTo>
                  <a:close/>
                  <a:moveTo>
                    <a:pt x="237539" y="1228613"/>
                  </a:moveTo>
                  <a:lnTo>
                    <a:pt x="238747" y="1235865"/>
                  </a:lnTo>
                  <a:lnTo>
                    <a:pt x="245999" y="1234657"/>
                  </a:lnTo>
                  <a:lnTo>
                    <a:pt x="245999" y="1228613"/>
                  </a:lnTo>
                  <a:close/>
                  <a:moveTo>
                    <a:pt x="258086" y="1188727"/>
                  </a:moveTo>
                  <a:lnTo>
                    <a:pt x="258086" y="1203231"/>
                  </a:lnTo>
                  <a:lnTo>
                    <a:pt x="273799" y="1202022"/>
                  </a:lnTo>
                  <a:lnTo>
                    <a:pt x="270172" y="1188727"/>
                  </a:lnTo>
                  <a:close/>
                  <a:moveTo>
                    <a:pt x="420048" y="936113"/>
                  </a:moveTo>
                  <a:lnTo>
                    <a:pt x="416423" y="948200"/>
                  </a:lnTo>
                  <a:lnTo>
                    <a:pt x="417631" y="963913"/>
                  </a:lnTo>
                  <a:lnTo>
                    <a:pt x="433344" y="957869"/>
                  </a:lnTo>
                  <a:lnTo>
                    <a:pt x="445431" y="957869"/>
                  </a:lnTo>
                  <a:lnTo>
                    <a:pt x="445431" y="945782"/>
                  </a:lnTo>
                  <a:lnTo>
                    <a:pt x="444222" y="931278"/>
                  </a:lnTo>
                  <a:lnTo>
                    <a:pt x="430927" y="936113"/>
                  </a:lnTo>
                  <a:close/>
                  <a:moveTo>
                    <a:pt x="201279" y="1267290"/>
                  </a:moveTo>
                  <a:lnTo>
                    <a:pt x="201279" y="1275752"/>
                  </a:lnTo>
                  <a:lnTo>
                    <a:pt x="209739" y="1274542"/>
                  </a:lnTo>
                  <a:lnTo>
                    <a:pt x="210948" y="1266082"/>
                  </a:lnTo>
                  <a:close/>
                  <a:moveTo>
                    <a:pt x="456309" y="862384"/>
                  </a:moveTo>
                  <a:lnTo>
                    <a:pt x="455101" y="875679"/>
                  </a:lnTo>
                  <a:lnTo>
                    <a:pt x="468395" y="873261"/>
                  </a:lnTo>
                  <a:lnTo>
                    <a:pt x="468395" y="858757"/>
                  </a:lnTo>
                  <a:close/>
                  <a:moveTo>
                    <a:pt x="273799" y="1121041"/>
                  </a:moveTo>
                  <a:lnTo>
                    <a:pt x="276216" y="1134336"/>
                  </a:lnTo>
                  <a:lnTo>
                    <a:pt x="290721" y="1134336"/>
                  </a:lnTo>
                  <a:lnTo>
                    <a:pt x="289512" y="1119832"/>
                  </a:lnTo>
                  <a:close/>
                  <a:moveTo>
                    <a:pt x="311268" y="1052146"/>
                  </a:moveTo>
                  <a:lnTo>
                    <a:pt x="310060" y="1064233"/>
                  </a:lnTo>
                  <a:lnTo>
                    <a:pt x="310059" y="1078737"/>
                  </a:lnTo>
                  <a:lnTo>
                    <a:pt x="324564" y="1073902"/>
                  </a:lnTo>
                  <a:lnTo>
                    <a:pt x="335441" y="1075111"/>
                  </a:lnTo>
                  <a:lnTo>
                    <a:pt x="340276" y="1063025"/>
                  </a:lnTo>
                  <a:lnTo>
                    <a:pt x="339068" y="1048520"/>
                  </a:lnTo>
                  <a:lnTo>
                    <a:pt x="323354" y="1053355"/>
                  </a:lnTo>
                  <a:close/>
                  <a:moveTo>
                    <a:pt x="220618" y="1152467"/>
                  </a:moveTo>
                  <a:lnTo>
                    <a:pt x="220618" y="1153675"/>
                  </a:lnTo>
                  <a:lnTo>
                    <a:pt x="221826" y="1153675"/>
                  </a:lnTo>
                  <a:lnTo>
                    <a:pt x="221825" y="1152467"/>
                  </a:lnTo>
                  <a:close/>
                  <a:moveTo>
                    <a:pt x="307642" y="1017095"/>
                  </a:moveTo>
                  <a:lnTo>
                    <a:pt x="307642" y="1018303"/>
                  </a:lnTo>
                  <a:lnTo>
                    <a:pt x="308850" y="1018303"/>
                  </a:lnTo>
                  <a:lnTo>
                    <a:pt x="308850" y="1017095"/>
                  </a:lnTo>
                  <a:close/>
                  <a:moveTo>
                    <a:pt x="328189" y="984460"/>
                  </a:moveTo>
                  <a:lnTo>
                    <a:pt x="326981" y="990504"/>
                  </a:lnTo>
                  <a:lnTo>
                    <a:pt x="333024" y="990504"/>
                  </a:lnTo>
                  <a:lnTo>
                    <a:pt x="333024" y="984460"/>
                  </a:lnTo>
                  <a:close/>
                  <a:moveTo>
                    <a:pt x="197652" y="1182683"/>
                  </a:moveTo>
                  <a:lnTo>
                    <a:pt x="197652" y="1188727"/>
                  </a:lnTo>
                  <a:lnTo>
                    <a:pt x="203696" y="1187517"/>
                  </a:lnTo>
                  <a:lnTo>
                    <a:pt x="203696" y="1181475"/>
                  </a:lnTo>
                  <a:close/>
                  <a:moveTo>
                    <a:pt x="412796" y="850297"/>
                  </a:moveTo>
                  <a:lnTo>
                    <a:pt x="412796" y="867219"/>
                  </a:lnTo>
                  <a:lnTo>
                    <a:pt x="429718" y="864802"/>
                  </a:lnTo>
                  <a:lnTo>
                    <a:pt x="427300" y="849088"/>
                  </a:lnTo>
                  <a:close/>
                  <a:moveTo>
                    <a:pt x="376536" y="873262"/>
                  </a:moveTo>
                  <a:lnTo>
                    <a:pt x="377745" y="881723"/>
                  </a:lnTo>
                  <a:lnTo>
                    <a:pt x="384997" y="880513"/>
                  </a:lnTo>
                  <a:lnTo>
                    <a:pt x="384998" y="873262"/>
                  </a:lnTo>
                  <a:close/>
                  <a:moveTo>
                    <a:pt x="329398" y="898644"/>
                  </a:moveTo>
                  <a:lnTo>
                    <a:pt x="328189" y="907104"/>
                  </a:lnTo>
                  <a:lnTo>
                    <a:pt x="337859" y="905897"/>
                  </a:lnTo>
                  <a:lnTo>
                    <a:pt x="337858" y="897435"/>
                  </a:lnTo>
                  <a:close/>
                  <a:moveTo>
                    <a:pt x="238747" y="1031599"/>
                  </a:moveTo>
                  <a:lnTo>
                    <a:pt x="237539" y="1046103"/>
                  </a:lnTo>
                  <a:lnTo>
                    <a:pt x="253251" y="1046103"/>
                  </a:lnTo>
                  <a:lnTo>
                    <a:pt x="252043" y="1032807"/>
                  </a:lnTo>
                  <a:close/>
                  <a:moveTo>
                    <a:pt x="187983" y="1099285"/>
                  </a:moveTo>
                  <a:lnTo>
                    <a:pt x="184357" y="1111372"/>
                  </a:lnTo>
                  <a:lnTo>
                    <a:pt x="185565" y="1127084"/>
                  </a:lnTo>
                  <a:lnTo>
                    <a:pt x="201279" y="1121041"/>
                  </a:lnTo>
                  <a:lnTo>
                    <a:pt x="213365" y="1121041"/>
                  </a:lnTo>
                  <a:lnTo>
                    <a:pt x="213366" y="1108954"/>
                  </a:lnTo>
                  <a:lnTo>
                    <a:pt x="212156" y="1094450"/>
                  </a:lnTo>
                  <a:lnTo>
                    <a:pt x="198861" y="1099285"/>
                  </a:lnTo>
                  <a:close/>
                  <a:moveTo>
                    <a:pt x="288303" y="934905"/>
                  </a:moveTo>
                  <a:lnTo>
                    <a:pt x="288303" y="942157"/>
                  </a:lnTo>
                  <a:lnTo>
                    <a:pt x="295556" y="943365"/>
                  </a:lnTo>
                  <a:lnTo>
                    <a:pt x="295555" y="934905"/>
                  </a:lnTo>
                  <a:close/>
                  <a:moveTo>
                    <a:pt x="259295" y="965121"/>
                  </a:moveTo>
                  <a:lnTo>
                    <a:pt x="261712" y="978417"/>
                  </a:lnTo>
                  <a:lnTo>
                    <a:pt x="273799" y="979625"/>
                  </a:lnTo>
                  <a:lnTo>
                    <a:pt x="275007" y="965121"/>
                  </a:lnTo>
                  <a:close/>
                  <a:moveTo>
                    <a:pt x="411588" y="723386"/>
                  </a:moveTo>
                  <a:lnTo>
                    <a:pt x="411588" y="725803"/>
                  </a:lnTo>
                  <a:lnTo>
                    <a:pt x="414006" y="725803"/>
                  </a:lnTo>
                  <a:lnTo>
                    <a:pt x="414006" y="723386"/>
                  </a:lnTo>
                  <a:close/>
                  <a:moveTo>
                    <a:pt x="346320" y="809202"/>
                  </a:moveTo>
                  <a:lnTo>
                    <a:pt x="347528" y="824914"/>
                  </a:lnTo>
                  <a:lnTo>
                    <a:pt x="363241" y="823706"/>
                  </a:lnTo>
                  <a:lnTo>
                    <a:pt x="363241" y="806785"/>
                  </a:lnTo>
                  <a:close/>
                  <a:moveTo>
                    <a:pt x="281051" y="884140"/>
                  </a:moveTo>
                  <a:lnTo>
                    <a:pt x="281051" y="904687"/>
                  </a:lnTo>
                  <a:lnTo>
                    <a:pt x="301598" y="904687"/>
                  </a:lnTo>
                  <a:lnTo>
                    <a:pt x="301598" y="882931"/>
                  </a:lnTo>
                  <a:close/>
                  <a:moveTo>
                    <a:pt x="215783" y="966330"/>
                  </a:moveTo>
                  <a:lnTo>
                    <a:pt x="214574" y="974790"/>
                  </a:lnTo>
                  <a:lnTo>
                    <a:pt x="224243" y="974790"/>
                  </a:lnTo>
                  <a:lnTo>
                    <a:pt x="224243" y="966330"/>
                  </a:lnTo>
                  <a:close/>
                  <a:moveTo>
                    <a:pt x="239956" y="920400"/>
                  </a:moveTo>
                  <a:lnTo>
                    <a:pt x="239956" y="924026"/>
                  </a:lnTo>
                  <a:lnTo>
                    <a:pt x="242374" y="924026"/>
                  </a:lnTo>
                  <a:lnTo>
                    <a:pt x="242374" y="920401"/>
                  </a:lnTo>
                  <a:close/>
                  <a:moveTo>
                    <a:pt x="353572" y="746351"/>
                  </a:moveTo>
                  <a:lnTo>
                    <a:pt x="354780" y="768107"/>
                  </a:lnTo>
                  <a:lnTo>
                    <a:pt x="375328" y="765690"/>
                  </a:lnTo>
                  <a:lnTo>
                    <a:pt x="374119" y="745142"/>
                  </a:lnTo>
                  <a:close/>
                  <a:moveTo>
                    <a:pt x="297973" y="827332"/>
                  </a:moveTo>
                  <a:lnTo>
                    <a:pt x="296763" y="844253"/>
                  </a:lnTo>
                  <a:lnTo>
                    <a:pt x="313685" y="843045"/>
                  </a:lnTo>
                  <a:lnTo>
                    <a:pt x="313685" y="827332"/>
                  </a:lnTo>
                  <a:close/>
                  <a:moveTo>
                    <a:pt x="178313" y="998964"/>
                  </a:moveTo>
                  <a:lnTo>
                    <a:pt x="179523" y="1002591"/>
                  </a:lnTo>
                  <a:lnTo>
                    <a:pt x="183148" y="1003799"/>
                  </a:lnTo>
                  <a:lnTo>
                    <a:pt x="183148" y="998964"/>
                  </a:lnTo>
                  <a:close/>
                  <a:moveTo>
                    <a:pt x="355989" y="710091"/>
                  </a:moveTo>
                  <a:lnTo>
                    <a:pt x="357197" y="717343"/>
                  </a:lnTo>
                  <a:lnTo>
                    <a:pt x="364449" y="716133"/>
                  </a:lnTo>
                  <a:lnTo>
                    <a:pt x="364449" y="708882"/>
                  </a:lnTo>
                  <a:close/>
                  <a:moveTo>
                    <a:pt x="375328" y="670204"/>
                  </a:moveTo>
                  <a:lnTo>
                    <a:pt x="375328" y="684708"/>
                  </a:lnTo>
                  <a:lnTo>
                    <a:pt x="391040" y="683500"/>
                  </a:lnTo>
                  <a:lnTo>
                    <a:pt x="387415" y="670204"/>
                  </a:lnTo>
                  <a:close/>
                  <a:moveTo>
                    <a:pt x="318519" y="747559"/>
                  </a:moveTo>
                  <a:lnTo>
                    <a:pt x="318520" y="756021"/>
                  </a:lnTo>
                  <a:lnTo>
                    <a:pt x="326981" y="754811"/>
                  </a:lnTo>
                  <a:lnTo>
                    <a:pt x="328189" y="746351"/>
                  </a:lnTo>
                  <a:close/>
                  <a:moveTo>
                    <a:pt x="189192" y="932487"/>
                  </a:moveTo>
                  <a:lnTo>
                    <a:pt x="187982" y="942157"/>
                  </a:lnTo>
                  <a:lnTo>
                    <a:pt x="198861" y="942157"/>
                  </a:lnTo>
                  <a:lnTo>
                    <a:pt x="198861" y="931278"/>
                  </a:lnTo>
                  <a:close/>
                  <a:moveTo>
                    <a:pt x="281051" y="768107"/>
                  </a:moveTo>
                  <a:lnTo>
                    <a:pt x="281051" y="775359"/>
                  </a:lnTo>
                  <a:lnTo>
                    <a:pt x="289511" y="776567"/>
                  </a:lnTo>
                  <a:lnTo>
                    <a:pt x="288303" y="768107"/>
                  </a:lnTo>
                  <a:close/>
                  <a:moveTo>
                    <a:pt x="197652" y="862384"/>
                  </a:moveTo>
                  <a:lnTo>
                    <a:pt x="197652" y="872053"/>
                  </a:lnTo>
                  <a:lnTo>
                    <a:pt x="207321" y="872053"/>
                  </a:lnTo>
                  <a:lnTo>
                    <a:pt x="208531" y="859967"/>
                  </a:lnTo>
                  <a:close/>
                  <a:moveTo>
                    <a:pt x="337858" y="633943"/>
                  </a:moveTo>
                  <a:lnTo>
                    <a:pt x="337859" y="635153"/>
                  </a:lnTo>
                  <a:lnTo>
                    <a:pt x="339068" y="635153"/>
                  </a:lnTo>
                  <a:lnTo>
                    <a:pt x="339068" y="633943"/>
                  </a:lnTo>
                  <a:close/>
                  <a:moveTo>
                    <a:pt x="316102" y="664161"/>
                  </a:moveTo>
                  <a:lnTo>
                    <a:pt x="316102" y="670204"/>
                  </a:lnTo>
                  <a:lnTo>
                    <a:pt x="322146" y="668996"/>
                  </a:lnTo>
                  <a:lnTo>
                    <a:pt x="322146" y="662952"/>
                  </a:lnTo>
                  <a:close/>
                  <a:moveTo>
                    <a:pt x="236329" y="782611"/>
                  </a:moveTo>
                  <a:lnTo>
                    <a:pt x="236330" y="797116"/>
                  </a:lnTo>
                  <a:lnTo>
                    <a:pt x="250834" y="797115"/>
                  </a:lnTo>
                  <a:lnTo>
                    <a:pt x="253251" y="780194"/>
                  </a:lnTo>
                  <a:close/>
                  <a:moveTo>
                    <a:pt x="197652" y="769315"/>
                  </a:moveTo>
                  <a:lnTo>
                    <a:pt x="197652" y="782611"/>
                  </a:lnTo>
                  <a:lnTo>
                    <a:pt x="209739" y="780194"/>
                  </a:lnTo>
                  <a:lnTo>
                    <a:pt x="212156" y="768107"/>
                  </a:lnTo>
                  <a:close/>
                  <a:moveTo>
                    <a:pt x="163809" y="811620"/>
                  </a:moveTo>
                  <a:lnTo>
                    <a:pt x="162601" y="824914"/>
                  </a:lnTo>
                  <a:lnTo>
                    <a:pt x="174688" y="822497"/>
                  </a:lnTo>
                  <a:lnTo>
                    <a:pt x="177105" y="811619"/>
                  </a:lnTo>
                  <a:close/>
                  <a:moveTo>
                    <a:pt x="306433" y="579554"/>
                  </a:moveTo>
                  <a:lnTo>
                    <a:pt x="302807" y="591640"/>
                  </a:lnTo>
                  <a:lnTo>
                    <a:pt x="304015" y="607352"/>
                  </a:lnTo>
                  <a:lnTo>
                    <a:pt x="319729" y="601310"/>
                  </a:lnTo>
                  <a:lnTo>
                    <a:pt x="331816" y="601310"/>
                  </a:lnTo>
                  <a:lnTo>
                    <a:pt x="331816" y="589223"/>
                  </a:lnTo>
                  <a:lnTo>
                    <a:pt x="330606" y="574719"/>
                  </a:lnTo>
                  <a:lnTo>
                    <a:pt x="317311" y="579554"/>
                  </a:lnTo>
                  <a:close/>
                  <a:moveTo>
                    <a:pt x="236329" y="359574"/>
                  </a:moveTo>
                  <a:lnTo>
                    <a:pt x="235122" y="371661"/>
                  </a:lnTo>
                  <a:lnTo>
                    <a:pt x="235122" y="386165"/>
                  </a:lnTo>
                  <a:lnTo>
                    <a:pt x="248416" y="381331"/>
                  </a:lnTo>
                  <a:lnTo>
                    <a:pt x="259295" y="382538"/>
                  </a:lnTo>
                  <a:lnTo>
                    <a:pt x="264130" y="371661"/>
                  </a:lnTo>
                  <a:lnTo>
                    <a:pt x="264130" y="355947"/>
                  </a:lnTo>
                  <a:lnTo>
                    <a:pt x="248416" y="360782"/>
                  </a:lnTo>
                  <a:close/>
                  <a:moveTo>
                    <a:pt x="231495" y="325731"/>
                  </a:moveTo>
                  <a:lnTo>
                    <a:pt x="231495" y="326939"/>
                  </a:lnTo>
                  <a:lnTo>
                    <a:pt x="232704" y="326939"/>
                  </a:lnTo>
                  <a:lnTo>
                    <a:pt x="232704" y="325731"/>
                  </a:lnTo>
                  <a:close/>
                  <a:moveTo>
                    <a:pt x="252043" y="291888"/>
                  </a:moveTo>
                  <a:lnTo>
                    <a:pt x="252043" y="297931"/>
                  </a:lnTo>
                  <a:lnTo>
                    <a:pt x="258086" y="297931"/>
                  </a:lnTo>
                  <a:lnTo>
                    <a:pt x="258086" y="291888"/>
                  </a:lnTo>
                  <a:close/>
                  <a:moveTo>
                    <a:pt x="254460" y="206072"/>
                  </a:moveTo>
                  <a:lnTo>
                    <a:pt x="253251" y="213324"/>
                  </a:lnTo>
                  <a:lnTo>
                    <a:pt x="262920" y="213324"/>
                  </a:lnTo>
                  <a:lnTo>
                    <a:pt x="262920" y="204864"/>
                  </a:lnTo>
                  <a:close/>
                  <a:moveTo>
                    <a:pt x="162601" y="339026"/>
                  </a:moveTo>
                  <a:lnTo>
                    <a:pt x="161392" y="353530"/>
                  </a:lnTo>
                  <a:lnTo>
                    <a:pt x="177105" y="353530"/>
                  </a:lnTo>
                  <a:lnTo>
                    <a:pt x="175896" y="340235"/>
                  </a:lnTo>
                  <a:close/>
                  <a:moveTo>
                    <a:pt x="213365" y="242332"/>
                  </a:moveTo>
                  <a:lnTo>
                    <a:pt x="213366" y="249584"/>
                  </a:lnTo>
                  <a:lnTo>
                    <a:pt x="220618" y="250793"/>
                  </a:lnTo>
                  <a:lnTo>
                    <a:pt x="220617" y="242332"/>
                  </a:lnTo>
                  <a:close/>
                  <a:moveTo>
                    <a:pt x="183148" y="272550"/>
                  </a:moveTo>
                  <a:lnTo>
                    <a:pt x="185565" y="285844"/>
                  </a:lnTo>
                  <a:lnTo>
                    <a:pt x="197652" y="287054"/>
                  </a:lnTo>
                  <a:lnTo>
                    <a:pt x="198861" y="272549"/>
                  </a:lnTo>
                  <a:close/>
                  <a:moveTo>
                    <a:pt x="204904" y="191567"/>
                  </a:moveTo>
                  <a:lnTo>
                    <a:pt x="204904" y="212116"/>
                  </a:lnTo>
                  <a:lnTo>
                    <a:pt x="226660" y="212116"/>
                  </a:lnTo>
                  <a:lnTo>
                    <a:pt x="225452" y="190359"/>
                  </a:lnTo>
                  <a:close/>
                  <a:moveTo>
                    <a:pt x="139636" y="274967"/>
                  </a:moveTo>
                  <a:lnTo>
                    <a:pt x="138427" y="283427"/>
                  </a:lnTo>
                  <a:lnTo>
                    <a:pt x="148097" y="283427"/>
                  </a:lnTo>
                  <a:lnTo>
                    <a:pt x="148097" y="274967"/>
                  </a:lnTo>
                  <a:close/>
                  <a:moveTo>
                    <a:pt x="163809" y="227828"/>
                  </a:moveTo>
                  <a:lnTo>
                    <a:pt x="163809" y="231454"/>
                  </a:lnTo>
                  <a:lnTo>
                    <a:pt x="166226" y="231454"/>
                  </a:lnTo>
                  <a:lnTo>
                    <a:pt x="166227" y="227828"/>
                  </a:lnTo>
                  <a:close/>
                  <a:moveTo>
                    <a:pt x="221825" y="134760"/>
                  </a:moveTo>
                  <a:lnTo>
                    <a:pt x="220617" y="151682"/>
                  </a:lnTo>
                  <a:lnTo>
                    <a:pt x="237539" y="150473"/>
                  </a:lnTo>
                  <a:lnTo>
                    <a:pt x="237539" y="134760"/>
                  </a:lnTo>
                  <a:close/>
                  <a:moveTo>
                    <a:pt x="102167" y="307600"/>
                  </a:moveTo>
                  <a:lnTo>
                    <a:pt x="103375" y="311227"/>
                  </a:lnTo>
                  <a:lnTo>
                    <a:pt x="107002" y="312435"/>
                  </a:lnTo>
                  <a:lnTo>
                    <a:pt x="107002" y="307600"/>
                  </a:lnTo>
                  <a:close/>
                  <a:moveTo>
                    <a:pt x="113045" y="239915"/>
                  </a:moveTo>
                  <a:lnTo>
                    <a:pt x="111837" y="249584"/>
                  </a:lnTo>
                  <a:lnTo>
                    <a:pt x="122714" y="249584"/>
                  </a:lnTo>
                  <a:lnTo>
                    <a:pt x="122714" y="238707"/>
                  </a:lnTo>
                  <a:close/>
                  <a:moveTo>
                    <a:pt x="206113" y="76744"/>
                  </a:moveTo>
                  <a:lnTo>
                    <a:pt x="206113" y="83996"/>
                  </a:lnTo>
                  <a:lnTo>
                    <a:pt x="214574" y="85204"/>
                  </a:lnTo>
                  <a:lnTo>
                    <a:pt x="213366" y="76744"/>
                  </a:lnTo>
                  <a:close/>
                  <a:moveTo>
                    <a:pt x="142053" y="151682"/>
                  </a:moveTo>
                  <a:lnTo>
                    <a:pt x="139635" y="162559"/>
                  </a:lnTo>
                  <a:lnTo>
                    <a:pt x="139635" y="174646"/>
                  </a:lnTo>
                  <a:lnTo>
                    <a:pt x="151722" y="172229"/>
                  </a:lnTo>
                  <a:lnTo>
                    <a:pt x="166226" y="175855"/>
                  </a:lnTo>
                  <a:lnTo>
                    <a:pt x="162601" y="161351"/>
                  </a:lnTo>
                  <a:lnTo>
                    <a:pt x="167436" y="146847"/>
                  </a:lnTo>
                  <a:lnTo>
                    <a:pt x="152932" y="146847"/>
                  </a:lnTo>
                  <a:close/>
                  <a:moveTo>
                    <a:pt x="121506" y="169811"/>
                  </a:moveTo>
                  <a:lnTo>
                    <a:pt x="121506" y="179481"/>
                  </a:lnTo>
                  <a:lnTo>
                    <a:pt x="131175" y="179481"/>
                  </a:lnTo>
                  <a:lnTo>
                    <a:pt x="132383" y="167394"/>
                  </a:lnTo>
                  <a:close/>
                  <a:moveTo>
                    <a:pt x="161392" y="90038"/>
                  </a:moveTo>
                  <a:lnTo>
                    <a:pt x="161392" y="104543"/>
                  </a:lnTo>
                  <a:lnTo>
                    <a:pt x="175896" y="104543"/>
                  </a:lnTo>
                  <a:lnTo>
                    <a:pt x="177105" y="87621"/>
                  </a:lnTo>
                  <a:close/>
                  <a:moveTo>
                    <a:pt x="122714" y="76744"/>
                  </a:moveTo>
                  <a:lnTo>
                    <a:pt x="122714" y="90039"/>
                  </a:lnTo>
                  <a:lnTo>
                    <a:pt x="134801" y="87621"/>
                  </a:lnTo>
                  <a:lnTo>
                    <a:pt x="137218" y="75535"/>
                  </a:lnTo>
                  <a:close/>
                  <a:moveTo>
                    <a:pt x="88871" y="119047"/>
                  </a:moveTo>
                  <a:lnTo>
                    <a:pt x="87663" y="132343"/>
                  </a:lnTo>
                  <a:lnTo>
                    <a:pt x="99750" y="129926"/>
                  </a:lnTo>
                  <a:lnTo>
                    <a:pt x="102167" y="119047"/>
                  </a:lnTo>
                  <a:close/>
                  <a:moveTo>
                    <a:pt x="3357" y="65374"/>
                  </a:moveTo>
                  <a:cubicBezTo>
                    <a:pt x="6983" y="57555"/>
                    <a:pt x="13933" y="50757"/>
                    <a:pt x="26020" y="46526"/>
                  </a:cubicBezTo>
                  <a:cubicBezTo>
                    <a:pt x="74367" y="29605"/>
                    <a:pt x="306433" y="7849"/>
                    <a:pt x="306433" y="7849"/>
                  </a:cubicBezTo>
                  <a:cubicBezTo>
                    <a:pt x="306433" y="7849"/>
                    <a:pt x="343902" y="-15116"/>
                    <a:pt x="347528" y="17518"/>
                  </a:cubicBezTo>
                  <a:cubicBezTo>
                    <a:pt x="348737" y="33231"/>
                    <a:pt x="346320" y="111795"/>
                    <a:pt x="345110" y="200029"/>
                  </a:cubicBezTo>
                  <a:cubicBezTo>
                    <a:pt x="341485" y="237497"/>
                    <a:pt x="330606" y="256836"/>
                    <a:pt x="323354" y="303975"/>
                  </a:cubicBezTo>
                  <a:cubicBezTo>
                    <a:pt x="302807" y="446599"/>
                    <a:pt x="230287" y="494946"/>
                    <a:pt x="197652" y="592848"/>
                  </a:cubicBezTo>
                  <a:cubicBezTo>
                    <a:pt x="175896" y="648447"/>
                    <a:pt x="180731" y="716134"/>
                    <a:pt x="180731" y="716134"/>
                  </a:cubicBezTo>
                  <a:cubicBezTo>
                    <a:pt x="180731" y="716134"/>
                    <a:pt x="178313" y="685917"/>
                    <a:pt x="238747" y="596475"/>
                  </a:cubicBezTo>
                  <a:cubicBezTo>
                    <a:pt x="264130" y="557797"/>
                    <a:pt x="313685" y="510658"/>
                    <a:pt x="348737" y="435720"/>
                  </a:cubicBezTo>
                  <a:cubicBezTo>
                    <a:pt x="349945" y="446599"/>
                    <a:pt x="351155" y="455059"/>
                    <a:pt x="352362" y="461103"/>
                  </a:cubicBezTo>
                  <a:cubicBezTo>
                    <a:pt x="358406" y="484067"/>
                    <a:pt x="376536" y="537249"/>
                    <a:pt x="398292" y="604935"/>
                  </a:cubicBezTo>
                  <a:lnTo>
                    <a:pt x="393457" y="604935"/>
                  </a:lnTo>
                  <a:lnTo>
                    <a:pt x="395875" y="618231"/>
                  </a:lnTo>
                  <a:lnTo>
                    <a:pt x="403127" y="618231"/>
                  </a:lnTo>
                  <a:cubicBezTo>
                    <a:pt x="418840" y="667786"/>
                    <a:pt x="436970" y="724595"/>
                    <a:pt x="452683" y="781402"/>
                  </a:cubicBezTo>
                  <a:lnTo>
                    <a:pt x="452683" y="786237"/>
                  </a:lnTo>
                  <a:lnTo>
                    <a:pt x="453891" y="786237"/>
                  </a:lnTo>
                  <a:cubicBezTo>
                    <a:pt x="476857" y="868427"/>
                    <a:pt x="496196" y="951826"/>
                    <a:pt x="501030" y="1019512"/>
                  </a:cubicBezTo>
                  <a:cubicBezTo>
                    <a:pt x="502238" y="1021929"/>
                    <a:pt x="502238" y="1025555"/>
                    <a:pt x="502239" y="1027972"/>
                  </a:cubicBezTo>
                  <a:lnTo>
                    <a:pt x="491361" y="1027972"/>
                  </a:lnTo>
                  <a:lnTo>
                    <a:pt x="491361" y="1042476"/>
                  </a:lnTo>
                  <a:lnTo>
                    <a:pt x="503448" y="1041268"/>
                  </a:lnTo>
                  <a:cubicBezTo>
                    <a:pt x="515535" y="1209274"/>
                    <a:pt x="508282" y="1332559"/>
                    <a:pt x="493778" y="1395410"/>
                  </a:cubicBezTo>
                  <a:lnTo>
                    <a:pt x="491361" y="1395410"/>
                  </a:lnTo>
                  <a:lnTo>
                    <a:pt x="492569" y="1401454"/>
                  </a:lnTo>
                  <a:cubicBezTo>
                    <a:pt x="492569" y="1401454"/>
                    <a:pt x="492569" y="1402662"/>
                    <a:pt x="492569" y="1402662"/>
                  </a:cubicBezTo>
                  <a:cubicBezTo>
                    <a:pt x="487734" y="1420793"/>
                    <a:pt x="487734" y="1453427"/>
                    <a:pt x="490151" y="1493313"/>
                  </a:cubicBezTo>
                  <a:lnTo>
                    <a:pt x="482899" y="1494522"/>
                  </a:lnTo>
                  <a:lnTo>
                    <a:pt x="484109" y="1510235"/>
                  </a:lnTo>
                  <a:lnTo>
                    <a:pt x="490151" y="1510235"/>
                  </a:lnTo>
                  <a:lnTo>
                    <a:pt x="495558" y="1544311"/>
                  </a:lnTo>
                  <a:lnTo>
                    <a:pt x="438506" y="1506860"/>
                  </a:lnTo>
                  <a:lnTo>
                    <a:pt x="441352" y="1494371"/>
                  </a:lnTo>
                  <a:cubicBezTo>
                    <a:pt x="442107" y="1484248"/>
                    <a:pt x="439387" y="1480017"/>
                    <a:pt x="439387" y="1480017"/>
                  </a:cubicBezTo>
                  <a:cubicBezTo>
                    <a:pt x="439387" y="1480017"/>
                    <a:pt x="433948" y="1485457"/>
                    <a:pt x="423221" y="1496335"/>
                  </a:cubicBezTo>
                  <a:lnTo>
                    <a:pt x="422928" y="1496633"/>
                  </a:lnTo>
                  <a:lnTo>
                    <a:pt x="401919" y="1482842"/>
                  </a:lnTo>
                  <a:lnTo>
                    <a:pt x="401919" y="1475183"/>
                  </a:lnTo>
                  <a:lnTo>
                    <a:pt x="391475" y="1475987"/>
                  </a:lnTo>
                  <a:lnTo>
                    <a:pt x="268314" y="1395138"/>
                  </a:lnTo>
                  <a:lnTo>
                    <a:pt x="267755" y="1391785"/>
                  </a:lnTo>
                  <a:lnTo>
                    <a:pt x="263206" y="1391785"/>
                  </a:lnTo>
                  <a:lnTo>
                    <a:pt x="155146" y="1320850"/>
                  </a:lnTo>
                  <a:lnTo>
                    <a:pt x="149097" y="1279850"/>
                  </a:lnTo>
                  <a:cubicBezTo>
                    <a:pt x="142279" y="1227329"/>
                    <a:pt x="136614" y="1176640"/>
                    <a:pt x="132383" y="1130710"/>
                  </a:cubicBezTo>
                  <a:cubicBezTo>
                    <a:pt x="115462" y="948199"/>
                    <a:pt x="161392" y="780194"/>
                    <a:pt x="128758" y="615814"/>
                  </a:cubicBezTo>
                  <a:cubicBezTo>
                    <a:pt x="99750" y="474398"/>
                    <a:pt x="11516" y="121464"/>
                    <a:pt x="11516" y="121464"/>
                  </a:cubicBezTo>
                  <a:cubicBezTo>
                    <a:pt x="11516" y="121464"/>
                    <a:pt x="-7521" y="88830"/>
                    <a:pt x="3357" y="65374"/>
                  </a:cubicBezTo>
                  <a:close/>
                </a:path>
              </a:pathLst>
            </a:custGeom>
            <a:grp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sp>
        <p:nvSpPr>
          <p:cNvPr id="18" name="Freeform 799">
            <a:extLst>
              <a:ext uri="{FF2B5EF4-FFF2-40B4-BE49-F238E27FC236}">
                <a16:creationId xmlns:a16="http://schemas.microsoft.com/office/drawing/2014/main" id="{52AD7D8C-FE8A-4319-6C9C-94078405BF44}"/>
              </a:ext>
            </a:extLst>
          </p:cNvPr>
          <p:cNvSpPr/>
          <p:nvPr/>
        </p:nvSpPr>
        <p:spPr>
          <a:xfrm flipH="1">
            <a:off x="10766840" y="5210993"/>
            <a:ext cx="566376" cy="632971"/>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rgbClr val="5C2020">
              <a:alpha val="75000"/>
            </a:srgb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9" name="Freeform: Shape 18">
            <a:extLst>
              <a:ext uri="{FF2B5EF4-FFF2-40B4-BE49-F238E27FC236}">
                <a16:creationId xmlns:a16="http://schemas.microsoft.com/office/drawing/2014/main" id="{C431899F-051F-7273-271D-4DF1A7C708E4}"/>
              </a:ext>
            </a:extLst>
          </p:cNvPr>
          <p:cNvSpPr/>
          <p:nvPr/>
        </p:nvSpPr>
        <p:spPr>
          <a:xfrm rot="4100337">
            <a:off x="2137949" y="6035369"/>
            <a:ext cx="963740" cy="1125050"/>
          </a:xfrm>
          <a:custGeom>
            <a:avLst/>
            <a:gdLst>
              <a:gd name="connsiteX0" fmla="*/ 41337 w 1099570"/>
              <a:gd name="connsiteY0" fmla="*/ 522532 h 1283615"/>
              <a:gd name="connsiteX1" fmla="*/ 55234 w 1099570"/>
              <a:gd name="connsiteY1" fmla="*/ 510263 h 1283615"/>
              <a:gd name="connsiteX2" fmla="*/ 75170 w 1099570"/>
              <a:gd name="connsiteY2" fmla="*/ 499529 h 1283615"/>
              <a:gd name="connsiteX3" fmla="*/ 82837 w 1099570"/>
              <a:gd name="connsiteY3" fmla="*/ 473459 h 1283615"/>
              <a:gd name="connsiteX4" fmla="*/ 96639 w 1099570"/>
              <a:gd name="connsiteY4" fmla="*/ 436655 h 1283615"/>
              <a:gd name="connsiteX5" fmla="*/ 108140 w 1099570"/>
              <a:gd name="connsiteY5" fmla="*/ 432054 h 1283615"/>
              <a:gd name="connsiteX6" fmla="*/ 122709 w 1099570"/>
              <a:gd name="connsiteY6" fmla="*/ 402917 h 1283615"/>
              <a:gd name="connsiteX7" fmla="*/ 142645 w 1099570"/>
              <a:gd name="connsiteY7" fmla="*/ 367647 h 1283615"/>
              <a:gd name="connsiteX8" fmla="*/ 154913 w 1099570"/>
              <a:gd name="connsiteY8" fmla="*/ 363813 h 1283615"/>
              <a:gd name="connsiteX9" fmla="*/ 172548 w 1099570"/>
              <a:gd name="connsiteY9" fmla="*/ 336210 h 1283615"/>
              <a:gd name="connsiteX10" fmla="*/ 197851 w 1099570"/>
              <a:gd name="connsiteY10" fmla="*/ 302472 h 1283615"/>
              <a:gd name="connsiteX11" fmla="*/ 210119 w 1099570"/>
              <a:gd name="connsiteY11" fmla="*/ 300172 h 1283615"/>
              <a:gd name="connsiteX12" fmla="*/ 229288 w 1099570"/>
              <a:gd name="connsiteY12" fmla="*/ 275636 h 1283615"/>
              <a:gd name="connsiteX13" fmla="*/ 262259 w 1099570"/>
              <a:gd name="connsiteY13" fmla="*/ 242665 h 1283615"/>
              <a:gd name="connsiteX14" fmla="*/ 293696 w 1099570"/>
              <a:gd name="connsiteY14" fmla="*/ 212762 h 1283615"/>
              <a:gd name="connsiteX15" fmla="*/ 325133 w 1099570"/>
              <a:gd name="connsiteY15" fmla="*/ 187459 h 1283615"/>
              <a:gd name="connsiteX16" fmla="*/ 365004 w 1099570"/>
              <a:gd name="connsiteY16" fmla="*/ 158322 h 1283615"/>
              <a:gd name="connsiteX17" fmla="*/ 395674 w 1099570"/>
              <a:gd name="connsiteY17" fmla="*/ 137620 h 1283615"/>
              <a:gd name="connsiteX18" fmla="*/ 407942 w 1099570"/>
              <a:gd name="connsiteY18" fmla="*/ 139920 h 1283615"/>
              <a:gd name="connsiteX19" fmla="*/ 437079 w 1099570"/>
              <a:gd name="connsiteY19" fmla="*/ 123051 h 1283615"/>
              <a:gd name="connsiteX20" fmla="*/ 442446 w 1099570"/>
              <a:gd name="connsiteY20" fmla="*/ 109250 h 1283615"/>
              <a:gd name="connsiteX21" fmla="*/ 470050 w 1099570"/>
              <a:gd name="connsiteY21" fmla="*/ 95448 h 1283615"/>
              <a:gd name="connsiteX22" fmla="*/ 472350 w 1099570"/>
              <a:gd name="connsiteY22" fmla="*/ 96215 h 1283615"/>
              <a:gd name="connsiteX23" fmla="*/ 521422 w 1099570"/>
              <a:gd name="connsiteY23" fmla="*/ 74746 h 1283615"/>
              <a:gd name="connsiteX24" fmla="*/ 558227 w 1099570"/>
              <a:gd name="connsiteY24" fmla="*/ 63244 h 1283615"/>
              <a:gd name="connsiteX25" fmla="*/ 599632 w 1099570"/>
              <a:gd name="connsiteY25" fmla="*/ 51743 h 1283615"/>
              <a:gd name="connsiteX26" fmla="*/ 604999 w 1099570"/>
              <a:gd name="connsiteY26" fmla="*/ 43308 h 1283615"/>
              <a:gd name="connsiteX27" fmla="*/ 638736 w 1099570"/>
              <a:gd name="connsiteY27" fmla="*/ 36408 h 1283615"/>
              <a:gd name="connsiteX28" fmla="*/ 683208 w 1099570"/>
              <a:gd name="connsiteY28" fmla="*/ 29507 h 1283615"/>
              <a:gd name="connsiteX29" fmla="*/ 729214 w 1099570"/>
              <a:gd name="connsiteY29" fmla="*/ 24906 h 1283615"/>
              <a:gd name="connsiteX30" fmla="*/ 758350 w 1099570"/>
              <a:gd name="connsiteY30" fmla="*/ 24906 h 1283615"/>
              <a:gd name="connsiteX31" fmla="*/ 775219 w 1099570"/>
              <a:gd name="connsiteY31" fmla="*/ 9571 h 1283615"/>
              <a:gd name="connsiteX32" fmla="*/ 806656 w 1099570"/>
              <a:gd name="connsiteY32" fmla="*/ 11105 h 1283615"/>
              <a:gd name="connsiteX33" fmla="*/ 847294 w 1099570"/>
              <a:gd name="connsiteY33" fmla="*/ 14172 h 1283615"/>
              <a:gd name="connsiteX34" fmla="*/ 859562 w 1099570"/>
              <a:gd name="connsiteY34" fmla="*/ 4970 h 1283615"/>
              <a:gd name="connsiteX35" fmla="*/ 886399 w 1099570"/>
              <a:gd name="connsiteY35" fmla="*/ 10338 h 1283615"/>
              <a:gd name="connsiteX36" fmla="*/ 892533 w 1099570"/>
              <a:gd name="connsiteY36" fmla="*/ 21073 h 1283615"/>
              <a:gd name="connsiteX37" fmla="*/ 914002 w 1099570"/>
              <a:gd name="connsiteY37" fmla="*/ 26440 h 1283615"/>
              <a:gd name="connsiteX38" fmla="*/ 940071 w 1099570"/>
              <a:gd name="connsiteY38" fmla="*/ 11105 h 1283615"/>
              <a:gd name="connsiteX39" fmla="*/ 963841 w 1099570"/>
              <a:gd name="connsiteY39" fmla="*/ 18772 h 1283615"/>
              <a:gd name="connsiteX40" fmla="*/ 968441 w 1099570"/>
              <a:gd name="connsiteY40" fmla="*/ 30274 h 1283615"/>
              <a:gd name="connsiteX41" fmla="*/ 990677 w 1099570"/>
              <a:gd name="connsiteY41" fmla="*/ 38708 h 1283615"/>
              <a:gd name="connsiteX42" fmla="*/ 1012913 w 1099570"/>
              <a:gd name="connsiteY42" fmla="*/ 27973 h 1283615"/>
              <a:gd name="connsiteX43" fmla="*/ 1037450 w 1099570"/>
              <a:gd name="connsiteY43" fmla="*/ 38708 h 1283615"/>
              <a:gd name="connsiteX44" fmla="*/ 1073487 w 1099570"/>
              <a:gd name="connsiteY44" fmla="*/ 55577 h 1283615"/>
              <a:gd name="connsiteX45" fmla="*/ 1082688 w 1099570"/>
              <a:gd name="connsiteY45" fmla="*/ 51743 h 1283615"/>
              <a:gd name="connsiteX46" fmla="*/ 1098215 w 1099570"/>
              <a:gd name="connsiteY46" fmla="*/ 50784 h 1283615"/>
              <a:gd name="connsiteX47" fmla="*/ 1099570 w 1099570"/>
              <a:gd name="connsiteY47" fmla="*/ 53321 h 1283615"/>
              <a:gd name="connsiteX48" fmla="*/ 610946 w 1099570"/>
              <a:gd name="connsiteY48" fmla="*/ 1283615 h 1283615"/>
              <a:gd name="connsiteX49" fmla="*/ 545168 w 1099570"/>
              <a:gd name="connsiteY49" fmla="*/ 1277152 h 1283615"/>
              <a:gd name="connsiteX50" fmla="*/ 336634 w 1099570"/>
              <a:gd name="connsiteY50" fmla="*/ 1188844 h 1283615"/>
              <a:gd name="connsiteX51" fmla="*/ 222387 w 1099570"/>
              <a:gd name="connsiteY51" fmla="*/ 1107567 h 1283615"/>
              <a:gd name="connsiteX52" fmla="*/ 146478 w 1099570"/>
              <a:gd name="connsiteY52" fmla="*/ 1050827 h 1283615"/>
              <a:gd name="connsiteX53" fmla="*/ 137277 w 1099570"/>
              <a:gd name="connsiteY53" fmla="*/ 1042393 h 1283615"/>
              <a:gd name="connsiteX54" fmla="*/ 99706 w 1099570"/>
              <a:gd name="connsiteY54" fmla="*/ 1001755 h 1283615"/>
              <a:gd name="connsiteX55" fmla="*/ 88972 w 1099570"/>
              <a:gd name="connsiteY55" fmla="*/ 984119 h 1283615"/>
              <a:gd name="connsiteX56" fmla="*/ 75170 w 1099570"/>
              <a:gd name="connsiteY56" fmla="*/ 956516 h 1283615"/>
              <a:gd name="connsiteX57" fmla="*/ 62902 w 1099570"/>
              <a:gd name="connsiteY57" fmla="*/ 947315 h 1283615"/>
              <a:gd name="connsiteX58" fmla="*/ 55234 w 1099570"/>
              <a:gd name="connsiteY58" fmla="*/ 920479 h 1283615"/>
              <a:gd name="connsiteX59" fmla="*/ 49867 w 1099570"/>
              <a:gd name="connsiteY59" fmla="*/ 898243 h 1283615"/>
              <a:gd name="connsiteX60" fmla="*/ 46033 w 1099570"/>
              <a:gd name="connsiteY60" fmla="*/ 895175 h 1283615"/>
              <a:gd name="connsiteX61" fmla="*/ 24564 w 1099570"/>
              <a:gd name="connsiteY61" fmla="*/ 875240 h 1283615"/>
              <a:gd name="connsiteX62" fmla="*/ 35299 w 1099570"/>
              <a:gd name="connsiteY62" fmla="*/ 851470 h 1283615"/>
              <a:gd name="connsiteX63" fmla="*/ 33765 w 1099570"/>
              <a:gd name="connsiteY63" fmla="*/ 836135 h 1283615"/>
              <a:gd name="connsiteX64" fmla="*/ 29931 w 1099570"/>
              <a:gd name="connsiteY64" fmla="*/ 833068 h 1283615"/>
              <a:gd name="connsiteX65" fmla="*/ 23797 w 1099570"/>
              <a:gd name="connsiteY65" fmla="*/ 783996 h 1283615"/>
              <a:gd name="connsiteX66" fmla="*/ 22264 w 1099570"/>
              <a:gd name="connsiteY66" fmla="*/ 764827 h 1283615"/>
              <a:gd name="connsiteX67" fmla="*/ 28 w 1099570"/>
              <a:gd name="connsiteY67" fmla="*/ 739524 h 1283615"/>
              <a:gd name="connsiteX68" fmla="*/ 19964 w 1099570"/>
              <a:gd name="connsiteY68" fmla="*/ 714988 h 1283615"/>
              <a:gd name="connsiteX69" fmla="*/ 19963 w 1099570"/>
              <a:gd name="connsiteY69" fmla="*/ 690451 h 1283615"/>
              <a:gd name="connsiteX70" fmla="*/ 12296 w 1099570"/>
              <a:gd name="connsiteY70" fmla="*/ 683551 h 1283615"/>
              <a:gd name="connsiteX71" fmla="*/ 13830 w 1099570"/>
              <a:gd name="connsiteY71" fmla="*/ 654414 h 1283615"/>
              <a:gd name="connsiteX72" fmla="*/ 29164 w 1099570"/>
              <a:gd name="connsiteY72" fmla="*/ 642146 h 1283615"/>
              <a:gd name="connsiteX73" fmla="*/ 30698 w 1099570"/>
              <a:gd name="connsiteY73" fmla="*/ 617609 h 1283615"/>
              <a:gd name="connsiteX74" fmla="*/ 22264 w 1099570"/>
              <a:gd name="connsiteY74" fmla="*/ 608408 h 1283615"/>
              <a:gd name="connsiteX75" fmla="*/ 25331 w 1099570"/>
              <a:gd name="connsiteY75" fmla="*/ 585406 h 1283615"/>
              <a:gd name="connsiteX76" fmla="*/ 48334 w 1099570"/>
              <a:gd name="connsiteY76" fmla="*/ 570071 h 1283615"/>
              <a:gd name="connsiteX77" fmla="*/ 52167 w 1099570"/>
              <a:gd name="connsiteY77" fmla="*/ 545534 h 1283615"/>
              <a:gd name="connsiteX78" fmla="*/ 47567 w 1099570"/>
              <a:gd name="connsiteY78" fmla="*/ 539400 h 1283615"/>
              <a:gd name="connsiteX79" fmla="*/ 41337 w 1099570"/>
              <a:gd name="connsiteY79" fmla="*/ 522532 h 128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99570" h="1283615">
                <a:moveTo>
                  <a:pt x="41337" y="522532"/>
                </a:moveTo>
                <a:cubicBezTo>
                  <a:pt x="42391" y="518314"/>
                  <a:pt x="46800" y="514864"/>
                  <a:pt x="55234" y="510263"/>
                </a:cubicBezTo>
                <a:cubicBezTo>
                  <a:pt x="61368" y="506430"/>
                  <a:pt x="69036" y="503363"/>
                  <a:pt x="75170" y="499529"/>
                </a:cubicBezTo>
                <a:cubicBezTo>
                  <a:pt x="88972" y="491094"/>
                  <a:pt x="89738" y="488028"/>
                  <a:pt x="82837" y="473459"/>
                </a:cubicBezTo>
                <a:cubicBezTo>
                  <a:pt x="72103" y="448923"/>
                  <a:pt x="72870" y="446623"/>
                  <a:pt x="96639" y="436655"/>
                </a:cubicBezTo>
                <a:cubicBezTo>
                  <a:pt x="100473" y="435121"/>
                  <a:pt x="104307" y="433588"/>
                  <a:pt x="108140" y="432054"/>
                </a:cubicBezTo>
                <a:cubicBezTo>
                  <a:pt x="125009" y="424387"/>
                  <a:pt x="126543" y="420553"/>
                  <a:pt x="122709" y="402917"/>
                </a:cubicBezTo>
                <a:cubicBezTo>
                  <a:pt x="116575" y="377615"/>
                  <a:pt x="117342" y="375314"/>
                  <a:pt x="142645" y="367647"/>
                </a:cubicBezTo>
                <a:cubicBezTo>
                  <a:pt x="146478" y="366113"/>
                  <a:pt x="151079" y="365346"/>
                  <a:pt x="154913" y="363813"/>
                </a:cubicBezTo>
                <a:cubicBezTo>
                  <a:pt x="172548" y="357679"/>
                  <a:pt x="174848" y="353845"/>
                  <a:pt x="172548" y="336210"/>
                </a:cubicBezTo>
                <a:cubicBezTo>
                  <a:pt x="169481" y="308606"/>
                  <a:pt x="170248" y="307073"/>
                  <a:pt x="197851" y="302472"/>
                </a:cubicBezTo>
                <a:cubicBezTo>
                  <a:pt x="201685" y="301706"/>
                  <a:pt x="206286" y="300939"/>
                  <a:pt x="210119" y="300172"/>
                </a:cubicBezTo>
                <a:cubicBezTo>
                  <a:pt x="223921" y="297872"/>
                  <a:pt x="229288" y="289437"/>
                  <a:pt x="229288" y="275636"/>
                </a:cubicBezTo>
                <a:cubicBezTo>
                  <a:pt x="230055" y="244965"/>
                  <a:pt x="230821" y="244965"/>
                  <a:pt x="262259" y="242665"/>
                </a:cubicBezTo>
                <a:cubicBezTo>
                  <a:pt x="286795" y="241132"/>
                  <a:pt x="289095" y="238065"/>
                  <a:pt x="293696" y="212762"/>
                </a:cubicBezTo>
                <a:cubicBezTo>
                  <a:pt x="298296" y="189759"/>
                  <a:pt x="300596" y="187459"/>
                  <a:pt x="325133" y="187459"/>
                </a:cubicBezTo>
                <a:cubicBezTo>
                  <a:pt x="355803" y="187459"/>
                  <a:pt x="355803" y="187459"/>
                  <a:pt x="365004" y="158322"/>
                </a:cubicBezTo>
                <a:cubicBezTo>
                  <a:pt x="371138" y="139153"/>
                  <a:pt x="375738" y="136086"/>
                  <a:pt x="395674" y="137620"/>
                </a:cubicBezTo>
                <a:cubicBezTo>
                  <a:pt x="399508" y="138386"/>
                  <a:pt x="404109" y="139153"/>
                  <a:pt x="407942" y="139920"/>
                </a:cubicBezTo>
                <a:cubicBezTo>
                  <a:pt x="424811" y="141453"/>
                  <a:pt x="429411" y="139153"/>
                  <a:pt x="437079" y="123051"/>
                </a:cubicBezTo>
                <a:cubicBezTo>
                  <a:pt x="439379" y="118451"/>
                  <a:pt x="440913" y="113850"/>
                  <a:pt x="442446" y="109250"/>
                </a:cubicBezTo>
                <a:cubicBezTo>
                  <a:pt x="449347" y="94681"/>
                  <a:pt x="454715" y="92381"/>
                  <a:pt x="470050" y="95448"/>
                </a:cubicBezTo>
                <a:cubicBezTo>
                  <a:pt x="470816" y="95448"/>
                  <a:pt x="471583" y="96215"/>
                  <a:pt x="472350" y="96215"/>
                </a:cubicBezTo>
                <a:cubicBezTo>
                  <a:pt x="503787" y="103116"/>
                  <a:pt x="503787" y="103116"/>
                  <a:pt x="521422" y="74746"/>
                </a:cubicBezTo>
                <a:cubicBezTo>
                  <a:pt x="532924" y="55576"/>
                  <a:pt x="536758" y="54810"/>
                  <a:pt x="558227" y="63244"/>
                </a:cubicBezTo>
                <a:cubicBezTo>
                  <a:pt x="582763" y="73212"/>
                  <a:pt x="584296" y="72445"/>
                  <a:pt x="599632" y="51743"/>
                </a:cubicBezTo>
                <a:cubicBezTo>
                  <a:pt x="601932" y="48676"/>
                  <a:pt x="603465" y="46375"/>
                  <a:pt x="604999" y="43308"/>
                </a:cubicBezTo>
                <a:cubicBezTo>
                  <a:pt x="617267" y="27973"/>
                  <a:pt x="623401" y="25673"/>
                  <a:pt x="638736" y="36408"/>
                </a:cubicBezTo>
                <a:cubicBezTo>
                  <a:pt x="660205" y="51743"/>
                  <a:pt x="667106" y="47909"/>
                  <a:pt x="683208" y="29507"/>
                </a:cubicBezTo>
                <a:cubicBezTo>
                  <a:pt x="704677" y="5737"/>
                  <a:pt x="704677" y="5737"/>
                  <a:pt x="729214" y="24906"/>
                </a:cubicBezTo>
                <a:cubicBezTo>
                  <a:pt x="739948" y="33341"/>
                  <a:pt x="748382" y="33341"/>
                  <a:pt x="758350" y="24906"/>
                </a:cubicBezTo>
                <a:cubicBezTo>
                  <a:pt x="763717" y="19539"/>
                  <a:pt x="769085" y="14172"/>
                  <a:pt x="775219" y="9571"/>
                </a:cubicBezTo>
                <a:cubicBezTo>
                  <a:pt x="789021" y="-1930"/>
                  <a:pt x="794388" y="-1163"/>
                  <a:pt x="806656" y="11105"/>
                </a:cubicBezTo>
                <a:cubicBezTo>
                  <a:pt x="825058" y="30274"/>
                  <a:pt x="825825" y="30274"/>
                  <a:pt x="847294" y="14172"/>
                </a:cubicBezTo>
                <a:cubicBezTo>
                  <a:pt x="851128" y="11105"/>
                  <a:pt x="854961" y="8038"/>
                  <a:pt x="859562" y="4970"/>
                </a:cubicBezTo>
                <a:cubicBezTo>
                  <a:pt x="872597" y="-2697"/>
                  <a:pt x="877964" y="-1930"/>
                  <a:pt x="886399" y="10338"/>
                </a:cubicBezTo>
                <a:cubicBezTo>
                  <a:pt x="888699" y="13405"/>
                  <a:pt x="890232" y="17239"/>
                  <a:pt x="892533" y="21073"/>
                </a:cubicBezTo>
                <a:cubicBezTo>
                  <a:pt x="897900" y="29507"/>
                  <a:pt x="905567" y="31040"/>
                  <a:pt x="914002" y="26440"/>
                </a:cubicBezTo>
                <a:cubicBezTo>
                  <a:pt x="922436" y="21839"/>
                  <a:pt x="930871" y="15705"/>
                  <a:pt x="940071" y="11105"/>
                </a:cubicBezTo>
                <a:cubicBezTo>
                  <a:pt x="953106" y="4204"/>
                  <a:pt x="957707" y="5737"/>
                  <a:pt x="963841" y="18772"/>
                </a:cubicBezTo>
                <a:cubicBezTo>
                  <a:pt x="965374" y="22606"/>
                  <a:pt x="966908" y="26440"/>
                  <a:pt x="968441" y="30274"/>
                </a:cubicBezTo>
                <a:cubicBezTo>
                  <a:pt x="973042" y="41008"/>
                  <a:pt x="980710" y="43308"/>
                  <a:pt x="990677" y="38708"/>
                </a:cubicBezTo>
                <a:cubicBezTo>
                  <a:pt x="998345" y="34874"/>
                  <a:pt x="1005246" y="31040"/>
                  <a:pt x="1012913" y="27973"/>
                </a:cubicBezTo>
                <a:cubicBezTo>
                  <a:pt x="1027482" y="21839"/>
                  <a:pt x="1032083" y="24140"/>
                  <a:pt x="1037450" y="38708"/>
                </a:cubicBezTo>
                <a:cubicBezTo>
                  <a:pt x="1047417" y="65544"/>
                  <a:pt x="1047417" y="65544"/>
                  <a:pt x="1073487" y="55577"/>
                </a:cubicBezTo>
                <a:cubicBezTo>
                  <a:pt x="1076554" y="54043"/>
                  <a:pt x="1079621" y="53276"/>
                  <a:pt x="1082688" y="51743"/>
                </a:cubicBezTo>
                <a:cubicBezTo>
                  <a:pt x="1090356" y="49442"/>
                  <a:pt x="1094957" y="48868"/>
                  <a:pt x="1098215" y="50784"/>
                </a:cubicBezTo>
                <a:lnTo>
                  <a:pt x="1099570" y="53321"/>
                </a:lnTo>
                <a:lnTo>
                  <a:pt x="610946" y="1283615"/>
                </a:lnTo>
                <a:lnTo>
                  <a:pt x="545168" y="1277152"/>
                </a:lnTo>
                <a:cubicBezTo>
                  <a:pt x="470050" y="1264752"/>
                  <a:pt x="399891" y="1237149"/>
                  <a:pt x="336634" y="1188844"/>
                </a:cubicBezTo>
                <a:cubicBezTo>
                  <a:pt x="299063" y="1160473"/>
                  <a:pt x="260725" y="1134404"/>
                  <a:pt x="222387" y="1107567"/>
                </a:cubicBezTo>
                <a:cubicBezTo>
                  <a:pt x="197084" y="1089165"/>
                  <a:pt x="171781" y="1069996"/>
                  <a:pt x="146478" y="1050827"/>
                </a:cubicBezTo>
                <a:cubicBezTo>
                  <a:pt x="143411" y="1048527"/>
                  <a:pt x="138044" y="1045460"/>
                  <a:pt x="137277" y="1042393"/>
                </a:cubicBezTo>
                <a:cubicBezTo>
                  <a:pt x="134210" y="1020157"/>
                  <a:pt x="114275" y="1013256"/>
                  <a:pt x="99706" y="1001755"/>
                </a:cubicBezTo>
                <a:cubicBezTo>
                  <a:pt x="93572" y="997154"/>
                  <a:pt x="85138" y="992554"/>
                  <a:pt x="88972" y="984119"/>
                </a:cubicBezTo>
                <a:cubicBezTo>
                  <a:pt x="95106" y="968784"/>
                  <a:pt x="85138" y="963417"/>
                  <a:pt x="75170" y="956516"/>
                </a:cubicBezTo>
                <a:cubicBezTo>
                  <a:pt x="71336" y="953449"/>
                  <a:pt x="67502" y="950382"/>
                  <a:pt x="62902" y="947315"/>
                </a:cubicBezTo>
                <a:cubicBezTo>
                  <a:pt x="52167" y="940414"/>
                  <a:pt x="46800" y="931980"/>
                  <a:pt x="55234" y="920479"/>
                </a:cubicBezTo>
                <a:cubicBezTo>
                  <a:pt x="62135" y="910511"/>
                  <a:pt x="59068" y="903610"/>
                  <a:pt x="49867" y="898243"/>
                </a:cubicBezTo>
                <a:cubicBezTo>
                  <a:pt x="48333" y="897476"/>
                  <a:pt x="46800" y="895942"/>
                  <a:pt x="46033" y="895175"/>
                </a:cubicBezTo>
                <a:cubicBezTo>
                  <a:pt x="38366" y="888275"/>
                  <a:pt x="27631" y="884441"/>
                  <a:pt x="24564" y="875240"/>
                </a:cubicBezTo>
                <a:cubicBezTo>
                  <a:pt x="21497" y="865272"/>
                  <a:pt x="30698" y="859138"/>
                  <a:pt x="35299" y="851470"/>
                </a:cubicBezTo>
                <a:cubicBezTo>
                  <a:pt x="39133" y="845336"/>
                  <a:pt x="39132" y="840736"/>
                  <a:pt x="33765" y="836135"/>
                </a:cubicBezTo>
                <a:cubicBezTo>
                  <a:pt x="32232" y="835368"/>
                  <a:pt x="31465" y="833835"/>
                  <a:pt x="29931" y="833068"/>
                </a:cubicBezTo>
                <a:cubicBezTo>
                  <a:pt x="5395" y="810065"/>
                  <a:pt x="4629" y="810065"/>
                  <a:pt x="23797" y="783996"/>
                </a:cubicBezTo>
                <a:cubicBezTo>
                  <a:pt x="29165" y="776328"/>
                  <a:pt x="28398" y="770961"/>
                  <a:pt x="22264" y="764827"/>
                </a:cubicBezTo>
                <a:cubicBezTo>
                  <a:pt x="14596" y="757159"/>
                  <a:pt x="-739" y="752559"/>
                  <a:pt x="28" y="739524"/>
                </a:cubicBezTo>
                <a:cubicBezTo>
                  <a:pt x="795" y="728023"/>
                  <a:pt x="13063" y="722655"/>
                  <a:pt x="19964" y="714988"/>
                </a:cubicBezTo>
                <a:cubicBezTo>
                  <a:pt x="30698" y="703486"/>
                  <a:pt x="30698" y="701953"/>
                  <a:pt x="19963" y="690451"/>
                </a:cubicBezTo>
                <a:cubicBezTo>
                  <a:pt x="17663" y="688151"/>
                  <a:pt x="14596" y="685851"/>
                  <a:pt x="12296" y="683551"/>
                </a:cubicBezTo>
                <a:cubicBezTo>
                  <a:pt x="-1506" y="670516"/>
                  <a:pt x="-1506" y="666682"/>
                  <a:pt x="13830" y="654414"/>
                </a:cubicBezTo>
                <a:cubicBezTo>
                  <a:pt x="19197" y="649813"/>
                  <a:pt x="24564" y="646746"/>
                  <a:pt x="29164" y="642146"/>
                </a:cubicBezTo>
                <a:cubicBezTo>
                  <a:pt x="40666" y="631411"/>
                  <a:pt x="40666" y="629111"/>
                  <a:pt x="30698" y="617609"/>
                </a:cubicBezTo>
                <a:cubicBezTo>
                  <a:pt x="27631" y="614542"/>
                  <a:pt x="24564" y="611475"/>
                  <a:pt x="22264" y="608408"/>
                </a:cubicBezTo>
                <a:cubicBezTo>
                  <a:pt x="13829" y="599974"/>
                  <a:pt x="16130" y="592306"/>
                  <a:pt x="25331" y="585406"/>
                </a:cubicBezTo>
                <a:cubicBezTo>
                  <a:pt x="32998" y="580039"/>
                  <a:pt x="40666" y="575438"/>
                  <a:pt x="48334" y="570071"/>
                </a:cubicBezTo>
                <a:cubicBezTo>
                  <a:pt x="59835" y="560869"/>
                  <a:pt x="60602" y="557802"/>
                  <a:pt x="52167" y="545534"/>
                </a:cubicBezTo>
                <a:cubicBezTo>
                  <a:pt x="50634" y="543234"/>
                  <a:pt x="49100" y="541700"/>
                  <a:pt x="47567" y="539400"/>
                </a:cubicBezTo>
                <a:cubicBezTo>
                  <a:pt x="42583" y="531733"/>
                  <a:pt x="40283" y="526749"/>
                  <a:pt x="41337" y="522532"/>
                </a:cubicBezTo>
                <a:close/>
              </a:path>
            </a:pathLst>
          </a:custGeom>
          <a:solidFill>
            <a:srgbClr val="5C2020">
              <a:alpha val="75000"/>
            </a:srgbClr>
          </a:solidFill>
          <a:ln w="12692" cap="flat">
            <a:noFill/>
            <a:prstDash val="solid"/>
            <a:miter/>
          </a:ln>
        </p:spPr>
        <p:txBody>
          <a:bodyPr wrap="square" rtlCol="0" anchor="ctr">
            <a:noAutofit/>
          </a:bodyP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20" name="Freeform: Shape 19">
            <a:extLst>
              <a:ext uri="{FF2B5EF4-FFF2-40B4-BE49-F238E27FC236}">
                <a16:creationId xmlns:a16="http://schemas.microsoft.com/office/drawing/2014/main" id="{3836EC5A-A239-3129-1CDD-5DDFB34AC41E}"/>
              </a:ext>
            </a:extLst>
          </p:cNvPr>
          <p:cNvSpPr/>
          <p:nvPr/>
        </p:nvSpPr>
        <p:spPr>
          <a:xfrm rot="3297807" flipH="1">
            <a:off x="-26772" y="5190265"/>
            <a:ext cx="612411" cy="632120"/>
          </a:xfrm>
          <a:custGeom>
            <a:avLst/>
            <a:gdLst>
              <a:gd name="connsiteX0" fmla="*/ 579345 w 612411"/>
              <a:gd name="connsiteY0" fmla="*/ 6761 h 632120"/>
              <a:gd name="connsiteX1" fmla="*/ 575429 w 612411"/>
              <a:gd name="connsiteY1" fmla="*/ 1179 h 632120"/>
              <a:gd name="connsiteX2" fmla="*/ 563293 w 612411"/>
              <a:gd name="connsiteY2" fmla="*/ 4080 h 632120"/>
              <a:gd name="connsiteX3" fmla="*/ 342958 w 612411"/>
              <a:gd name="connsiteY3" fmla="*/ 134487 h 632120"/>
              <a:gd name="connsiteX4" fmla="*/ 157109 w 612411"/>
              <a:gd name="connsiteY4" fmla="*/ 187538 h 632120"/>
              <a:gd name="connsiteX5" fmla="*/ 56444 w 612411"/>
              <a:gd name="connsiteY5" fmla="*/ 465470 h 632120"/>
              <a:gd name="connsiteX6" fmla="*/ 342172 w 612411"/>
              <a:gd name="connsiteY6" fmla="*/ 632120 h 632120"/>
              <a:gd name="connsiteX7" fmla="*/ 612411 w 612411"/>
              <a:gd name="connsiteY7" fmla="*/ 442639 h 632120"/>
              <a:gd name="connsiteX8" fmla="*/ 594224 w 612411"/>
              <a:gd name="connsiteY8" fmla="*/ 360596 h 632120"/>
              <a:gd name="connsiteX9" fmla="*/ 571242 w 612411"/>
              <a:gd name="connsiteY9" fmla="*/ 267638 h 632120"/>
              <a:gd name="connsiteX10" fmla="*/ 578719 w 612411"/>
              <a:gd name="connsiteY10" fmla="*/ 13069 h 632120"/>
              <a:gd name="connsiteX11" fmla="*/ 579345 w 612411"/>
              <a:gd name="connsiteY11" fmla="*/ 6761 h 63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11" h="632120">
                <a:moveTo>
                  <a:pt x="579345" y="6761"/>
                </a:moveTo>
                <a:cubicBezTo>
                  <a:pt x="578976" y="4615"/>
                  <a:pt x="577851" y="2590"/>
                  <a:pt x="575429" y="1179"/>
                </a:cubicBezTo>
                <a:cubicBezTo>
                  <a:pt x="570532" y="-1670"/>
                  <a:pt x="566031" y="1179"/>
                  <a:pt x="563293" y="4080"/>
                </a:cubicBezTo>
                <a:cubicBezTo>
                  <a:pt x="516384" y="52898"/>
                  <a:pt x="459180" y="99859"/>
                  <a:pt x="342958" y="134487"/>
                </a:cubicBezTo>
                <a:cubicBezTo>
                  <a:pt x="282150" y="152702"/>
                  <a:pt x="217787" y="166135"/>
                  <a:pt x="157109" y="187538"/>
                </a:cubicBezTo>
                <a:cubicBezTo>
                  <a:pt x="-24028" y="251383"/>
                  <a:pt x="-35453" y="411869"/>
                  <a:pt x="56444" y="465470"/>
                </a:cubicBezTo>
                <a:lnTo>
                  <a:pt x="342172" y="632120"/>
                </a:lnTo>
                <a:lnTo>
                  <a:pt x="612411" y="442639"/>
                </a:lnTo>
                <a:lnTo>
                  <a:pt x="594224" y="360596"/>
                </a:lnTo>
                <a:cubicBezTo>
                  <a:pt x="586307" y="329425"/>
                  <a:pt x="578034" y="298437"/>
                  <a:pt x="571242" y="267638"/>
                </a:cubicBezTo>
                <a:cubicBezTo>
                  <a:pt x="545182" y="150010"/>
                  <a:pt x="558607" y="77541"/>
                  <a:pt x="578719" y="13069"/>
                </a:cubicBezTo>
                <a:cubicBezTo>
                  <a:pt x="579325" y="11175"/>
                  <a:pt x="579713" y="8908"/>
                  <a:pt x="579345" y="6761"/>
                </a:cubicBezTo>
                <a:close/>
              </a:path>
            </a:pathLst>
          </a:custGeom>
          <a:solidFill>
            <a:srgbClr val="5C2020">
              <a:alpha val="75000"/>
            </a:srgb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3" name="Title 2">
            <a:extLst>
              <a:ext uri="{FF2B5EF4-FFF2-40B4-BE49-F238E27FC236}">
                <a16:creationId xmlns:a16="http://schemas.microsoft.com/office/drawing/2014/main" id="{3E96A641-68F8-ABAB-9006-20221D3C978A}"/>
              </a:ext>
            </a:extLst>
          </p:cNvPr>
          <p:cNvSpPr>
            <a:spLocks noGrp="1"/>
          </p:cNvSpPr>
          <p:nvPr>
            <p:ph type="title"/>
          </p:nvPr>
        </p:nvSpPr>
        <p:spPr/>
        <p:txBody>
          <a:bodyPr/>
          <a:lstStyle>
            <a:lvl1pPr>
              <a:defRPr>
                <a:latin typeface="+mj-lt"/>
              </a:defRPr>
            </a:lvl1pPr>
          </a:lstStyle>
          <a:p>
            <a:r>
              <a:rPr lang="en-US"/>
              <a:t>Click to edit Master title style</a:t>
            </a:r>
          </a:p>
        </p:txBody>
      </p:sp>
      <p:pic>
        <p:nvPicPr>
          <p:cNvPr id="14" name="Graphic 13">
            <a:extLst>
              <a:ext uri="{FF2B5EF4-FFF2-40B4-BE49-F238E27FC236}">
                <a16:creationId xmlns:a16="http://schemas.microsoft.com/office/drawing/2014/main" id="{CA5A7F57-9188-24FC-4312-5BC3EBB219E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65125" y="6116638"/>
            <a:ext cx="1349375" cy="381000"/>
          </a:xfrm>
          <a:prstGeom prst="rect">
            <a:avLst/>
          </a:prstGeom>
        </p:spPr>
      </p:pic>
      <p:sp>
        <p:nvSpPr>
          <p:cNvPr id="15" name="Slide Number Placeholder 5">
            <a:extLst>
              <a:ext uri="{FF2B5EF4-FFF2-40B4-BE49-F238E27FC236}">
                <a16:creationId xmlns:a16="http://schemas.microsoft.com/office/drawing/2014/main" id="{EDFDA67E-2F63-AA16-B39C-A89FAF26F7E7}"/>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tx1"/>
                </a:solidFill>
                <a:latin typeface="Gazpacho Light" pitchFamily="2" charset="77"/>
              </a:defRPr>
            </a:lvl1pPr>
          </a:lstStyle>
          <a:p>
            <a:fld id="{1C897F9F-178E-40FE-BBF0-CD11DAF3CBDC}" type="slidenum">
              <a:rPr lang="en-IN" smtClean="0">
                <a:solidFill>
                  <a:schemeClr val="accent5"/>
                </a:solidFill>
              </a:rPr>
              <a:pPr/>
              <a:t>‹#›</a:t>
            </a:fld>
            <a:endParaRPr lang="en-IN">
              <a:solidFill>
                <a:schemeClr val="accent5"/>
              </a:solidFill>
            </a:endParaRPr>
          </a:p>
        </p:txBody>
      </p:sp>
      <p:sp>
        <p:nvSpPr>
          <p:cNvPr id="2" name="Rectangle 1">
            <a:extLst>
              <a:ext uri="{FF2B5EF4-FFF2-40B4-BE49-F238E27FC236}">
                <a16:creationId xmlns:a16="http://schemas.microsoft.com/office/drawing/2014/main" id="{3DB8535F-D8B2-7F78-54BC-91E63054D2A3}"/>
              </a:ext>
            </a:extLst>
          </p:cNvPr>
          <p:cNvSpPr/>
          <p:nvPr userDrawn="1"/>
        </p:nvSpPr>
        <p:spPr>
          <a:xfrm>
            <a:off x="0" y="4817097"/>
            <a:ext cx="12192000" cy="20409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399">
              <a:latin typeface="TT Norms Pro" panose="02000503030000020003" pitchFamily="2" charset="0"/>
            </a:endParaRPr>
          </a:p>
        </p:txBody>
      </p:sp>
      <p:grpSp>
        <p:nvGrpSpPr>
          <p:cNvPr id="6" name="Group 5">
            <a:extLst>
              <a:ext uri="{FF2B5EF4-FFF2-40B4-BE49-F238E27FC236}">
                <a16:creationId xmlns:a16="http://schemas.microsoft.com/office/drawing/2014/main" id="{775E2A93-5B0C-8E04-2BDA-060EC9DE4EA3}"/>
              </a:ext>
            </a:extLst>
          </p:cNvPr>
          <p:cNvGrpSpPr/>
          <p:nvPr userDrawn="1"/>
        </p:nvGrpSpPr>
        <p:grpSpPr>
          <a:xfrm flipH="1">
            <a:off x="8959817" y="5987969"/>
            <a:ext cx="867269" cy="1042006"/>
            <a:chOff x="3159654" y="702626"/>
            <a:chExt cx="1585181" cy="1904562"/>
          </a:xfrm>
          <a:solidFill>
            <a:srgbClr val="5C2020">
              <a:alpha val="75000"/>
            </a:srgbClr>
          </a:solidFill>
        </p:grpSpPr>
        <p:sp>
          <p:nvSpPr>
            <p:cNvPr id="7" name="Freeform: Shape 6">
              <a:extLst>
                <a:ext uri="{FF2B5EF4-FFF2-40B4-BE49-F238E27FC236}">
                  <a16:creationId xmlns:a16="http://schemas.microsoft.com/office/drawing/2014/main" id="{25155385-B459-0FC2-FA51-DB14FC465818}"/>
                </a:ext>
              </a:extLst>
            </p:cNvPr>
            <p:cNvSpPr/>
            <p:nvPr/>
          </p:nvSpPr>
          <p:spPr>
            <a:xfrm rot="17521177">
              <a:off x="3636567" y="1088298"/>
              <a:ext cx="631355" cy="1585181"/>
            </a:xfrm>
            <a:custGeom>
              <a:avLst/>
              <a:gdLst>
                <a:gd name="connsiteX0" fmla="*/ 242506 w 511933"/>
                <a:gd name="connsiteY0" fmla="*/ 967087 h 1285341"/>
                <a:gd name="connsiteX1" fmla="*/ 239964 w 511933"/>
                <a:gd name="connsiteY1" fmla="*/ 975982 h 1285341"/>
                <a:gd name="connsiteX2" fmla="*/ 248859 w 511933"/>
                <a:gd name="connsiteY2" fmla="*/ 977253 h 1285341"/>
                <a:gd name="connsiteX3" fmla="*/ 252672 w 511933"/>
                <a:gd name="connsiteY3" fmla="*/ 968357 h 1285341"/>
                <a:gd name="connsiteX4" fmla="*/ 121784 w 511933"/>
                <a:gd name="connsiteY4" fmla="*/ 989961 h 1285341"/>
                <a:gd name="connsiteX5" fmla="*/ 121784 w 511933"/>
                <a:gd name="connsiteY5" fmla="*/ 995044 h 1285341"/>
                <a:gd name="connsiteX6" fmla="*/ 125597 w 511933"/>
                <a:gd name="connsiteY6" fmla="*/ 996314 h 1285341"/>
                <a:gd name="connsiteX7" fmla="*/ 125597 w 511933"/>
                <a:gd name="connsiteY7" fmla="*/ 991230 h 1285341"/>
                <a:gd name="connsiteX8" fmla="*/ 262838 w 511933"/>
                <a:gd name="connsiteY8" fmla="*/ 880676 h 1285341"/>
                <a:gd name="connsiteX9" fmla="*/ 261566 w 511933"/>
                <a:gd name="connsiteY9" fmla="*/ 887029 h 1285341"/>
                <a:gd name="connsiteX10" fmla="*/ 267921 w 511933"/>
                <a:gd name="connsiteY10" fmla="*/ 888301 h 1285341"/>
                <a:gd name="connsiteX11" fmla="*/ 269191 w 511933"/>
                <a:gd name="connsiteY11" fmla="*/ 881946 h 1285341"/>
                <a:gd name="connsiteX12" fmla="*/ 293336 w 511933"/>
                <a:gd name="connsiteY12" fmla="*/ 857802 h 1285341"/>
                <a:gd name="connsiteX13" fmla="*/ 293336 w 511933"/>
                <a:gd name="connsiteY13" fmla="*/ 859073 h 1285341"/>
                <a:gd name="connsiteX14" fmla="*/ 294606 w 511933"/>
                <a:gd name="connsiteY14" fmla="*/ 859073 h 1285341"/>
                <a:gd name="connsiteX15" fmla="*/ 294606 w 511933"/>
                <a:gd name="connsiteY15" fmla="*/ 857803 h 1285341"/>
                <a:gd name="connsiteX16" fmla="*/ 124325 w 511933"/>
                <a:gd name="connsiteY16" fmla="*/ 878135 h 1285341"/>
                <a:gd name="connsiteX17" fmla="*/ 119242 w 511933"/>
                <a:gd name="connsiteY17" fmla="*/ 890842 h 1285341"/>
                <a:gd name="connsiteX18" fmla="*/ 133221 w 511933"/>
                <a:gd name="connsiteY18" fmla="*/ 892112 h 1285341"/>
                <a:gd name="connsiteX19" fmla="*/ 138304 w 511933"/>
                <a:gd name="connsiteY19" fmla="*/ 878135 h 1285341"/>
                <a:gd name="connsiteX20" fmla="*/ 167531 w 511933"/>
                <a:gd name="connsiteY20" fmla="*/ 842553 h 1285341"/>
                <a:gd name="connsiteX21" fmla="*/ 163719 w 511933"/>
                <a:gd name="connsiteY21" fmla="*/ 853990 h 1285341"/>
                <a:gd name="connsiteX22" fmla="*/ 176427 w 511933"/>
                <a:gd name="connsiteY22" fmla="*/ 856531 h 1285341"/>
                <a:gd name="connsiteX23" fmla="*/ 180238 w 511933"/>
                <a:gd name="connsiteY23" fmla="*/ 842554 h 1285341"/>
                <a:gd name="connsiteX24" fmla="*/ 275545 w 511933"/>
                <a:gd name="connsiteY24" fmla="*/ 792993 h 1285341"/>
                <a:gd name="connsiteX25" fmla="*/ 269191 w 511933"/>
                <a:gd name="connsiteY25" fmla="*/ 804431 h 1285341"/>
                <a:gd name="connsiteX26" fmla="*/ 266649 w 511933"/>
                <a:gd name="connsiteY26" fmla="*/ 820950 h 1285341"/>
                <a:gd name="connsiteX27" fmla="*/ 284440 w 511933"/>
                <a:gd name="connsiteY27" fmla="*/ 819680 h 1285341"/>
                <a:gd name="connsiteX28" fmla="*/ 297147 w 511933"/>
                <a:gd name="connsiteY28" fmla="*/ 823492 h 1285341"/>
                <a:gd name="connsiteX29" fmla="*/ 300960 w 511933"/>
                <a:gd name="connsiteY29" fmla="*/ 810784 h 1285341"/>
                <a:gd name="connsiteX30" fmla="*/ 302230 w 511933"/>
                <a:gd name="connsiteY30" fmla="*/ 795535 h 1285341"/>
                <a:gd name="connsiteX31" fmla="*/ 286981 w 511933"/>
                <a:gd name="connsiteY31" fmla="*/ 796806 h 1285341"/>
                <a:gd name="connsiteX32" fmla="*/ 82391 w 511933"/>
                <a:gd name="connsiteY32" fmla="*/ 853990 h 1285341"/>
                <a:gd name="connsiteX33" fmla="*/ 77308 w 511933"/>
                <a:gd name="connsiteY33" fmla="*/ 870510 h 1285341"/>
                <a:gd name="connsiteX34" fmla="*/ 95099 w 511933"/>
                <a:gd name="connsiteY34" fmla="*/ 871780 h 1285341"/>
                <a:gd name="connsiteX35" fmla="*/ 97640 w 511933"/>
                <a:gd name="connsiteY35" fmla="*/ 856531 h 1285341"/>
                <a:gd name="connsiteX36" fmla="*/ 40456 w 511933"/>
                <a:gd name="connsiteY36" fmla="*/ 866697 h 1285341"/>
                <a:gd name="connsiteX37" fmla="*/ 39186 w 511933"/>
                <a:gd name="connsiteY37" fmla="*/ 875593 h 1285341"/>
                <a:gd name="connsiteX38" fmla="*/ 46810 w 511933"/>
                <a:gd name="connsiteY38" fmla="*/ 876863 h 1285341"/>
                <a:gd name="connsiteX39" fmla="*/ 49352 w 511933"/>
                <a:gd name="connsiteY39" fmla="*/ 869239 h 1285341"/>
                <a:gd name="connsiteX40" fmla="*/ 143387 w 511933"/>
                <a:gd name="connsiteY40" fmla="*/ 785369 h 1285341"/>
                <a:gd name="connsiteX41" fmla="*/ 139574 w 511933"/>
                <a:gd name="connsiteY41" fmla="*/ 796807 h 1285341"/>
                <a:gd name="connsiteX42" fmla="*/ 151012 w 511933"/>
                <a:gd name="connsiteY42" fmla="*/ 796806 h 1285341"/>
                <a:gd name="connsiteX43" fmla="*/ 153553 w 511933"/>
                <a:gd name="connsiteY43" fmla="*/ 787911 h 1285341"/>
                <a:gd name="connsiteX44" fmla="*/ 314938 w 511933"/>
                <a:gd name="connsiteY44" fmla="*/ 721832 h 1285341"/>
                <a:gd name="connsiteX45" fmla="*/ 309855 w 511933"/>
                <a:gd name="connsiteY45" fmla="*/ 734539 h 1285341"/>
                <a:gd name="connsiteX46" fmla="*/ 323834 w 511933"/>
                <a:gd name="connsiteY46" fmla="*/ 735811 h 1285341"/>
                <a:gd name="connsiteX47" fmla="*/ 328917 w 511933"/>
                <a:gd name="connsiteY47" fmla="*/ 721831 h 1285341"/>
                <a:gd name="connsiteX48" fmla="*/ 105265 w 511933"/>
                <a:gd name="connsiteY48" fmla="*/ 782828 h 1285341"/>
                <a:gd name="connsiteX49" fmla="*/ 106535 w 511933"/>
                <a:gd name="connsiteY49" fmla="*/ 798076 h 1285341"/>
                <a:gd name="connsiteX50" fmla="*/ 98910 w 511933"/>
                <a:gd name="connsiteY50" fmla="*/ 812055 h 1285341"/>
                <a:gd name="connsiteX51" fmla="*/ 114159 w 511933"/>
                <a:gd name="connsiteY51" fmla="*/ 815867 h 1285341"/>
                <a:gd name="connsiteX52" fmla="*/ 125597 w 511933"/>
                <a:gd name="connsiteY52" fmla="*/ 812055 h 1285341"/>
                <a:gd name="connsiteX53" fmla="*/ 129408 w 511933"/>
                <a:gd name="connsiteY53" fmla="*/ 801890 h 1285341"/>
                <a:gd name="connsiteX54" fmla="*/ 131950 w 511933"/>
                <a:gd name="connsiteY54" fmla="*/ 789182 h 1285341"/>
                <a:gd name="connsiteX55" fmla="*/ 119242 w 511933"/>
                <a:gd name="connsiteY55" fmla="*/ 789182 h 1285341"/>
                <a:gd name="connsiteX56" fmla="*/ 26478 w 511933"/>
                <a:gd name="connsiteY56" fmla="*/ 794265 h 1285341"/>
                <a:gd name="connsiteX57" fmla="*/ 23937 w 511933"/>
                <a:gd name="connsiteY57" fmla="*/ 810784 h 1285341"/>
                <a:gd name="connsiteX58" fmla="*/ 40456 w 511933"/>
                <a:gd name="connsiteY58" fmla="*/ 814597 h 1285341"/>
                <a:gd name="connsiteX59" fmla="*/ 44269 w 511933"/>
                <a:gd name="connsiteY59" fmla="*/ 796807 h 1285341"/>
                <a:gd name="connsiteX60" fmla="*/ 274274 w 511933"/>
                <a:gd name="connsiteY60" fmla="*/ 697688 h 1285341"/>
                <a:gd name="connsiteX61" fmla="*/ 269191 w 511933"/>
                <a:gd name="connsiteY61" fmla="*/ 715479 h 1285341"/>
                <a:gd name="connsiteX62" fmla="*/ 286981 w 511933"/>
                <a:gd name="connsiteY62" fmla="*/ 716748 h 1285341"/>
                <a:gd name="connsiteX63" fmla="*/ 289523 w 511933"/>
                <a:gd name="connsiteY63" fmla="*/ 701500 h 1285341"/>
                <a:gd name="connsiteX64" fmla="*/ 231068 w 511933"/>
                <a:gd name="connsiteY64" fmla="*/ 711666 h 1285341"/>
                <a:gd name="connsiteX65" fmla="*/ 229798 w 511933"/>
                <a:gd name="connsiteY65" fmla="*/ 720562 h 1285341"/>
                <a:gd name="connsiteX66" fmla="*/ 237423 w 511933"/>
                <a:gd name="connsiteY66" fmla="*/ 721831 h 1285341"/>
                <a:gd name="connsiteX67" fmla="*/ 239964 w 511933"/>
                <a:gd name="connsiteY67" fmla="*/ 714207 h 1285341"/>
                <a:gd name="connsiteX68" fmla="*/ 164989 w 511933"/>
                <a:gd name="connsiteY68" fmla="*/ 714207 h 1285341"/>
                <a:gd name="connsiteX69" fmla="*/ 162448 w 511933"/>
                <a:gd name="connsiteY69" fmla="*/ 725645 h 1285341"/>
                <a:gd name="connsiteX70" fmla="*/ 173885 w 511933"/>
                <a:gd name="connsiteY70" fmla="*/ 725644 h 1285341"/>
                <a:gd name="connsiteX71" fmla="*/ 176427 w 511933"/>
                <a:gd name="connsiteY71" fmla="*/ 716749 h 1285341"/>
                <a:gd name="connsiteX72" fmla="*/ 116701 w 511933"/>
                <a:gd name="connsiteY72" fmla="*/ 725644 h 1285341"/>
                <a:gd name="connsiteX73" fmla="*/ 116701 w 511933"/>
                <a:gd name="connsiteY73" fmla="*/ 728186 h 1285341"/>
                <a:gd name="connsiteX74" fmla="*/ 119242 w 511933"/>
                <a:gd name="connsiteY74" fmla="*/ 728186 h 1285341"/>
                <a:gd name="connsiteX75" fmla="*/ 119242 w 511933"/>
                <a:gd name="connsiteY75" fmla="*/ 725644 h 1285341"/>
                <a:gd name="connsiteX76" fmla="*/ 50622 w 511933"/>
                <a:gd name="connsiteY76" fmla="*/ 730728 h 1285341"/>
                <a:gd name="connsiteX77" fmla="*/ 46810 w 511933"/>
                <a:gd name="connsiteY77" fmla="*/ 753601 h 1285341"/>
                <a:gd name="connsiteX78" fmla="*/ 68412 w 511933"/>
                <a:gd name="connsiteY78" fmla="*/ 757413 h 1285341"/>
                <a:gd name="connsiteX79" fmla="*/ 72225 w 511933"/>
                <a:gd name="connsiteY79" fmla="*/ 735811 h 1285341"/>
                <a:gd name="connsiteX80" fmla="*/ 334000 w 511933"/>
                <a:gd name="connsiteY80" fmla="*/ 629068 h 1285341"/>
                <a:gd name="connsiteX81" fmla="*/ 330187 w 511933"/>
                <a:gd name="connsiteY81" fmla="*/ 640504 h 1285341"/>
                <a:gd name="connsiteX82" fmla="*/ 341624 w 511933"/>
                <a:gd name="connsiteY82" fmla="*/ 640504 h 1285341"/>
                <a:gd name="connsiteX83" fmla="*/ 344166 w 511933"/>
                <a:gd name="connsiteY83" fmla="*/ 631609 h 1285341"/>
                <a:gd name="connsiteX84" fmla="*/ 15041 w 511933"/>
                <a:gd name="connsiteY84" fmla="*/ 723103 h 1285341"/>
                <a:gd name="connsiteX85" fmla="*/ 12499 w 511933"/>
                <a:gd name="connsiteY85" fmla="*/ 731998 h 1285341"/>
                <a:gd name="connsiteX86" fmla="*/ 21395 w 511933"/>
                <a:gd name="connsiteY86" fmla="*/ 733269 h 1285341"/>
                <a:gd name="connsiteX87" fmla="*/ 25207 w 511933"/>
                <a:gd name="connsiteY87" fmla="*/ 724373 h 1285341"/>
                <a:gd name="connsiteX88" fmla="*/ 297147 w 511933"/>
                <a:gd name="connsiteY88" fmla="*/ 626526 h 1285341"/>
                <a:gd name="connsiteX89" fmla="*/ 298419 w 511933"/>
                <a:gd name="connsiteY89" fmla="*/ 641775 h 1285341"/>
                <a:gd name="connsiteX90" fmla="*/ 290794 w 511933"/>
                <a:gd name="connsiteY90" fmla="*/ 655753 h 1285341"/>
                <a:gd name="connsiteX91" fmla="*/ 306043 w 511933"/>
                <a:gd name="connsiteY91" fmla="*/ 659565 h 1285341"/>
                <a:gd name="connsiteX92" fmla="*/ 317480 w 511933"/>
                <a:gd name="connsiteY92" fmla="*/ 655753 h 1285341"/>
                <a:gd name="connsiteX93" fmla="*/ 321292 w 511933"/>
                <a:gd name="connsiteY93" fmla="*/ 645586 h 1285341"/>
                <a:gd name="connsiteX94" fmla="*/ 323834 w 511933"/>
                <a:gd name="connsiteY94" fmla="*/ 632879 h 1285341"/>
                <a:gd name="connsiteX95" fmla="*/ 311126 w 511933"/>
                <a:gd name="connsiteY95" fmla="*/ 632879 h 1285341"/>
                <a:gd name="connsiteX96" fmla="*/ 144657 w 511933"/>
                <a:gd name="connsiteY96" fmla="*/ 673543 h 1285341"/>
                <a:gd name="connsiteX97" fmla="*/ 143387 w 511933"/>
                <a:gd name="connsiteY97" fmla="*/ 682439 h 1285341"/>
                <a:gd name="connsiteX98" fmla="*/ 152282 w 511933"/>
                <a:gd name="connsiteY98" fmla="*/ 684981 h 1285341"/>
                <a:gd name="connsiteX99" fmla="*/ 154823 w 511933"/>
                <a:gd name="connsiteY99" fmla="*/ 674815 h 1285341"/>
                <a:gd name="connsiteX100" fmla="*/ 192946 w 511933"/>
                <a:gd name="connsiteY100" fmla="*/ 653211 h 1285341"/>
                <a:gd name="connsiteX101" fmla="*/ 192946 w 511933"/>
                <a:gd name="connsiteY101" fmla="*/ 657024 h 1285341"/>
                <a:gd name="connsiteX102" fmla="*/ 196759 w 511933"/>
                <a:gd name="connsiteY102" fmla="*/ 658294 h 1285341"/>
                <a:gd name="connsiteX103" fmla="*/ 196759 w 511933"/>
                <a:gd name="connsiteY103" fmla="*/ 654482 h 1285341"/>
                <a:gd name="connsiteX104" fmla="*/ 63329 w 511933"/>
                <a:gd name="connsiteY104" fmla="*/ 695146 h 1285341"/>
                <a:gd name="connsiteX105" fmla="*/ 62059 w 511933"/>
                <a:gd name="connsiteY105" fmla="*/ 702771 h 1285341"/>
                <a:gd name="connsiteX106" fmla="*/ 69684 w 511933"/>
                <a:gd name="connsiteY106" fmla="*/ 704041 h 1285341"/>
                <a:gd name="connsiteX107" fmla="*/ 72225 w 511933"/>
                <a:gd name="connsiteY107" fmla="*/ 696417 h 1285341"/>
                <a:gd name="connsiteX108" fmla="*/ 218361 w 511933"/>
                <a:gd name="connsiteY108" fmla="*/ 637962 h 1285341"/>
                <a:gd name="connsiteX109" fmla="*/ 215819 w 511933"/>
                <a:gd name="connsiteY109" fmla="*/ 654483 h 1285341"/>
                <a:gd name="connsiteX110" fmla="*/ 232340 w 511933"/>
                <a:gd name="connsiteY110" fmla="*/ 658294 h 1285341"/>
                <a:gd name="connsiteX111" fmla="*/ 236151 w 511933"/>
                <a:gd name="connsiteY111" fmla="*/ 640504 h 1285341"/>
                <a:gd name="connsiteX112" fmla="*/ 95099 w 511933"/>
                <a:gd name="connsiteY112" fmla="*/ 660836 h 1285341"/>
                <a:gd name="connsiteX113" fmla="*/ 91286 w 511933"/>
                <a:gd name="connsiteY113" fmla="*/ 676084 h 1285341"/>
                <a:gd name="connsiteX114" fmla="*/ 107806 w 511933"/>
                <a:gd name="connsiteY114" fmla="*/ 678626 h 1285341"/>
                <a:gd name="connsiteX115" fmla="*/ 107806 w 511933"/>
                <a:gd name="connsiteY115" fmla="*/ 664649 h 1285341"/>
                <a:gd name="connsiteX116" fmla="*/ 307314 w 511933"/>
                <a:gd name="connsiteY116" fmla="*/ 568072 h 1285341"/>
                <a:gd name="connsiteX117" fmla="*/ 307314 w 511933"/>
                <a:gd name="connsiteY117" fmla="*/ 571883 h 1285341"/>
                <a:gd name="connsiteX118" fmla="*/ 309855 w 511933"/>
                <a:gd name="connsiteY118" fmla="*/ 571883 h 1285341"/>
                <a:gd name="connsiteX119" fmla="*/ 309855 w 511933"/>
                <a:gd name="connsiteY119" fmla="*/ 569342 h 1285341"/>
                <a:gd name="connsiteX120" fmla="*/ 241234 w 511933"/>
                <a:gd name="connsiteY120" fmla="*/ 575696 h 1285341"/>
                <a:gd name="connsiteX121" fmla="*/ 237423 w 511933"/>
                <a:gd name="connsiteY121" fmla="*/ 598570 h 1285341"/>
                <a:gd name="connsiteX122" fmla="*/ 259025 w 511933"/>
                <a:gd name="connsiteY122" fmla="*/ 601111 h 1285341"/>
                <a:gd name="connsiteX123" fmla="*/ 262838 w 511933"/>
                <a:gd name="connsiteY123" fmla="*/ 579507 h 1285341"/>
                <a:gd name="connsiteX124" fmla="*/ 35373 w 511933"/>
                <a:gd name="connsiteY124" fmla="*/ 637962 h 1285341"/>
                <a:gd name="connsiteX125" fmla="*/ 34103 w 511933"/>
                <a:gd name="connsiteY125" fmla="*/ 644317 h 1285341"/>
                <a:gd name="connsiteX126" fmla="*/ 40456 w 511933"/>
                <a:gd name="connsiteY126" fmla="*/ 645587 h 1285341"/>
                <a:gd name="connsiteX127" fmla="*/ 41727 w 511933"/>
                <a:gd name="connsiteY127" fmla="*/ 639233 h 1285341"/>
                <a:gd name="connsiteX128" fmla="*/ 129408 w 511933"/>
                <a:gd name="connsiteY128" fmla="*/ 596028 h 1285341"/>
                <a:gd name="connsiteX129" fmla="*/ 128138 w 511933"/>
                <a:gd name="connsiteY129" fmla="*/ 610005 h 1285341"/>
                <a:gd name="connsiteX130" fmla="*/ 142116 w 511933"/>
                <a:gd name="connsiteY130" fmla="*/ 613819 h 1285341"/>
                <a:gd name="connsiteX131" fmla="*/ 145929 w 511933"/>
                <a:gd name="connsiteY131" fmla="*/ 598569 h 1285341"/>
                <a:gd name="connsiteX132" fmla="*/ 65871 w 511933"/>
                <a:gd name="connsiteY132" fmla="*/ 613818 h 1285341"/>
                <a:gd name="connsiteX133" fmla="*/ 65871 w 511933"/>
                <a:gd name="connsiteY133" fmla="*/ 615089 h 1285341"/>
                <a:gd name="connsiteX134" fmla="*/ 67142 w 511933"/>
                <a:gd name="connsiteY134" fmla="*/ 615089 h 1285341"/>
                <a:gd name="connsiteX135" fmla="*/ 67142 w 511933"/>
                <a:gd name="connsiteY135" fmla="*/ 613819 h 1285341"/>
                <a:gd name="connsiteX136" fmla="*/ 205653 w 511933"/>
                <a:gd name="connsiteY136" fmla="*/ 566800 h 1285341"/>
                <a:gd name="connsiteX137" fmla="*/ 204383 w 511933"/>
                <a:gd name="connsiteY137" fmla="*/ 575696 h 1285341"/>
                <a:gd name="connsiteX138" fmla="*/ 213278 w 511933"/>
                <a:gd name="connsiteY138" fmla="*/ 576966 h 1285341"/>
                <a:gd name="connsiteX139" fmla="*/ 215820 w 511933"/>
                <a:gd name="connsiteY139" fmla="*/ 568072 h 1285341"/>
                <a:gd name="connsiteX140" fmla="*/ 336541 w 511933"/>
                <a:gd name="connsiteY140" fmla="*/ 517242 h 1285341"/>
                <a:gd name="connsiteX141" fmla="*/ 335270 w 511933"/>
                <a:gd name="connsiteY141" fmla="*/ 526136 h 1285341"/>
                <a:gd name="connsiteX142" fmla="*/ 344166 w 511933"/>
                <a:gd name="connsiteY142" fmla="*/ 528678 h 1285341"/>
                <a:gd name="connsiteX143" fmla="*/ 346707 w 511933"/>
                <a:gd name="connsiteY143" fmla="*/ 518512 h 1285341"/>
                <a:gd name="connsiteX144" fmla="*/ 255213 w 511933"/>
                <a:gd name="connsiteY144" fmla="*/ 540115 h 1285341"/>
                <a:gd name="connsiteX145" fmla="*/ 253942 w 511933"/>
                <a:gd name="connsiteY145" fmla="*/ 547740 h 1285341"/>
                <a:gd name="connsiteX146" fmla="*/ 261566 w 511933"/>
                <a:gd name="connsiteY146" fmla="*/ 549009 h 1285341"/>
                <a:gd name="connsiteX147" fmla="*/ 264108 w 511933"/>
                <a:gd name="connsiteY147" fmla="*/ 541385 h 1285341"/>
                <a:gd name="connsiteX148" fmla="*/ 286982 w 511933"/>
                <a:gd name="connsiteY148" fmla="*/ 504534 h 1285341"/>
                <a:gd name="connsiteX149" fmla="*/ 283170 w 511933"/>
                <a:gd name="connsiteY149" fmla="*/ 519783 h 1285341"/>
                <a:gd name="connsiteX150" fmla="*/ 299689 w 511933"/>
                <a:gd name="connsiteY150" fmla="*/ 522325 h 1285341"/>
                <a:gd name="connsiteX151" fmla="*/ 299689 w 511933"/>
                <a:gd name="connsiteY151" fmla="*/ 508345 h 1285341"/>
                <a:gd name="connsiteX152" fmla="*/ 48080 w 511933"/>
                <a:gd name="connsiteY152" fmla="*/ 549010 h 1285341"/>
                <a:gd name="connsiteX153" fmla="*/ 41727 w 511933"/>
                <a:gd name="connsiteY153" fmla="*/ 560447 h 1285341"/>
                <a:gd name="connsiteX154" fmla="*/ 37914 w 511933"/>
                <a:gd name="connsiteY154" fmla="*/ 576966 h 1285341"/>
                <a:gd name="connsiteX155" fmla="*/ 55705 w 511933"/>
                <a:gd name="connsiteY155" fmla="*/ 575696 h 1285341"/>
                <a:gd name="connsiteX156" fmla="*/ 68412 w 511933"/>
                <a:gd name="connsiteY156" fmla="*/ 579508 h 1285341"/>
                <a:gd name="connsiteX157" fmla="*/ 72225 w 511933"/>
                <a:gd name="connsiteY157" fmla="*/ 566800 h 1285341"/>
                <a:gd name="connsiteX158" fmla="*/ 74767 w 511933"/>
                <a:gd name="connsiteY158" fmla="*/ 551551 h 1285341"/>
                <a:gd name="connsiteX159" fmla="*/ 59518 w 511933"/>
                <a:gd name="connsiteY159" fmla="*/ 552822 h 1285341"/>
                <a:gd name="connsiteX160" fmla="*/ 227257 w 511933"/>
                <a:gd name="connsiteY160" fmla="*/ 481660 h 1285341"/>
                <a:gd name="connsiteX161" fmla="*/ 225985 w 511933"/>
                <a:gd name="connsiteY161" fmla="*/ 488014 h 1285341"/>
                <a:gd name="connsiteX162" fmla="*/ 232340 w 511933"/>
                <a:gd name="connsiteY162" fmla="*/ 489285 h 1285341"/>
                <a:gd name="connsiteX163" fmla="*/ 233610 w 511933"/>
                <a:gd name="connsiteY163" fmla="*/ 482931 h 1285341"/>
                <a:gd name="connsiteX164" fmla="*/ 321292 w 511933"/>
                <a:gd name="connsiteY164" fmla="*/ 439725 h 1285341"/>
                <a:gd name="connsiteX165" fmla="*/ 320021 w 511933"/>
                <a:gd name="connsiteY165" fmla="*/ 453704 h 1285341"/>
                <a:gd name="connsiteX166" fmla="*/ 334000 w 511933"/>
                <a:gd name="connsiteY166" fmla="*/ 457516 h 1285341"/>
                <a:gd name="connsiteX167" fmla="*/ 337811 w 511933"/>
                <a:gd name="connsiteY167" fmla="*/ 442267 h 1285341"/>
                <a:gd name="connsiteX168" fmla="*/ 257755 w 511933"/>
                <a:gd name="connsiteY168" fmla="*/ 457516 h 1285341"/>
                <a:gd name="connsiteX169" fmla="*/ 257755 w 511933"/>
                <a:gd name="connsiteY169" fmla="*/ 458787 h 1285341"/>
                <a:gd name="connsiteX170" fmla="*/ 259025 w 511933"/>
                <a:gd name="connsiteY170" fmla="*/ 458787 h 1285341"/>
                <a:gd name="connsiteX171" fmla="*/ 259025 w 511933"/>
                <a:gd name="connsiteY171" fmla="*/ 457516 h 1285341"/>
                <a:gd name="connsiteX172" fmla="*/ 107806 w 511933"/>
                <a:gd name="connsiteY172" fmla="*/ 485472 h 1285341"/>
                <a:gd name="connsiteX173" fmla="*/ 102723 w 511933"/>
                <a:gd name="connsiteY173" fmla="*/ 498180 h 1285341"/>
                <a:gd name="connsiteX174" fmla="*/ 116701 w 511933"/>
                <a:gd name="connsiteY174" fmla="*/ 499451 h 1285341"/>
                <a:gd name="connsiteX175" fmla="*/ 120514 w 511933"/>
                <a:gd name="connsiteY175" fmla="*/ 485472 h 1285341"/>
                <a:gd name="connsiteX176" fmla="*/ 152282 w 511933"/>
                <a:gd name="connsiteY176" fmla="*/ 449891 h 1285341"/>
                <a:gd name="connsiteX177" fmla="*/ 148470 w 511933"/>
                <a:gd name="connsiteY177" fmla="*/ 461328 h 1285341"/>
                <a:gd name="connsiteX178" fmla="*/ 161178 w 511933"/>
                <a:gd name="connsiteY178" fmla="*/ 463870 h 1285341"/>
                <a:gd name="connsiteX179" fmla="*/ 164989 w 511933"/>
                <a:gd name="connsiteY179" fmla="*/ 449891 h 1285341"/>
                <a:gd name="connsiteX180" fmla="*/ 67142 w 511933"/>
                <a:gd name="connsiteY180" fmla="*/ 461328 h 1285341"/>
                <a:gd name="connsiteX181" fmla="*/ 62059 w 511933"/>
                <a:gd name="connsiteY181" fmla="*/ 479119 h 1285341"/>
                <a:gd name="connsiteX182" fmla="*/ 79850 w 511933"/>
                <a:gd name="connsiteY182" fmla="*/ 480389 h 1285341"/>
                <a:gd name="connsiteX183" fmla="*/ 82391 w 511933"/>
                <a:gd name="connsiteY183" fmla="*/ 465140 h 1285341"/>
                <a:gd name="connsiteX184" fmla="*/ 22665 w 511933"/>
                <a:gd name="connsiteY184" fmla="*/ 474036 h 1285341"/>
                <a:gd name="connsiteX185" fmla="*/ 28167 w 511933"/>
                <a:gd name="connsiteY185" fmla="*/ 475608 h 1285341"/>
                <a:gd name="connsiteX186" fmla="*/ 26444 w 511933"/>
                <a:gd name="connsiteY186" fmla="*/ 483561 h 1285341"/>
                <a:gd name="connsiteX187" fmla="*/ 22665 w 511933"/>
                <a:gd name="connsiteY187" fmla="*/ 482931 h 1285341"/>
                <a:gd name="connsiteX188" fmla="*/ 345436 w 511933"/>
                <a:gd name="connsiteY188" fmla="*/ 359668 h 1285341"/>
                <a:gd name="connsiteX189" fmla="*/ 340353 w 511933"/>
                <a:gd name="connsiteY189" fmla="*/ 377459 h 1285341"/>
                <a:gd name="connsiteX190" fmla="*/ 358143 w 511933"/>
                <a:gd name="connsiteY190" fmla="*/ 378729 h 1285341"/>
                <a:gd name="connsiteX191" fmla="*/ 360685 w 511933"/>
                <a:gd name="connsiteY191" fmla="*/ 363480 h 1285341"/>
                <a:gd name="connsiteX192" fmla="*/ 239964 w 511933"/>
                <a:gd name="connsiteY192" fmla="*/ 393978 h 1285341"/>
                <a:gd name="connsiteX193" fmla="*/ 233610 w 511933"/>
                <a:gd name="connsiteY193" fmla="*/ 405415 h 1285341"/>
                <a:gd name="connsiteX194" fmla="*/ 229798 w 511933"/>
                <a:gd name="connsiteY194" fmla="*/ 421934 h 1285341"/>
                <a:gd name="connsiteX195" fmla="*/ 247589 w 511933"/>
                <a:gd name="connsiteY195" fmla="*/ 420664 h 1285341"/>
                <a:gd name="connsiteX196" fmla="*/ 260296 w 511933"/>
                <a:gd name="connsiteY196" fmla="*/ 424476 h 1285341"/>
                <a:gd name="connsiteX197" fmla="*/ 264108 w 511933"/>
                <a:gd name="connsiteY197" fmla="*/ 411768 h 1285341"/>
                <a:gd name="connsiteX198" fmla="*/ 266649 w 511933"/>
                <a:gd name="connsiteY198" fmla="*/ 396519 h 1285341"/>
                <a:gd name="connsiteX199" fmla="*/ 251400 w 511933"/>
                <a:gd name="connsiteY199" fmla="*/ 397791 h 1285341"/>
                <a:gd name="connsiteX200" fmla="*/ 126867 w 511933"/>
                <a:gd name="connsiteY200" fmla="*/ 392708 h 1285341"/>
                <a:gd name="connsiteX201" fmla="*/ 123055 w 511933"/>
                <a:gd name="connsiteY201" fmla="*/ 404144 h 1285341"/>
                <a:gd name="connsiteX202" fmla="*/ 134491 w 511933"/>
                <a:gd name="connsiteY202" fmla="*/ 404144 h 1285341"/>
                <a:gd name="connsiteX203" fmla="*/ 137033 w 511933"/>
                <a:gd name="connsiteY203" fmla="*/ 395249 h 1285341"/>
                <a:gd name="connsiteX204" fmla="*/ 406432 w 511933"/>
                <a:gd name="connsiteY204" fmla="*/ 291048 h 1285341"/>
                <a:gd name="connsiteX205" fmla="*/ 402620 w 511933"/>
                <a:gd name="connsiteY205" fmla="*/ 302484 h 1285341"/>
                <a:gd name="connsiteX206" fmla="*/ 414057 w 511933"/>
                <a:gd name="connsiteY206" fmla="*/ 302484 h 1285341"/>
                <a:gd name="connsiteX207" fmla="*/ 415328 w 511933"/>
                <a:gd name="connsiteY207" fmla="*/ 293589 h 1285341"/>
                <a:gd name="connsiteX208" fmla="*/ 368309 w 511933"/>
                <a:gd name="connsiteY208" fmla="*/ 288506 h 1285341"/>
                <a:gd name="connsiteX209" fmla="*/ 369581 w 511933"/>
                <a:gd name="connsiteY209" fmla="*/ 303755 h 1285341"/>
                <a:gd name="connsiteX210" fmla="*/ 361956 w 511933"/>
                <a:gd name="connsiteY210" fmla="*/ 317733 h 1285341"/>
                <a:gd name="connsiteX211" fmla="*/ 377205 w 511933"/>
                <a:gd name="connsiteY211" fmla="*/ 321546 h 1285341"/>
                <a:gd name="connsiteX212" fmla="*/ 388642 w 511933"/>
                <a:gd name="connsiteY212" fmla="*/ 317733 h 1285341"/>
                <a:gd name="connsiteX213" fmla="*/ 392454 w 511933"/>
                <a:gd name="connsiteY213" fmla="*/ 307567 h 1285341"/>
                <a:gd name="connsiteX214" fmla="*/ 394996 w 511933"/>
                <a:gd name="connsiteY214" fmla="*/ 294860 h 1285341"/>
                <a:gd name="connsiteX215" fmla="*/ 382288 w 511933"/>
                <a:gd name="connsiteY215" fmla="*/ 294860 h 1285341"/>
                <a:gd name="connsiteX216" fmla="*/ 289523 w 511933"/>
                <a:gd name="connsiteY216" fmla="*/ 299942 h 1285341"/>
                <a:gd name="connsiteX217" fmla="*/ 286982 w 511933"/>
                <a:gd name="connsiteY217" fmla="*/ 316463 h 1285341"/>
                <a:gd name="connsiteX218" fmla="*/ 303502 w 511933"/>
                <a:gd name="connsiteY218" fmla="*/ 320274 h 1285341"/>
                <a:gd name="connsiteX219" fmla="*/ 307313 w 511933"/>
                <a:gd name="connsiteY219" fmla="*/ 302484 h 1285341"/>
                <a:gd name="connsiteX220" fmla="*/ 149740 w 511933"/>
                <a:gd name="connsiteY220" fmla="*/ 321546 h 1285341"/>
                <a:gd name="connsiteX221" fmla="*/ 148470 w 511933"/>
                <a:gd name="connsiteY221" fmla="*/ 334253 h 1285341"/>
                <a:gd name="connsiteX222" fmla="*/ 158636 w 511933"/>
                <a:gd name="connsiteY222" fmla="*/ 334253 h 1285341"/>
                <a:gd name="connsiteX223" fmla="*/ 161178 w 511933"/>
                <a:gd name="connsiteY223" fmla="*/ 324087 h 1285341"/>
                <a:gd name="connsiteX224" fmla="*/ 100182 w 511933"/>
                <a:gd name="connsiteY224" fmla="*/ 331712 h 1285341"/>
                <a:gd name="connsiteX225" fmla="*/ 100182 w 511933"/>
                <a:gd name="connsiteY225" fmla="*/ 335523 h 1285341"/>
                <a:gd name="connsiteX226" fmla="*/ 102723 w 511933"/>
                <a:gd name="connsiteY226" fmla="*/ 335524 h 1285341"/>
                <a:gd name="connsiteX227" fmla="*/ 102723 w 511933"/>
                <a:gd name="connsiteY227" fmla="*/ 332982 h 1285341"/>
                <a:gd name="connsiteX228" fmla="*/ 428035 w 511933"/>
                <a:gd name="connsiteY228" fmla="*/ 219886 h 1285341"/>
                <a:gd name="connsiteX229" fmla="*/ 426764 w 511933"/>
                <a:gd name="connsiteY229" fmla="*/ 232593 h 1285341"/>
                <a:gd name="connsiteX230" fmla="*/ 436930 w 511933"/>
                <a:gd name="connsiteY230" fmla="*/ 232593 h 1285341"/>
                <a:gd name="connsiteX231" fmla="*/ 439472 w 511933"/>
                <a:gd name="connsiteY231" fmla="*/ 222427 h 1285341"/>
                <a:gd name="connsiteX232" fmla="*/ 379747 w 511933"/>
                <a:gd name="connsiteY232" fmla="*/ 231322 h 1285341"/>
                <a:gd name="connsiteX233" fmla="*/ 379747 w 511933"/>
                <a:gd name="connsiteY233" fmla="*/ 235135 h 1285341"/>
                <a:gd name="connsiteX234" fmla="*/ 382288 w 511933"/>
                <a:gd name="connsiteY234" fmla="*/ 235135 h 1285341"/>
                <a:gd name="connsiteX235" fmla="*/ 382288 w 511933"/>
                <a:gd name="connsiteY235" fmla="*/ 232593 h 1285341"/>
                <a:gd name="connsiteX236" fmla="*/ 312396 w 511933"/>
                <a:gd name="connsiteY236" fmla="*/ 237676 h 1285341"/>
                <a:gd name="connsiteX237" fmla="*/ 308585 w 511933"/>
                <a:gd name="connsiteY237" fmla="*/ 260550 h 1285341"/>
                <a:gd name="connsiteX238" fmla="*/ 330187 w 511933"/>
                <a:gd name="connsiteY238" fmla="*/ 263091 h 1285341"/>
                <a:gd name="connsiteX239" fmla="*/ 334000 w 511933"/>
                <a:gd name="connsiteY239" fmla="*/ 241488 h 1285341"/>
                <a:gd name="connsiteX240" fmla="*/ 129408 w 511933"/>
                <a:gd name="connsiteY240" fmla="*/ 280882 h 1285341"/>
                <a:gd name="connsiteX241" fmla="*/ 128138 w 511933"/>
                <a:gd name="connsiteY241" fmla="*/ 289777 h 1285341"/>
                <a:gd name="connsiteX242" fmla="*/ 137033 w 511933"/>
                <a:gd name="connsiteY242" fmla="*/ 292318 h 1285341"/>
                <a:gd name="connsiteX243" fmla="*/ 139574 w 511933"/>
                <a:gd name="connsiteY243" fmla="*/ 282152 h 1285341"/>
                <a:gd name="connsiteX244" fmla="*/ 278087 w 511933"/>
                <a:gd name="connsiteY244" fmla="*/ 230052 h 1285341"/>
                <a:gd name="connsiteX245" fmla="*/ 275545 w 511933"/>
                <a:gd name="connsiteY245" fmla="*/ 238946 h 1285341"/>
                <a:gd name="connsiteX246" fmla="*/ 284440 w 511933"/>
                <a:gd name="connsiteY246" fmla="*/ 240218 h 1285341"/>
                <a:gd name="connsiteX247" fmla="*/ 288253 w 511933"/>
                <a:gd name="connsiteY247" fmla="*/ 231322 h 1285341"/>
                <a:gd name="connsiteX248" fmla="*/ 407703 w 511933"/>
                <a:gd name="connsiteY248" fmla="*/ 179222 h 1285341"/>
                <a:gd name="connsiteX249" fmla="*/ 406432 w 511933"/>
                <a:gd name="connsiteY249" fmla="*/ 188117 h 1285341"/>
                <a:gd name="connsiteX250" fmla="*/ 415328 w 511933"/>
                <a:gd name="connsiteY250" fmla="*/ 190658 h 1285341"/>
                <a:gd name="connsiteX251" fmla="*/ 417869 w 511933"/>
                <a:gd name="connsiteY251" fmla="*/ 180492 h 1285341"/>
                <a:gd name="connsiteX252" fmla="*/ 326375 w 511933"/>
                <a:gd name="connsiteY252" fmla="*/ 202095 h 1285341"/>
                <a:gd name="connsiteX253" fmla="*/ 325104 w 511933"/>
                <a:gd name="connsiteY253" fmla="*/ 209720 h 1285341"/>
                <a:gd name="connsiteX254" fmla="*/ 332728 w 511933"/>
                <a:gd name="connsiteY254" fmla="*/ 210990 h 1285341"/>
                <a:gd name="connsiteX255" fmla="*/ 335270 w 511933"/>
                <a:gd name="connsiteY255" fmla="*/ 203365 h 1285341"/>
                <a:gd name="connsiteX256" fmla="*/ 455992 w 511933"/>
                <a:gd name="connsiteY256" fmla="*/ 158890 h 1285341"/>
                <a:gd name="connsiteX257" fmla="*/ 455992 w 511933"/>
                <a:gd name="connsiteY257" fmla="*/ 162702 h 1285341"/>
                <a:gd name="connsiteX258" fmla="*/ 459804 w 511933"/>
                <a:gd name="connsiteY258" fmla="*/ 163973 h 1285341"/>
                <a:gd name="connsiteX259" fmla="*/ 459804 w 511933"/>
                <a:gd name="connsiteY259" fmla="*/ 160160 h 1285341"/>
                <a:gd name="connsiteX260" fmla="*/ 358143 w 511933"/>
                <a:gd name="connsiteY260" fmla="*/ 166514 h 1285341"/>
                <a:gd name="connsiteX261" fmla="*/ 354332 w 511933"/>
                <a:gd name="connsiteY261" fmla="*/ 181763 h 1285341"/>
                <a:gd name="connsiteX262" fmla="*/ 370851 w 511933"/>
                <a:gd name="connsiteY262" fmla="*/ 184305 h 1285341"/>
                <a:gd name="connsiteX263" fmla="*/ 370851 w 511933"/>
                <a:gd name="connsiteY263" fmla="*/ 170326 h 1285341"/>
                <a:gd name="connsiteX264" fmla="*/ 298419 w 511933"/>
                <a:gd name="connsiteY264" fmla="*/ 143641 h 1285341"/>
                <a:gd name="connsiteX265" fmla="*/ 297147 w 511933"/>
                <a:gd name="connsiteY265" fmla="*/ 149994 h 1285341"/>
                <a:gd name="connsiteX266" fmla="*/ 303502 w 511933"/>
                <a:gd name="connsiteY266" fmla="*/ 151265 h 1285341"/>
                <a:gd name="connsiteX267" fmla="*/ 304772 w 511933"/>
                <a:gd name="connsiteY267" fmla="*/ 144911 h 1285341"/>
                <a:gd name="connsiteX268" fmla="*/ 392454 w 511933"/>
                <a:gd name="connsiteY268" fmla="*/ 102977 h 1285341"/>
                <a:gd name="connsiteX269" fmla="*/ 391183 w 511933"/>
                <a:gd name="connsiteY269" fmla="*/ 116955 h 1285341"/>
                <a:gd name="connsiteX270" fmla="*/ 405162 w 511933"/>
                <a:gd name="connsiteY270" fmla="*/ 120767 h 1285341"/>
                <a:gd name="connsiteX271" fmla="*/ 408974 w 511933"/>
                <a:gd name="connsiteY271" fmla="*/ 105518 h 1285341"/>
                <a:gd name="connsiteX272" fmla="*/ 328917 w 511933"/>
                <a:gd name="connsiteY272" fmla="*/ 119496 h 1285341"/>
                <a:gd name="connsiteX273" fmla="*/ 328917 w 511933"/>
                <a:gd name="connsiteY273" fmla="*/ 120767 h 1285341"/>
                <a:gd name="connsiteX274" fmla="*/ 330187 w 511933"/>
                <a:gd name="connsiteY274" fmla="*/ 120767 h 1285341"/>
                <a:gd name="connsiteX275" fmla="*/ 330187 w 511933"/>
                <a:gd name="connsiteY275" fmla="*/ 119496 h 1285341"/>
                <a:gd name="connsiteX276" fmla="*/ 176427 w 511933"/>
                <a:gd name="connsiteY276" fmla="*/ 108060 h 1285341"/>
                <a:gd name="connsiteX277" fmla="*/ 176427 w 511933"/>
                <a:gd name="connsiteY277" fmla="*/ 109330 h 1285341"/>
                <a:gd name="connsiteX278" fmla="*/ 177697 w 511933"/>
                <a:gd name="connsiteY278" fmla="*/ 109330 h 1285341"/>
                <a:gd name="connsiteX279" fmla="*/ 177697 w 511933"/>
                <a:gd name="connsiteY279" fmla="*/ 108060 h 1285341"/>
                <a:gd name="connsiteX280" fmla="*/ 311126 w 511933"/>
                <a:gd name="connsiteY280" fmla="*/ 55958 h 1285341"/>
                <a:gd name="connsiteX281" fmla="*/ 304772 w 511933"/>
                <a:gd name="connsiteY281" fmla="*/ 67396 h 1285341"/>
                <a:gd name="connsiteX282" fmla="*/ 300960 w 511933"/>
                <a:gd name="connsiteY282" fmla="*/ 83915 h 1285341"/>
                <a:gd name="connsiteX283" fmla="*/ 318751 w 511933"/>
                <a:gd name="connsiteY283" fmla="*/ 82645 h 1285341"/>
                <a:gd name="connsiteX284" fmla="*/ 331458 w 511933"/>
                <a:gd name="connsiteY284" fmla="*/ 86456 h 1285341"/>
                <a:gd name="connsiteX285" fmla="*/ 335270 w 511933"/>
                <a:gd name="connsiteY285" fmla="*/ 73749 h 1285341"/>
                <a:gd name="connsiteX286" fmla="*/ 337811 w 511933"/>
                <a:gd name="connsiteY286" fmla="*/ 58500 h 1285341"/>
                <a:gd name="connsiteX287" fmla="*/ 322562 w 511933"/>
                <a:gd name="connsiteY287" fmla="*/ 59771 h 1285341"/>
                <a:gd name="connsiteX288" fmla="*/ 205653 w 511933"/>
                <a:gd name="connsiteY288" fmla="*/ 80103 h 1285341"/>
                <a:gd name="connsiteX289" fmla="*/ 203112 w 511933"/>
                <a:gd name="connsiteY289" fmla="*/ 86456 h 1285341"/>
                <a:gd name="connsiteX290" fmla="*/ 209466 w 511933"/>
                <a:gd name="connsiteY290" fmla="*/ 87728 h 1285341"/>
                <a:gd name="connsiteX291" fmla="*/ 212008 w 511933"/>
                <a:gd name="connsiteY291" fmla="*/ 81373 h 1285341"/>
                <a:gd name="connsiteX292" fmla="*/ 181510 w 511933"/>
                <a:gd name="connsiteY292" fmla="*/ 17836 h 1285341"/>
                <a:gd name="connsiteX293" fmla="*/ 178968 w 511933"/>
                <a:gd name="connsiteY293" fmla="*/ 25460 h 1285341"/>
                <a:gd name="connsiteX294" fmla="*/ 186593 w 511933"/>
                <a:gd name="connsiteY294" fmla="*/ 28002 h 1285341"/>
                <a:gd name="connsiteX295" fmla="*/ 189134 w 511933"/>
                <a:gd name="connsiteY295" fmla="*/ 19107 h 1285341"/>
                <a:gd name="connsiteX296" fmla="*/ 173964 w 511933"/>
                <a:gd name="connsiteY296" fmla="*/ 3640 h 1285341"/>
                <a:gd name="connsiteX297" fmla="*/ 195487 w 511933"/>
                <a:gd name="connsiteY297" fmla="*/ 45 h 1285341"/>
                <a:gd name="connsiteX298" fmla="*/ 345436 w 511933"/>
                <a:gd name="connsiteY298" fmla="*/ 44522 h 1285341"/>
                <a:gd name="connsiteX299" fmla="*/ 511905 w 511933"/>
                <a:gd name="connsiteY299" fmla="*/ 133475 h 1285341"/>
                <a:gd name="connsiteX300" fmla="*/ 422952 w 511933"/>
                <a:gd name="connsiteY300" fmla="*/ 299943 h 1285341"/>
                <a:gd name="connsiteX301" fmla="*/ 350519 w 511933"/>
                <a:gd name="connsiteY301" fmla="*/ 466411 h 1285341"/>
                <a:gd name="connsiteX302" fmla="*/ 332728 w 511933"/>
                <a:gd name="connsiteY302" fmla="*/ 773933 h 1285341"/>
                <a:gd name="connsiteX303" fmla="*/ 195912 w 511933"/>
                <a:gd name="connsiteY303" fmla="*/ 1214265 h 1285341"/>
                <a:gd name="connsiteX304" fmla="*/ 173389 w 511933"/>
                <a:gd name="connsiteY304" fmla="*/ 1285341 h 1285341"/>
                <a:gd name="connsiteX305" fmla="*/ 100738 w 511933"/>
                <a:gd name="connsiteY305" fmla="*/ 1063664 h 1285341"/>
                <a:gd name="connsiteX306" fmla="*/ 101452 w 511933"/>
                <a:gd name="connsiteY306" fmla="*/ 1063664 h 1285341"/>
                <a:gd name="connsiteX307" fmla="*/ 105265 w 511933"/>
                <a:gd name="connsiteY307" fmla="*/ 1054768 h 1285341"/>
                <a:gd name="connsiteX308" fmla="*/ 97238 w 511933"/>
                <a:gd name="connsiteY308" fmla="*/ 1052984 h 1285341"/>
                <a:gd name="connsiteX309" fmla="*/ 63414 w 511933"/>
                <a:gd name="connsiteY309" fmla="*/ 949781 h 1285341"/>
                <a:gd name="connsiteX310" fmla="*/ 70954 w 511933"/>
                <a:gd name="connsiteY310" fmla="*/ 951838 h 1285341"/>
                <a:gd name="connsiteX311" fmla="*/ 74767 w 511933"/>
                <a:gd name="connsiteY311" fmla="*/ 936589 h 1285341"/>
                <a:gd name="connsiteX312" fmla="*/ 58258 w 511933"/>
                <a:gd name="connsiteY312" fmla="*/ 934049 h 1285341"/>
                <a:gd name="connsiteX313" fmla="*/ 0 w 511933"/>
                <a:gd name="connsiteY313" fmla="*/ 756290 h 1285341"/>
                <a:gd name="connsiteX314" fmla="*/ 130 w 511933"/>
                <a:gd name="connsiteY314" fmla="*/ 695682 h 1285341"/>
                <a:gd name="connsiteX315" fmla="*/ 26061 w 511933"/>
                <a:gd name="connsiteY315" fmla="*/ 485333 h 1285341"/>
                <a:gd name="connsiteX316" fmla="*/ 26444 w 511933"/>
                <a:gd name="connsiteY316" fmla="*/ 483561 h 1285341"/>
                <a:gd name="connsiteX317" fmla="*/ 30290 w 511933"/>
                <a:gd name="connsiteY317" fmla="*/ 484202 h 1285341"/>
                <a:gd name="connsiteX318" fmla="*/ 31561 w 511933"/>
                <a:gd name="connsiteY318" fmla="*/ 476578 h 1285341"/>
                <a:gd name="connsiteX319" fmla="*/ 28167 w 511933"/>
                <a:gd name="connsiteY319" fmla="*/ 475608 h 1285341"/>
                <a:gd name="connsiteX320" fmla="*/ 30943 w 511933"/>
                <a:gd name="connsiteY320" fmla="*/ 462790 h 1285341"/>
                <a:gd name="connsiteX321" fmla="*/ 32831 w 511933"/>
                <a:gd name="connsiteY321" fmla="*/ 454974 h 1285341"/>
                <a:gd name="connsiteX322" fmla="*/ 93827 w 511933"/>
                <a:gd name="connsiteY322" fmla="*/ 285965 h 1285341"/>
                <a:gd name="connsiteX323" fmla="*/ 96369 w 511933"/>
                <a:gd name="connsiteY323" fmla="*/ 285965 h 1285341"/>
                <a:gd name="connsiteX324" fmla="*/ 96369 w 511933"/>
                <a:gd name="connsiteY324" fmla="*/ 277069 h 1285341"/>
                <a:gd name="connsiteX325" fmla="*/ 121784 w 511933"/>
                <a:gd name="connsiteY325" fmla="*/ 219886 h 1285341"/>
                <a:gd name="connsiteX326" fmla="*/ 126867 w 511933"/>
                <a:gd name="connsiteY326" fmla="*/ 221156 h 1285341"/>
                <a:gd name="connsiteX327" fmla="*/ 190404 w 511933"/>
                <a:gd name="connsiteY327" fmla="*/ 270716 h 1285341"/>
                <a:gd name="connsiteX328" fmla="*/ 331458 w 511933"/>
                <a:gd name="connsiteY328" fmla="*/ 428289 h 1285341"/>
                <a:gd name="connsiteX329" fmla="*/ 302230 w 511933"/>
                <a:gd name="connsiteY329" fmla="*/ 340607 h 1285341"/>
                <a:gd name="connsiteX330" fmla="*/ 196759 w 511933"/>
                <a:gd name="connsiteY330" fmla="*/ 207178 h 1285341"/>
                <a:gd name="connsiteX331" fmla="*/ 170072 w 511933"/>
                <a:gd name="connsiteY331" fmla="*/ 170326 h 1285341"/>
                <a:gd name="connsiteX332" fmla="*/ 182780 w 511933"/>
                <a:gd name="connsiteY332" fmla="*/ 170326 h 1285341"/>
                <a:gd name="connsiteX333" fmla="*/ 194217 w 511933"/>
                <a:gd name="connsiteY333" fmla="*/ 175409 h 1285341"/>
                <a:gd name="connsiteX334" fmla="*/ 201842 w 511933"/>
                <a:gd name="connsiteY334" fmla="*/ 165243 h 1285341"/>
                <a:gd name="connsiteX335" fmla="*/ 205653 w 511933"/>
                <a:gd name="connsiteY335" fmla="*/ 148724 h 1285341"/>
                <a:gd name="connsiteX336" fmla="*/ 187863 w 511933"/>
                <a:gd name="connsiteY336" fmla="*/ 148724 h 1285341"/>
                <a:gd name="connsiteX337" fmla="*/ 175155 w 511933"/>
                <a:gd name="connsiteY337" fmla="*/ 143641 h 1285341"/>
                <a:gd name="connsiteX338" fmla="*/ 170072 w 511933"/>
                <a:gd name="connsiteY338" fmla="*/ 156348 h 1285341"/>
                <a:gd name="connsiteX339" fmla="*/ 166261 w 511933"/>
                <a:gd name="connsiteY339" fmla="*/ 167784 h 1285341"/>
                <a:gd name="connsiteX340" fmla="*/ 153553 w 511933"/>
                <a:gd name="connsiteY340" fmla="*/ 62313 h 1285341"/>
                <a:gd name="connsiteX341" fmla="*/ 153553 w 511933"/>
                <a:gd name="connsiteY341" fmla="*/ 61042 h 1285341"/>
                <a:gd name="connsiteX342" fmla="*/ 156095 w 511933"/>
                <a:gd name="connsiteY342" fmla="*/ 62313 h 1285341"/>
                <a:gd name="connsiteX343" fmla="*/ 161178 w 511933"/>
                <a:gd name="connsiteY343" fmla="*/ 48334 h 1285341"/>
                <a:gd name="connsiteX344" fmla="*/ 156095 w 511933"/>
                <a:gd name="connsiteY344" fmla="*/ 47064 h 1285341"/>
                <a:gd name="connsiteX345" fmla="*/ 173964 w 511933"/>
                <a:gd name="connsiteY345" fmla="*/ 3640 h 128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Lst>
              <a:rect l="l" t="t" r="r" b="b"/>
              <a:pathLst>
                <a:path w="511933" h="1285341">
                  <a:moveTo>
                    <a:pt x="242506" y="967087"/>
                  </a:moveTo>
                  <a:lnTo>
                    <a:pt x="239964" y="975982"/>
                  </a:lnTo>
                  <a:lnTo>
                    <a:pt x="248859" y="977253"/>
                  </a:lnTo>
                  <a:lnTo>
                    <a:pt x="252672" y="968357"/>
                  </a:lnTo>
                  <a:close/>
                  <a:moveTo>
                    <a:pt x="121784" y="989961"/>
                  </a:moveTo>
                  <a:lnTo>
                    <a:pt x="121784" y="995044"/>
                  </a:lnTo>
                  <a:lnTo>
                    <a:pt x="125597" y="996314"/>
                  </a:lnTo>
                  <a:lnTo>
                    <a:pt x="125597" y="991230"/>
                  </a:lnTo>
                  <a:close/>
                  <a:moveTo>
                    <a:pt x="262838" y="880676"/>
                  </a:moveTo>
                  <a:lnTo>
                    <a:pt x="261566" y="887029"/>
                  </a:lnTo>
                  <a:lnTo>
                    <a:pt x="267921" y="888301"/>
                  </a:lnTo>
                  <a:lnTo>
                    <a:pt x="269191" y="881946"/>
                  </a:lnTo>
                  <a:close/>
                  <a:moveTo>
                    <a:pt x="293336" y="857802"/>
                  </a:moveTo>
                  <a:lnTo>
                    <a:pt x="293336" y="859073"/>
                  </a:lnTo>
                  <a:lnTo>
                    <a:pt x="294606" y="859073"/>
                  </a:lnTo>
                  <a:lnTo>
                    <a:pt x="294606" y="857803"/>
                  </a:lnTo>
                  <a:close/>
                  <a:moveTo>
                    <a:pt x="124325" y="878135"/>
                  </a:moveTo>
                  <a:lnTo>
                    <a:pt x="119242" y="890842"/>
                  </a:lnTo>
                  <a:lnTo>
                    <a:pt x="133221" y="892112"/>
                  </a:lnTo>
                  <a:lnTo>
                    <a:pt x="138304" y="878135"/>
                  </a:lnTo>
                  <a:close/>
                  <a:moveTo>
                    <a:pt x="167531" y="842553"/>
                  </a:moveTo>
                  <a:lnTo>
                    <a:pt x="163719" y="853990"/>
                  </a:lnTo>
                  <a:lnTo>
                    <a:pt x="176427" y="856531"/>
                  </a:lnTo>
                  <a:lnTo>
                    <a:pt x="180238" y="842554"/>
                  </a:lnTo>
                  <a:close/>
                  <a:moveTo>
                    <a:pt x="275545" y="792993"/>
                  </a:moveTo>
                  <a:lnTo>
                    <a:pt x="269191" y="804431"/>
                  </a:lnTo>
                  <a:lnTo>
                    <a:pt x="266649" y="820950"/>
                  </a:lnTo>
                  <a:lnTo>
                    <a:pt x="284440" y="819680"/>
                  </a:lnTo>
                  <a:lnTo>
                    <a:pt x="297147" y="823492"/>
                  </a:lnTo>
                  <a:lnTo>
                    <a:pt x="300960" y="810784"/>
                  </a:lnTo>
                  <a:lnTo>
                    <a:pt x="302230" y="795535"/>
                  </a:lnTo>
                  <a:lnTo>
                    <a:pt x="286981" y="796806"/>
                  </a:lnTo>
                  <a:close/>
                  <a:moveTo>
                    <a:pt x="82391" y="853990"/>
                  </a:moveTo>
                  <a:lnTo>
                    <a:pt x="77308" y="870510"/>
                  </a:lnTo>
                  <a:lnTo>
                    <a:pt x="95099" y="871780"/>
                  </a:lnTo>
                  <a:lnTo>
                    <a:pt x="97640" y="856531"/>
                  </a:lnTo>
                  <a:close/>
                  <a:moveTo>
                    <a:pt x="40456" y="866697"/>
                  </a:moveTo>
                  <a:lnTo>
                    <a:pt x="39186" y="875593"/>
                  </a:lnTo>
                  <a:lnTo>
                    <a:pt x="46810" y="876863"/>
                  </a:lnTo>
                  <a:lnTo>
                    <a:pt x="49352" y="869239"/>
                  </a:lnTo>
                  <a:close/>
                  <a:moveTo>
                    <a:pt x="143387" y="785369"/>
                  </a:moveTo>
                  <a:lnTo>
                    <a:pt x="139574" y="796807"/>
                  </a:lnTo>
                  <a:lnTo>
                    <a:pt x="151012" y="796806"/>
                  </a:lnTo>
                  <a:lnTo>
                    <a:pt x="153553" y="787911"/>
                  </a:lnTo>
                  <a:close/>
                  <a:moveTo>
                    <a:pt x="314938" y="721832"/>
                  </a:moveTo>
                  <a:lnTo>
                    <a:pt x="309855" y="734539"/>
                  </a:lnTo>
                  <a:lnTo>
                    <a:pt x="323834" y="735811"/>
                  </a:lnTo>
                  <a:lnTo>
                    <a:pt x="328917" y="721831"/>
                  </a:lnTo>
                  <a:close/>
                  <a:moveTo>
                    <a:pt x="105265" y="782828"/>
                  </a:moveTo>
                  <a:lnTo>
                    <a:pt x="106535" y="798076"/>
                  </a:lnTo>
                  <a:lnTo>
                    <a:pt x="98910" y="812055"/>
                  </a:lnTo>
                  <a:lnTo>
                    <a:pt x="114159" y="815867"/>
                  </a:lnTo>
                  <a:lnTo>
                    <a:pt x="125597" y="812055"/>
                  </a:lnTo>
                  <a:lnTo>
                    <a:pt x="129408" y="801890"/>
                  </a:lnTo>
                  <a:lnTo>
                    <a:pt x="131950" y="789182"/>
                  </a:lnTo>
                  <a:lnTo>
                    <a:pt x="119242" y="789182"/>
                  </a:lnTo>
                  <a:close/>
                  <a:moveTo>
                    <a:pt x="26478" y="794265"/>
                  </a:moveTo>
                  <a:lnTo>
                    <a:pt x="23937" y="810784"/>
                  </a:lnTo>
                  <a:lnTo>
                    <a:pt x="40456" y="814597"/>
                  </a:lnTo>
                  <a:lnTo>
                    <a:pt x="44269" y="796807"/>
                  </a:lnTo>
                  <a:close/>
                  <a:moveTo>
                    <a:pt x="274274" y="697688"/>
                  </a:moveTo>
                  <a:lnTo>
                    <a:pt x="269191" y="715479"/>
                  </a:lnTo>
                  <a:lnTo>
                    <a:pt x="286981" y="716748"/>
                  </a:lnTo>
                  <a:lnTo>
                    <a:pt x="289523" y="701500"/>
                  </a:lnTo>
                  <a:close/>
                  <a:moveTo>
                    <a:pt x="231068" y="711666"/>
                  </a:moveTo>
                  <a:lnTo>
                    <a:pt x="229798" y="720562"/>
                  </a:lnTo>
                  <a:lnTo>
                    <a:pt x="237423" y="721831"/>
                  </a:lnTo>
                  <a:lnTo>
                    <a:pt x="239964" y="714207"/>
                  </a:lnTo>
                  <a:close/>
                  <a:moveTo>
                    <a:pt x="164989" y="714207"/>
                  </a:moveTo>
                  <a:lnTo>
                    <a:pt x="162448" y="725645"/>
                  </a:lnTo>
                  <a:lnTo>
                    <a:pt x="173885" y="725644"/>
                  </a:lnTo>
                  <a:lnTo>
                    <a:pt x="176427" y="716749"/>
                  </a:lnTo>
                  <a:close/>
                  <a:moveTo>
                    <a:pt x="116701" y="725644"/>
                  </a:moveTo>
                  <a:lnTo>
                    <a:pt x="116701" y="728186"/>
                  </a:lnTo>
                  <a:lnTo>
                    <a:pt x="119242" y="728186"/>
                  </a:lnTo>
                  <a:lnTo>
                    <a:pt x="119242" y="725644"/>
                  </a:lnTo>
                  <a:close/>
                  <a:moveTo>
                    <a:pt x="50622" y="730728"/>
                  </a:moveTo>
                  <a:lnTo>
                    <a:pt x="46810" y="753601"/>
                  </a:lnTo>
                  <a:lnTo>
                    <a:pt x="68412" y="757413"/>
                  </a:lnTo>
                  <a:lnTo>
                    <a:pt x="72225" y="735811"/>
                  </a:lnTo>
                  <a:close/>
                  <a:moveTo>
                    <a:pt x="334000" y="629068"/>
                  </a:moveTo>
                  <a:lnTo>
                    <a:pt x="330187" y="640504"/>
                  </a:lnTo>
                  <a:lnTo>
                    <a:pt x="341624" y="640504"/>
                  </a:lnTo>
                  <a:lnTo>
                    <a:pt x="344166" y="631609"/>
                  </a:lnTo>
                  <a:close/>
                  <a:moveTo>
                    <a:pt x="15041" y="723103"/>
                  </a:moveTo>
                  <a:lnTo>
                    <a:pt x="12499" y="731998"/>
                  </a:lnTo>
                  <a:lnTo>
                    <a:pt x="21395" y="733269"/>
                  </a:lnTo>
                  <a:lnTo>
                    <a:pt x="25207" y="724373"/>
                  </a:lnTo>
                  <a:close/>
                  <a:moveTo>
                    <a:pt x="297147" y="626526"/>
                  </a:moveTo>
                  <a:lnTo>
                    <a:pt x="298419" y="641775"/>
                  </a:lnTo>
                  <a:lnTo>
                    <a:pt x="290794" y="655753"/>
                  </a:lnTo>
                  <a:lnTo>
                    <a:pt x="306043" y="659565"/>
                  </a:lnTo>
                  <a:lnTo>
                    <a:pt x="317480" y="655753"/>
                  </a:lnTo>
                  <a:lnTo>
                    <a:pt x="321292" y="645586"/>
                  </a:lnTo>
                  <a:lnTo>
                    <a:pt x="323834" y="632879"/>
                  </a:lnTo>
                  <a:lnTo>
                    <a:pt x="311126" y="632879"/>
                  </a:lnTo>
                  <a:close/>
                  <a:moveTo>
                    <a:pt x="144657" y="673543"/>
                  </a:moveTo>
                  <a:lnTo>
                    <a:pt x="143387" y="682439"/>
                  </a:lnTo>
                  <a:lnTo>
                    <a:pt x="152282" y="684981"/>
                  </a:lnTo>
                  <a:lnTo>
                    <a:pt x="154823" y="674815"/>
                  </a:lnTo>
                  <a:close/>
                  <a:moveTo>
                    <a:pt x="192946" y="653211"/>
                  </a:moveTo>
                  <a:lnTo>
                    <a:pt x="192946" y="657024"/>
                  </a:lnTo>
                  <a:lnTo>
                    <a:pt x="196759" y="658294"/>
                  </a:lnTo>
                  <a:lnTo>
                    <a:pt x="196759" y="654482"/>
                  </a:lnTo>
                  <a:close/>
                  <a:moveTo>
                    <a:pt x="63329" y="695146"/>
                  </a:moveTo>
                  <a:lnTo>
                    <a:pt x="62059" y="702771"/>
                  </a:lnTo>
                  <a:lnTo>
                    <a:pt x="69684" y="704041"/>
                  </a:lnTo>
                  <a:lnTo>
                    <a:pt x="72225" y="696417"/>
                  </a:lnTo>
                  <a:close/>
                  <a:moveTo>
                    <a:pt x="218361" y="637962"/>
                  </a:moveTo>
                  <a:lnTo>
                    <a:pt x="215819" y="654483"/>
                  </a:lnTo>
                  <a:lnTo>
                    <a:pt x="232340" y="658294"/>
                  </a:lnTo>
                  <a:lnTo>
                    <a:pt x="236151" y="640504"/>
                  </a:lnTo>
                  <a:close/>
                  <a:moveTo>
                    <a:pt x="95099" y="660836"/>
                  </a:moveTo>
                  <a:lnTo>
                    <a:pt x="91286" y="676084"/>
                  </a:lnTo>
                  <a:lnTo>
                    <a:pt x="107806" y="678626"/>
                  </a:lnTo>
                  <a:lnTo>
                    <a:pt x="107806" y="664649"/>
                  </a:lnTo>
                  <a:close/>
                  <a:moveTo>
                    <a:pt x="307314" y="568072"/>
                  </a:moveTo>
                  <a:lnTo>
                    <a:pt x="307314" y="571883"/>
                  </a:lnTo>
                  <a:lnTo>
                    <a:pt x="309855" y="571883"/>
                  </a:lnTo>
                  <a:lnTo>
                    <a:pt x="309855" y="569342"/>
                  </a:lnTo>
                  <a:close/>
                  <a:moveTo>
                    <a:pt x="241234" y="575696"/>
                  </a:moveTo>
                  <a:lnTo>
                    <a:pt x="237423" y="598570"/>
                  </a:lnTo>
                  <a:lnTo>
                    <a:pt x="259025" y="601111"/>
                  </a:lnTo>
                  <a:lnTo>
                    <a:pt x="262838" y="579507"/>
                  </a:lnTo>
                  <a:close/>
                  <a:moveTo>
                    <a:pt x="35373" y="637962"/>
                  </a:moveTo>
                  <a:lnTo>
                    <a:pt x="34103" y="644317"/>
                  </a:lnTo>
                  <a:lnTo>
                    <a:pt x="40456" y="645587"/>
                  </a:lnTo>
                  <a:lnTo>
                    <a:pt x="41727" y="639233"/>
                  </a:lnTo>
                  <a:close/>
                  <a:moveTo>
                    <a:pt x="129408" y="596028"/>
                  </a:moveTo>
                  <a:lnTo>
                    <a:pt x="128138" y="610005"/>
                  </a:lnTo>
                  <a:lnTo>
                    <a:pt x="142116" y="613819"/>
                  </a:lnTo>
                  <a:lnTo>
                    <a:pt x="145929" y="598569"/>
                  </a:lnTo>
                  <a:close/>
                  <a:moveTo>
                    <a:pt x="65871" y="613818"/>
                  </a:moveTo>
                  <a:lnTo>
                    <a:pt x="65871" y="615089"/>
                  </a:lnTo>
                  <a:lnTo>
                    <a:pt x="67142" y="615089"/>
                  </a:lnTo>
                  <a:lnTo>
                    <a:pt x="67142" y="613819"/>
                  </a:lnTo>
                  <a:close/>
                  <a:moveTo>
                    <a:pt x="205653" y="566800"/>
                  </a:moveTo>
                  <a:lnTo>
                    <a:pt x="204383" y="575696"/>
                  </a:lnTo>
                  <a:lnTo>
                    <a:pt x="213278" y="576966"/>
                  </a:lnTo>
                  <a:lnTo>
                    <a:pt x="215820" y="568072"/>
                  </a:lnTo>
                  <a:close/>
                  <a:moveTo>
                    <a:pt x="336541" y="517242"/>
                  </a:moveTo>
                  <a:lnTo>
                    <a:pt x="335270" y="526136"/>
                  </a:lnTo>
                  <a:lnTo>
                    <a:pt x="344166" y="528678"/>
                  </a:lnTo>
                  <a:lnTo>
                    <a:pt x="346707" y="518512"/>
                  </a:lnTo>
                  <a:close/>
                  <a:moveTo>
                    <a:pt x="255213" y="540115"/>
                  </a:moveTo>
                  <a:lnTo>
                    <a:pt x="253942" y="547740"/>
                  </a:lnTo>
                  <a:lnTo>
                    <a:pt x="261566" y="549009"/>
                  </a:lnTo>
                  <a:lnTo>
                    <a:pt x="264108" y="541385"/>
                  </a:lnTo>
                  <a:close/>
                  <a:moveTo>
                    <a:pt x="286982" y="504534"/>
                  </a:moveTo>
                  <a:lnTo>
                    <a:pt x="283170" y="519783"/>
                  </a:lnTo>
                  <a:lnTo>
                    <a:pt x="299689" y="522325"/>
                  </a:lnTo>
                  <a:lnTo>
                    <a:pt x="299689" y="508345"/>
                  </a:lnTo>
                  <a:close/>
                  <a:moveTo>
                    <a:pt x="48080" y="549010"/>
                  </a:moveTo>
                  <a:lnTo>
                    <a:pt x="41727" y="560447"/>
                  </a:lnTo>
                  <a:lnTo>
                    <a:pt x="37914" y="576966"/>
                  </a:lnTo>
                  <a:lnTo>
                    <a:pt x="55705" y="575696"/>
                  </a:lnTo>
                  <a:lnTo>
                    <a:pt x="68412" y="579508"/>
                  </a:lnTo>
                  <a:lnTo>
                    <a:pt x="72225" y="566800"/>
                  </a:lnTo>
                  <a:lnTo>
                    <a:pt x="74767" y="551551"/>
                  </a:lnTo>
                  <a:lnTo>
                    <a:pt x="59518" y="552822"/>
                  </a:lnTo>
                  <a:close/>
                  <a:moveTo>
                    <a:pt x="227257" y="481660"/>
                  </a:moveTo>
                  <a:lnTo>
                    <a:pt x="225985" y="488014"/>
                  </a:lnTo>
                  <a:lnTo>
                    <a:pt x="232340" y="489285"/>
                  </a:lnTo>
                  <a:lnTo>
                    <a:pt x="233610" y="482931"/>
                  </a:lnTo>
                  <a:close/>
                  <a:moveTo>
                    <a:pt x="321292" y="439725"/>
                  </a:moveTo>
                  <a:lnTo>
                    <a:pt x="320021" y="453704"/>
                  </a:lnTo>
                  <a:lnTo>
                    <a:pt x="334000" y="457516"/>
                  </a:lnTo>
                  <a:lnTo>
                    <a:pt x="337811" y="442267"/>
                  </a:lnTo>
                  <a:close/>
                  <a:moveTo>
                    <a:pt x="257755" y="457516"/>
                  </a:moveTo>
                  <a:lnTo>
                    <a:pt x="257755" y="458787"/>
                  </a:lnTo>
                  <a:lnTo>
                    <a:pt x="259025" y="458787"/>
                  </a:lnTo>
                  <a:lnTo>
                    <a:pt x="259025" y="457516"/>
                  </a:lnTo>
                  <a:close/>
                  <a:moveTo>
                    <a:pt x="107806" y="485472"/>
                  </a:moveTo>
                  <a:lnTo>
                    <a:pt x="102723" y="498180"/>
                  </a:lnTo>
                  <a:lnTo>
                    <a:pt x="116701" y="499451"/>
                  </a:lnTo>
                  <a:lnTo>
                    <a:pt x="120514" y="485472"/>
                  </a:lnTo>
                  <a:close/>
                  <a:moveTo>
                    <a:pt x="152282" y="449891"/>
                  </a:moveTo>
                  <a:lnTo>
                    <a:pt x="148470" y="461328"/>
                  </a:lnTo>
                  <a:lnTo>
                    <a:pt x="161178" y="463870"/>
                  </a:lnTo>
                  <a:lnTo>
                    <a:pt x="164989" y="449891"/>
                  </a:lnTo>
                  <a:close/>
                  <a:moveTo>
                    <a:pt x="67142" y="461328"/>
                  </a:moveTo>
                  <a:lnTo>
                    <a:pt x="62059" y="479119"/>
                  </a:lnTo>
                  <a:lnTo>
                    <a:pt x="79850" y="480389"/>
                  </a:lnTo>
                  <a:lnTo>
                    <a:pt x="82391" y="465140"/>
                  </a:lnTo>
                  <a:close/>
                  <a:moveTo>
                    <a:pt x="22665" y="474036"/>
                  </a:moveTo>
                  <a:lnTo>
                    <a:pt x="28167" y="475608"/>
                  </a:lnTo>
                  <a:lnTo>
                    <a:pt x="26444" y="483561"/>
                  </a:lnTo>
                  <a:lnTo>
                    <a:pt x="22665" y="482931"/>
                  </a:lnTo>
                  <a:close/>
                  <a:moveTo>
                    <a:pt x="345436" y="359668"/>
                  </a:moveTo>
                  <a:lnTo>
                    <a:pt x="340353" y="377459"/>
                  </a:lnTo>
                  <a:lnTo>
                    <a:pt x="358143" y="378729"/>
                  </a:lnTo>
                  <a:lnTo>
                    <a:pt x="360685" y="363480"/>
                  </a:lnTo>
                  <a:close/>
                  <a:moveTo>
                    <a:pt x="239964" y="393978"/>
                  </a:moveTo>
                  <a:lnTo>
                    <a:pt x="233610" y="405415"/>
                  </a:lnTo>
                  <a:lnTo>
                    <a:pt x="229798" y="421934"/>
                  </a:lnTo>
                  <a:lnTo>
                    <a:pt x="247589" y="420664"/>
                  </a:lnTo>
                  <a:lnTo>
                    <a:pt x="260296" y="424476"/>
                  </a:lnTo>
                  <a:lnTo>
                    <a:pt x="264108" y="411768"/>
                  </a:lnTo>
                  <a:lnTo>
                    <a:pt x="266649" y="396519"/>
                  </a:lnTo>
                  <a:lnTo>
                    <a:pt x="251400" y="397791"/>
                  </a:lnTo>
                  <a:close/>
                  <a:moveTo>
                    <a:pt x="126867" y="392708"/>
                  </a:moveTo>
                  <a:lnTo>
                    <a:pt x="123055" y="404144"/>
                  </a:lnTo>
                  <a:lnTo>
                    <a:pt x="134491" y="404144"/>
                  </a:lnTo>
                  <a:lnTo>
                    <a:pt x="137033" y="395249"/>
                  </a:lnTo>
                  <a:close/>
                  <a:moveTo>
                    <a:pt x="406432" y="291048"/>
                  </a:moveTo>
                  <a:lnTo>
                    <a:pt x="402620" y="302484"/>
                  </a:lnTo>
                  <a:lnTo>
                    <a:pt x="414057" y="302484"/>
                  </a:lnTo>
                  <a:lnTo>
                    <a:pt x="415328" y="293589"/>
                  </a:lnTo>
                  <a:close/>
                  <a:moveTo>
                    <a:pt x="368309" y="288506"/>
                  </a:moveTo>
                  <a:lnTo>
                    <a:pt x="369581" y="303755"/>
                  </a:lnTo>
                  <a:lnTo>
                    <a:pt x="361956" y="317733"/>
                  </a:lnTo>
                  <a:lnTo>
                    <a:pt x="377205" y="321546"/>
                  </a:lnTo>
                  <a:lnTo>
                    <a:pt x="388642" y="317733"/>
                  </a:lnTo>
                  <a:lnTo>
                    <a:pt x="392454" y="307567"/>
                  </a:lnTo>
                  <a:lnTo>
                    <a:pt x="394996" y="294860"/>
                  </a:lnTo>
                  <a:lnTo>
                    <a:pt x="382288" y="294860"/>
                  </a:lnTo>
                  <a:close/>
                  <a:moveTo>
                    <a:pt x="289523" y="299942"/>
                  </a:moveTo>
                  <a:lnTo>
                    <a:pt x="286982" y="316463"/>
                  </a:lnTo>
                  <a:lnTo>
                    <a:pt x="303502" y="320274"/>
                  </a:lnTo>
                  <a:lnTo>
                    <a:pt x="307313" y="302484"/>
                  </a:lnTo>
                  <a:close/>
                  <a:moveTo>
                    <a:pt x="149740" y="321546"/>
                  </a:moveTo>
                  <a:lnTo>
                    <a:pt x="148470" y="334253"/>
                  </a:lnTo>
                  <a:lnTo>
                    <a:pt x="158636" y="334253"/>
                  </a:lnTo>
                  <a:lnTo>
                    <a:pt x="161178" y="324087"/>
                  </a:lnTo>
                  <a:close/>
                  <a:moveTo>
                    <a:pt x="100182" y="331712"/>
                  </a:moveTo>
                  <a:lnTo>
                    <a:pt x="100182" y="335523"/>
                  </a:lnTo>
                  <a:lnTo>
                    <a:pt x="102723" y="335524"/>
                  </a:lnTo>
                  <a:lnTo>
                    <a:pt x="102723" y="332982"/>
                  </a:lnTo>
                  <a:close/>
                  <a:moveTo>
                    <a:pt x="428035" y="219886"/>
                  </a:moveTo>
                  <a:lnTo>
                    <a:pt x="426764" y="232593"/>
                  </a:lnTo>
                  <a:lnTo>
                    <a:pt x="436930" y="232593"/>
                  </a:lnTo>
                  <a:lnTo>
                    <a:pt x="439472" y="222427"/>
                  </a:lnTo>
                  <a:close/>
                  <a:moveTo>
                    <a:pt x="379747" y="231322"/>
                  </a:moveTo>
                  <a:lnTo>
                    <a:pt x="379747" y="235135"/>
                  </a:lnTo>
                  <a:lnTo>
                    <a:pt x="382288" y="235135"/>
                  </a:lnTo>
                  <a:lnTo>
                    <a:pt x="382288" y="232593"/>
                  </a:lnTo>
                  <a:close/>
                  <a:moveTo>
                    <a:pt x="312396" y="237676"/>
                  </a:moveTo>
                  <a:lnTo>
                    <a:pt x="308585" y="260550"/>
                  </a:lnTo>
                  <a:lnTo>
                    <a:pt x="330187" y="263091"/>
                  </a:lnTo>
                  <a:lnTo>
                    <a:pt x="334000" y="241488"/>
                  </a:lnTo>
                  <a:close/>
                  <a:moveTo>
                    <a:pt x="129408" y="280882"/>
                  </a:moveTo>
                  <a:lnTo>
                    <a:pt x="128138" y="289777"/>
                  </a:lnTo>
                  <a:lnTo>
                    <a:pt x="137033" y="292318"/>
                  </a:lnTo>
                  <a:lnTo>
                    <a:pt x="139574" y="282152"/>
                  </a:lnTo>
                  <a:close/>
                  <a:moveTo>
                    <a:pt x="278087" y="230052"/>
                  </a:moveTo>
                  <a:lnTo>
                    <a:pt x="275545" y="238946"/>
                  </a:lnTo>
                  <a:lnTo>
                    <a:pt x="284440" y="240218"/>
                  </a:lnTo>
                  <a:lnTo>
                    <a:pt x="288253" y="231322"/>
                  </a:lnTo>
                  <a:close/>
                  <a:moveTo>
                    <a:pt x="407703" y="179222"/>
                  </a:moveTo>
                  <a:lnTo>
                    <a:pt x="406432" y="188117"/>
                  </a:lnTo>
                  <a:lnTo>
                    <a:pt x="415328" y="190658"/>
                  </a:lnTo>
                  <a:lnTo>
                    <a:pt x="417869" y="180492"/>
                  </a:lnTo>
                  <a:close/>
                  <a:moveTo>
                    <a:pt x="326375" y="202095"/>
                  </a:moveTo>
                  <a:lnTo>
                    <a:pt x="325104" y="209720"/>
                  </a:lnTo>
                  <a:lnTo>
                    <a:pt x="332728" y="210990"/>
                  </a:lnTo>
                  <a:lnTo>
                    <a:pt x="335270" y="203365"/>
                  </a:lnTo>
                  <a:close/>
                  <a:moveTo>
                    <a:pt x="455992" y="158890"/>
                  </a:moveTo>
                  <a:lnTo>
                    <a:pt x="455992" y="162702"/>
                  </a:lnTo>
                  <a:lnTo>
                    <a:pt x="459804" y="163973"/>
                  </a:lnTo>
                  <a:lnTo>
                    <a:pt x="459804" y="160160"/>
                  </a:lnTo>
                  <a:close/>
                  <a:moveTo>
                    <a:pt x="358143" y="166514"/>
                  </a:moveTo>
                  <a:lnTo>
                    <a:pt x="354332" y="181763"/>
                  </a:lnTo>
                  <a:lnTo>
                    <a:pt x="370851" y="184305"/>
                  </a:lnTo>
                  <a:lnTo>
                    <a:pt x="370851" y="170326"/>
                  </a:lnTo>
                  <a:close/>
                  <a:moveTo>
                    <a:pt x="298419" y="143641"/>
                  </a:moveTo>
                  <a:lnTo>
                    <a:pt x="297147" y="149994"/>
                  </a:lnTo>
                  <a:lnTo>
                    <a:pt x="303502" y="151265"/>
                  </a:lnTo>
                  <a:lnTo>
                    <a:pt x="304772" y="144911"/>
                  </a:lnTo>
                  <a:close/>
                  <a:moveTo>
                    <a:pt x="392454" y="102977"/>
                  </a:moveTo>
                  <a:lnTo>
                    <a:pt x="391183" y="116955"/>
                  </a:lnTo>
                  <a:lnTo>
                    <a:pt x="405162" y="120767"/>
                  </a:lnTo>
                  <a:lnTo>
                    <a:pt x="408974" y="105518"/>
                  </a:lnTo>
                  <a:close/>
                  <a:moveTo>
                    <a:pt x="328917" y="119496"/>
                  </a:moveTo>
                  <a:lnTo>
                    <a:pt x="328917" y="120767"/>
                  </a:lnTo>
                  <a:lnTo>
                    <a:pt x="330187" y="120767"/>
                  </a:lnTo>
                  <a:lnTo>
                    <a:pt x="330187" y="119496"/>
                  </a:lnTo>
                  <a:close/>
                  <a:moveTo>
                    <a:pt x="176427" y="108060"/>
                  </a:moveTo>
                  <a:lnTo>
                    <a:pt x="176427" y="109330"/>
                  </a:lnTo>
                  <a:lnTo>
                    <a:pt x="177697" y="109330"/>
                  </a:lnTo>
                  <a:lnTo>
                    <a:pt x="177697" y="108060"/>
                  </a:lnTo>
                  <a:close/>
                  <a:moveTo>
                    <a:pt x="311126" y="55958"/>
                  </a:moveTo>
                  <a:lnTo>
                    <a:pt x="304772" y="67396"/>
                  </a:lnTo>
                  <a:lnTo>
                    <a:pt x="300960" y="83915"/>
                  </a:lnTo>
                  <a:lnTo>
                    <a:pt x="318751" y="82645"/>
                  </a:lnTo>
                  <a:lnTo>
                    <a:pt x="331458" y="86456"/>
                  </a:lnTo>
                  <a:lnTo>
                    <a:pt x="335270" y="73749"/>
                  </a:lnTo>
                  <a:lnTo>
                    <a:pt x="337811" y="58500"/>
                  </a:lnTo>
                  <a:lnTo>
                    <a:pt x="322562" y="59771"/>
                  </a:lnTo>
                  <a:close/>
                  <a:moveTo>
                    <a:pt x="205653" y="80103"/>
                  </a:moveTo>
                  <a:lnTo>
                    <a:pt x="203112" y="86456"/>
                  </a:lnTo>
                  <a:lnTo>
                    <a:pt x="209466" y="87728"/>
                  </a:lnTo>
                  <a:lnTo>
                    <a:pt x="212008" y="81373"/>
                  </a:lnTo>
                  <a:close/>
                  <a:moveTo>
                    <a:pt x="181510" y="17836"/>
                  </a:moveTo>
                  <a:lnTo>
                    <a:pt x="178968" y="25460"/>
                  </a:lnTo>
                  <a:lnTo>
                    <a:pt x="186593" y="28002"/>
                  </a:lnTo>
                  <a:lnTo>
                    <a:pt x="189134" y="19107"/>
                  </a:lnTo>
                  <a:close/>
                  <a:moveTo>
                    <a:pt x="173964" y="3640"/>
                  </a:moveTo>
                  <a:cubicBezTo>
                    <a:pt x="179286" y="1078"/>
                    <a:pt x="186275" y="-272"/>
                    <a:pt x="195487" y="45"/>
                  </a:cubicBezTo>
                  <a:cubicBezTo>
                    <a:pt x="242506" y="2587"/>
                    <a:pt x="345436" y="44522"/>
                    <a:pt x="345436" y="44522"/>
                  </a:cubicBezTo>
                  <a:cubicBezTo>
                    <a:pt x="347977" y="44522"/>
                    <a:pt x="514447" y="78832"/>
                    <a:pt x="511905" y="133475"/>
                  </a:cubicBezTo>
                  <a:cubicBezTo>
                    <a:pt x="510634" y="152536"/>
                    <a:pt x="455992" y="236405"/>
                    <a:pt x="422952" y="299943"/>
                  </a:cubicBezTo>
                  <a:cubicBezTo>
                    <a:pt x="386100" y="368563"/>
                    <a:pt x="350519" y="466411"/>
                    <a:pt x="350519" y="466411"/>
                  </a:cubicBezTo>
                  <a:cubicBezTo>
                    <a:pt x="350519" y="466411"/>
                    <a:pt x="367039" y="655752"/>
                    <a:pt x="332728" y="773933"/>
                  </a:cubicBezTo>
                  <a:cubicBezTo>
                    <a:pt x="304931" y="868445"/>
                    <a:pt x="240401" y="1073651"/>
                    <a:pt x="195912" y="1214265"/>
                  </a:cubicBezTo>
                  <a:lnTo>
                    <a:pt x="173389" y="1285341"/>
                  </a:lnTo>
                  <a:lnTo>
                    <a:pt x="100738" y="1063664"/>
                  </a:lnTo>
                  <a:lnTo>
                    <a:pt x="101452" y="1063664"/>
                  </a:lnTo>
                  <a:lnTo>
                    <a:pt x="105265" y="1054768"/>
                  </a:lnTo>
                  <a:lnTo>
                    <a:pt x="97238" y="1052984"/>
                  </a:lnTo>
                  <a:lnTo>
                    <a:pt x="63414" y="949781"/>
                  </a:lnTo>
                  <a:lnTo>
                    <a:pt x="70954" y="951838"/>
                  </a:lnTo>
                  <a:lnTo>
                    <a:pt x="74767" y="936589"/>
                  </a:lnTo>
                  <a:lnTo>
                    <a:pt x="58258" y="934049"/>
                  </a:lnTo>
                  <a:lnTo>
                    <a:pt x="0" y="756290"/>
                  </a:lnTo>
                  <a:lnTo>
                    <a:pt x="130" y="695682"/>
                  </a:lnTo>
                  <a:cubicBezTo>
                    <a:pt x="5252" y="599542"/>
                    <a:pt x="18079" y="524607"/>
                    <a:pt x="26061" y="485333"/>
                  </a:cubicBezTo>
                  <a:lnTo>
                    <a:pt x="26444" y="483561"/>
                  </a:lnTo>
                  <a:lnTo>
                    <a:pt x="30290" y="484202"/>
                  </a:lnTo>
                  <a:lnTo>
                    <a:pt x="31561" y="476578"/>
                  </a:lnTo>
                  <a:lnTo>
                    <a:pt x="28167" y="475608"/>
                  </a:lnTo>
                  <a:lnTo>
                    <a:pt x="30943" y="462790"/>
                  </a:lnTo>
                  <a:cubicBezTo>
                    <a:pt x="32136" y="457655"/>
                    <a:pt x="32831" y="454974"/>
                    <a:pt x="32831" y="454974"/>
                  </a:cubicBezTo>
                  <a:cubicBezTo>
                    <a:pt x="32831" y="454974"/>
                    <a:pt x="60788" y="366022"/>
                    <a:pt x="93827" y="285965"/>
                  </a:cubicBezTo>
                  <a:lnTo>
                    <a:pt x="96369" y="285965"/>
                  </a:lnTo>
                  <a:lnTo>
                    <a:pt x="96369" y="277069"/>
                  </a:lnTo>
                  <a:cubicBezTo>
                    <a:pt x="105265" y="256737"/>
                    <a:pt x="112889" y="237676"/>
                    <a:pt x="121784" y="219886"/>
                  </a:cubicBezTo>
                  <a:lnTo>
                    <a:pt x="126867" y="221156"/>
                  </a:lnTo>
                  <a:cubicBezTo>
                    <a:pt x="145929" y="238946"/>
                    <a:pt x="167531" y="255467"/>
                    <a:pt x="190404" y="270716"/>
                  </a:cubicBezTo>
                  <a:cubicBezTo>
                    <a:pt x="266649" y="319004"/>
                    <a:pt x="331458" y="428289"/>
                    <a:pt x="331458" y="428289"/>
                  </a:cubicBezTo>
                  <a:cubicBezTo>
                    <a:pt x="331458" y="428289"/>
                    <a:pt x="328917" y="386354"/>
                    <a:pt x="302230" y="340607"/>
                  </a:cubicBezTo>
                  <a:cubicBezTo>
                    <a:pt x="275545" y="294859"/>
                    <a:pt x="271732" y="294860"/>
                    <a:pt x="196759" y="207178"/>
                  </a:cubicBezTo>
                  <a:cubicBezTo>
                    <a:pt x="185321" y="194471"/>
                    <a:pt x="176427" y="183034"/>
                    <a:pt x="170072" y="170326"/>
                  </a:cubicBezTo>
                  <a:lnTo>
                    <a:pt x="182780" y="170326"/>
                  </a:lnTo>
                  <a:lnTo>
                    <a:pt x="194217" y="175409"/>
                  </a:lnTo>
                  <a:lnTo>
                    <a:pt x="201842" y="165243"/>
                  </a:lnTo>
                  <a:lnTo>
                    <a:pt x="205653" y="148724"/>
                  </a:lnTo>
                  <a:lnTo>
                    <a:pt x="187863" y="148724"/>
                  </a:lnTo>
                  <a:lnTo>
                    <a:pt x="175155" y="143641"/>
                  </a:lnTo>
                  <a:lnTo>
                    <a:pt x="170072" y="156348"/>
                  </a:lnTo>
                  <a:lnTo>
                    <a:pt x="166261" y="167784"/>
                  </a:lnTo>
                  <a:cubicBezTo>
                    <a:pt x="147199" y="130933"/>
                    <a:pt x="144657" y="96622"/>
                    <a:pt x="153553" y="62313"/>
                  </a:cubicBezTo>
                  <a:cubicBezTo>
                    <a:pt x="153553" y="62313"/>
                    <a:pt x="153553" y="61042"/>
                    <a:pt x="153553" y="61042"/>
                  </a:cubicBezTo>
                  <a:lnTo>
                    <a:pt x="156095" y="62313"/>
                  </a:lnTo>
                  <a:lnTo>
                    <a:pt x="161178" y="48334"/>
                  </a:lnTo>
                  <a:lnTo>
                    <a:pt x="156095" y="47064"/>
                  </a:lnTo>
                  <a:cubicBezTo>
                    <a:pt x="157047" y="29909"/>
                    <a:pt x="158001" y="11324"/>
                    <a:pt x="173964" y="3640"/>
                  </a:cubicBezTo>
                  <a:close/>
                </a:path>
              </a:pathLst>
            </a:custGeom>
            <a:grp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8" name="Freeform: Shape 7">
              <a:extLst>
                <a:ext uri="{FF2B5EF4-FFF2-40B4-BE49-F238E27FC236}">
                  <a16:creationId xmlns:a16="http://schemas.microsoft.com/office/drawing/2014/main" id="{C1D05F06-0A4D-74D7-1EDD-25DDC57D693D}"/>
                </a:ext>
              </a:extLst>
            </p:cNvPr>
            <p:cNvSpPr/>
            <p:nvPr/>
          </p:nvSpPr>
          <p:spPr>
            <a:xfrm rot="19581670">
              <a:off x="4057121" y="702626"/>
              <a:ext cx="628414" cy="1904562"/>
            </a:xfrm>
            <a:custGeom>
              <a:avLst/>
              <a:gdLst>
                <a:gd name="connsiteX0" fmla="*/ 458726 w 509550"/>
                <a:gd name="connsiteY0" fmla="*/ 1512653 h 1544311"/>
                <a:gd name="connsiteX1" fmla="*/ 459935 w 509550"/>
                <a:gd name="connsiteY1" fmla="*/ 1517487 h 1544311"/>
                <a:gd name="connsiteX2" fmla="*/ 464770 w 509550"/>
                <a:gd name="connsiteY2" fmla="*/ 1516278 h 1544311"/>
                <a:gd name="connsiteX3" fmla="*/ 463561 w 509550"/>
                <a:gd name="connsiteY3" fmla="*/ 1512652 h 1544311"/>
                <a:gd name="connsiteX4" fmla="*/ 450266 w 509550"/>
                <a:gd name="connsiteY4" fmla="*/ 1431670 h 1544311"/>
                <a:gd name="connsiteX5" fmla="*/ 450266 w 509550"/>
                <a:gd name="connsiteY5" fmla="*/ 1440132 h 1544311"/>
                <a:gd name="connsiteX6" fmla="*/ 458726 w 509550"/>
                <a:gd name="connsiteY6" fmla="*/ 1438923 h 1544311"/>
                <a:gd name="connsiteX7" fmla="*/ 459936 w 509550"/>
                <a:gd name="connsiteY7" fmla="*/ 1430462 h 1544311"/>
                <a:gd name="connsiteX8" fmla="*/ 469605 w 509550"/>
                <a:gd name="connsiteY8" fmla="*/ 1316847 h 1544311"/>
                <a:gd name="connsiteX9" fmla="*/ 469605 w 509550"/>
                <a:gd name="connsiteY9" fmla="*/ 1318055 h 1544311"/>
                <a:gd name="connsiteX10" fmla="*/ 470813 w 509550"/>
                <a:gd name="connsiteY10" fmla="*/ 1318055 h 1544311"/>
                <a:gd name="connsiteX11" fmla="*/ 470813 w 509550"/>
                <a:gd name="connsiteY11" fmla="*/ 1316847 h 1544311"/>
                <a:gd name="connsiteX12" fmla="*/ 447849 w 509550"/>
                <a:gd name="connsiteY12" fmla="*/ 1348272 h 1544311"/>
                <a:gd name="connsiteX13" fmla="*/ 447849 w 509550"/>
                <a:gd name="connsiteY13" fmla="*/ 1354315 h 1544311"/>
                <a:gd name="connsiteX14" fmla="*/ 453891 w 509550"/>
                <a:gd name="connsiteY14" fmla="*/ 1353107 h 1544311"/>
                <a:gd name="connsiteX15" fmla="*/ 453891 w 509550"/>
                <a:gd name="connsiteY15" fmla="*/ 1347063 h 1544311"/>
                <a:gd name="connsiteX16" fmla="*/ 491361 w 509550"/>
                <a:gd name="connsiteY16" fmla="*/ 1227404 h 1544311"/>
                <a:gd name="connsiteX17" fmla="*/ 492569 w 509550"/>
                <a:gd name="connsiteY17" fmla="*/ 1235865 h 1544311"/>
                <a:gd name="connsiteX18" fmla="*/ 499821 w 509550"/>
                <a:gd name="connsiteY18" fmla="*/ 1235865 h 1544311"/>
                <a:gd name="connsiteX19" fmla="*/ 498613 w 509550"/>
                <a:gd name="connsiteY19" fmla="*/ 1228613 h 1544311"/>
                <a:gd name="connsiteX20" fmla="*/ 439387 w 509550"/>
                <a:gd name="connsiteY20" fmla="*/ 1263665 h 1544311"/>
                <a:gd name="connsiteX21" fmla="*/ 435762 w 509550"/>
                <a:gd name="connsiteY21" fmla="*/ 1275752 h 1544311"/>
                <a:gd name="connsiteX22" fmla="*/ 436970 w 509550"/>
                <a:gd name="connsiteY22" fmla="*/ 1291464 h 1544311"/>
                <a:gd name="connsiteX23" fmla="*/ 452683 w 509550"/>
                <a:gd name="connsiteY23" fmla="*/ 1285421 h 1544311"/>
                <a:gd name="connsiteX24" fmla="*/ 464770 w 509550"/>
                <a:gd name="connsiteY24" fmla="*/ 1285421 h 1544311"/>
                <a:gd name="connsiteX25" fmla="*/ 464770 w 509550"/>
                <a:gd name="connsiteY25" fmla="*/ 1273334 h 1544311"/>
                <a:gd name="connsiteX26" fmla="*/ 463561 w 509550"/>
                <a:gd name="connsiteY26" fmla="*/ 1258830 h 1544311"/>
                <a:gd name="connsiteX27" fmla="*/ 450266 w 509550"/>
                <a:gd name="connsiteY27" fmla="*/ 1263665 h 1544311"/>
                <a:gd name="connsiteX28" fmla="*/ 369284 w 509550"/>
                <a:gd name="connsiteY28" fmla="*/ 1336186 h 1544311"/>
                <a:gd name="connsiteX29" fmla="*/ 369284 w 509550"/>
                <a:gd name="connsiteY29" fmla="*/ 1348272 h 1544311"/>
                <a:gd name="connsiteX30" fmla="*/ 381371 w 509550"/>
                <a:gd name="connsiteY30" fmla="*/ 1347063 h 1544311"/>
                <a:gd name="connsiteX31" fmla="*/ 381371 w 509550"/>
                <a:gd name="connsiteY31" fmla="*/ 1333768 h 1544311"/>
                <a:gd name="connsiteX32" fmla="*/ 339068 w 509550"/>
                <a:gd name="connsiteY32" fmla="*/ 1380906 h 1544311"/>
                <a:gd name="connsiteX33" fmla="*/ 337858 w 509550"/>
                <a:gd name="connsiteY33" fmla="*/ 1394202 h 1544311"/>
                <a:gd name="connsiteX34" fmla="*/ 351155 w 509550"/>
                <a:gd name="connsiteY34" fmla="*/ 1391785 h 1544311"/>
                <a:gd name="connsiteX35" fmla="*/ 351154 w 509550"/>
                <a:gd name="connsiteY35" fmla="*/ 1377280 h 1544311"/>
                <a:gd name="connsiteX36" fmla="*/ 459935 w 509550"/>
                <a:gd name="connsiteY36" fmla="*/ 1165762 h 1544311"/>
                <a:gd name="connsiteX37" fmla="*/ 461143 w 509550"/>
                <a:gd name="connsiteY37" fmla="*/ 1181475 h 1544311"/>
                <a:gd name="connsiteX38" fmla="*/ 476857 w 509550"/>
                <a:gd name="connsiteY38" fmla="*/ 1180266 h 1544311"/>
                <a:gd name="connsiteX39" fmla="*/ 476857 w 509550"/>
                <a:gd name="connsiteY39" fmla="*/ 1163344 h 1544311"/>
                <a:gd name="connsiteX40" fmla="*/ 295555 w 509550"/>
                <a:gd name="connsiteY40" fmla="*/ 1368819 h 1544311"/>
                <a:gd name="connsiteX41" fmla="*/ 294346 w 509550"/>
                <a:gd name="connsiteY41" fmla="*/ 1384532 h 1544311"/>
                <a:gd name="connsiteX42" fmla="*/ 311267 w 509550"/>
                <a:gd name="connsiteY42" fmla="*/ 1382115 h 1544311"/>
                <a:gd name="connsiteX43" fmla="*/ 310059 w 509550"/>
                <a:gd name="connsiteY43" fmla="*/ 1367611 h 1544311"/>
                <a:gd name="connsiteX44" fmla="*/ 465978 w 509550"/>
                <a:gd name="connsiteY44" fmla="*/ 1101702 h 1544311"/>
                <a:gd name="connsiteX45" fmla="*/ 467187 w 509550"/>
                <a:gd name="connsiteY45" fmla="*/ 1123458 h 1544311"/>
                <a:gd name="connsiteX46" fmla="*/ 488944 w 509550"/>
                <a:gd name="connsiteY46" fmla="*/ 1121041 h 1544311"/>
                <a:gd name="connsiteX47" fmla="*/ 487734 w 509550"/>
                <a:gd name="connsiteY47" fmla="*/ 1100493 h 1544311"/>
                <a:gd name="connsiteX48" fmla="*/ 334233 w 509550"/>
                <a:gd name="connsiteY48" fmla="*/ 1291464 h 1544311"/>
                <a:gd name="connsiteX49" fmla="*/ 333024 w 509550"/>
                <a:gd name="connsiteY49" fmla="*/ 1303550 h 1544311"/>
                <a:gd name="connsiteX50" fmla="*/ 343902 w 509550"/>
                <a:gd name="connsiteY50" fmla="*/ 1299925 h 1544311"/>
                <a:gd name="connsiteX51" fmla="*/ 343902 w 509550"/>
                <a:gd name="connsiteY51" fmla="*/ 1290256 h 1544311"/>
                <a:gd name="connsiteX52" fmla="*/ 468395 w 509550"/>
                <a:gd name="connsiteY52" fmla="*/ 1065442 h 1544311"/>
                <a:gd name="connsiteX53" fmla="*/ 469605 w 509550"/>
                <a:gd name="connsiteY53" fmla="*/ 1072694 h 1544311"/>
                <a:gd name="connsiteX54" fmla="*/ 476857 w 509550"/>
                <a:gd name="connsiteY54" fmla="*/ 1071485 h 1544311"/>
                <a:gd name="connsiteX55" fmla="*/ 476857 w 509550"/>
                <a:gd name="connsiteY55" fmla="*/ 1064233 h 1544311"/>
                <a:gd name="connsiteX56" fmla="*/ 430927 w 509550"/>
                <a:gd name="connsiteY56" fmla="*/ 1102910 h 1544311"/>
                <a:gd name="connsiteX57" fmla="*/ 432135 w 509550"/>
                <a:gd name="connsiteY57" fmla="*/ 1111372 h 1544311"/>
                <a:gd name="connsiteX58" fmla="*/ 440596 w 509550"/>
                <a:gd name="connsiteY58" fmla="*/ 1110162 h 1544311"/>
                <a:gd name="connsiteX59" fmla="*/ 440597 w 509550"/>
                <a:gd name="connsiteY59" fmla="*/ 1101702 h 1544311"/>
                <a:gd name="connsiteX60" fmla="*/ 336650 w 509550"/>
                <a:gd name="connsiteY60" fmla="*/ 1220152 h 1544311"/>
                <a:gd name="connsiteX61" fmla="*/ 337858 w 509550"/>
                <a:gd name="connsiteY61" fmla="*/ 1232239 h 1544311"/>
                <a:gd name="connsiteX62" fmla="*/ 347528 w 509550"/>
                <a:gd name="connsiteY62" fmla="*/ 1229822 h 1544311"/>
                <a:gd name="connsiteX63" fmla="*/ 347528 w 509550"/>
                <a:gd name="connsiteY63" fmla="*/ 1220153 h 1544311"/>
                <a:gd name="connsiteX64" fmla="*/ 294346 w 509550"/>
                <a:gd name="connsiteY64" fmla="*/ 1241909 h 1544311"/>
                <a:gd name="connsiteX65" fmla="*/ 294346 w 509550"/>
                <a:gd name="connsiteY65" fmla="*/ 1244326 h 1544311"/>
                <a:gd name="connsiteX66" fmla="*/ 296763 w 509550"/>
                <a:gd name="connsiteY66" fmla="*/ 1244326 h 1544311"/>
                <a:gd name="connsiteX67" fmla="*/ 296763 w 509550"/>
                <a:gd name="connsiteY67" fmla="*/ 1241909 h 1544311"/>
                <a:gd name="connsiteX68" fmla="*/ 346320 w 509550"/>
                <a:gd name="connsiteY68" fmla="*/ 1156092 h 1544311"/>
                <a:gd name="connsiteX69" fmla="*/ 347528 w 509550"/>
                <a:gd name="connsiteY69" fmla="*/ 1160927 h 1544311"/>
                <a:gd name="connsiteX70" fmla="*/ 352363 w 509550"/>
                <a:gd name="connsiteY70" fmla="*/ 1160927 h 1544311"/>
                <a:gd name="connsiteX71" fmla="*/ 351154 w 509550"/>
                <a:gd name="connsiteY71" fmla="*/ 1157301 h 1544311"/>
                <a:gd name="connsiteX72" fmla="*/ 229078 w 509550"/>
                <a:gd name="connsiteY72" fmla="*/ 1328934 h 1544311"/>
                <a:gd name="connsiteX73" fmla="*/ 230287 w 509550"/>
                <a:gd name="connsiteY73" fmla="*/ 1344646 h 1544311"/>
                <a:gd name="connsiteX74" fmla="*/ 245999 w 509550"/>
                <a:gd name="connsiteY74" fmla="*/ 1343438 h 1544311"/>
                <a:gd name="connsiteX75" fmla="*/ 245999 w 509550"/>
                <a:gd name="connsiteY75" fmla="*/ 1326516 h 1544311"/>
                <a:gd name="connsiteX76" fmla="*/ 451474 w 509550"/>
                <a:gd name="connsiteY76" fmla="*/ 989295 h 1544311"/>
                <a:gd name="connsiteX77" fmla="*/ 451474 w 509550"/>
                <a:gd name="connsiteY77" fmla="*/ 990504 h 1544311"/>
                <a:gd name="connsiteX78" fmla="*/ 452683 w 509550"/>
                <a:gd name="connsiteY78" fmla="*/ 990504 h 1544311"/>
                <a:gd name="connsiteX79" fmla="*/ 452683 w 509550"/>
                <a:gd name="connsiteY79" fmla="*/ 989295 h 1544311"/>
                <a:gd name="connsiteX80" fmla="*/ 428510 w 509550"/>
                <a:gd name="connsiteY80" fmla="*/ 1019512 h 1544311"/>
                <a:gd name="connsiteX81" fmla="*/ 428510 w 509550"/>
                <a:gd name="connsiteY81" fmla="*/ 1025555 h 1544311"/>
                <a:gd name="connsiteX82" fmla="*/ 434552 w 509550"/>
                <a:gd name="connsiteY82" fmla="*/ 1024347 h 1544311"/>
                <a:gd name="connsiteX83" fmla="*/ 434552 w 509550"/>
                <a:gd name="connsiteY83" fmla="*/ 1018303 h 1544311"/>
                <a:gd name="connsiteX84" fmla="*/ 308850 w 509550"/>
                <a:gd name="connsiteY84" fmla="*/ 1188727 h 1544311"/>
                <a:gd name="connsiteX85" fmla="*/ 310060 w 509550"/>
                <a:gd name="connsiteY85" fmla="*/ 1197187 h 1544311"/>
                <a:gd name="connsiteX86" fmla="*/ 318520 w 509550"/>
                <a:gd name="connsiteY86" fmla="*/ 1197187 h 1544311"/>
                <a:gd name="connsiteX87" fmla="*/ 317312 w 509550"/>
                <a:gd name="connsiteY87" fmla="*/ 1187518 h 1544311"/>
                <a:gd name="connsiteX88" fmla="*/ 236329 w 509550"/>
                <a:gd name="connsiteY88" fmla="*/ 1264873 h 1544311"/>
                <a:gd name="connsiteX89" fmla="*/ 237539 w 509550"/>
                <a:gd name="connsiteY89" fmla="*/ 1286629 h 1544311"/>
                <a:gd name="connsiteX90" fmla="*/ 258086 w 509550"/>
                <a:gd name="connsiteY90" fmla="*/ 1284212 h 1544311"/>
                <a:gd name="connsiteX91" fmla="*/ 256878 w 509550"/>
                <a:gd name="connsiteY91" fmla="*/ 1263665 h 1544311"/>
                <a:gd name="connsiteX92" fmla="*/ 237539 w 509550"/>
                <a:gd name="connsiteY92" fmla="*/ 1228613 h 1544311"/>
                <a:gd name="connsiteX93" fmla="*/ 238747 w 509550"/>
                <a:gd name="connsiteY93" fmla="*/ 1235865 h 1544311"/>
                <a:gd name="connsiteX94" fmla="*/ 245999 w 509550"/>
                <a:gd name="connsiteY94" fmla="*/ 1234657 h 1544311"/>
                <a:gd name="connsiteX95" fmla="*/ 245999 w 509550"/>
                <a:gd name="connsiteY95" fmla="*/ 1228613 h 1544311"/>
                <a:gd name="connsiteX96" fmla="*/ 258086 w 509550"/>
                <a:gd name="connsiteY96" fmla="*/ 1188727 h 1544311"/>
                <a:gd name="connsiteX97" fmla="*/ 258086 w 509550"/>
                <a:gd name="connsiteY97" fmla="*/ 1203231 h 1544311"/>
                <a:gd name="connsiteX98" fmla="*/ 273799 w 509550"/>
                <a:gd name="connsiteY98" fmla="*/ 1202022 h 1544311"/>
                <a:gd name="connsiteX99" fmla="*/ 270172 w 509550"/>
                <a:gd name="connsiteY99" fmla="*/ 1188727 h 1544311"/>
                <a:gd name="connsiteX100" fmla="*/ 420048 w 509550"/>
                <a:gd name="connsiteY100" fmla="*/ 936113 h 1544311"/>
                <a:gd name="connsiteX101" fmla="*/ 416423 w 509550"/>
                <a:gd name="connsiteY101" fmla="*/ 948200 h 1544311"/>
                <a:gd name="connsiteX102" fmla="*/ 417631 w 509550"/>
                <a:gd name="connsiteY102" fmla="*/ 963913 h 1544311"/>
                <a:gd name="connsiteX103" fmla="*/ 433344 w 509550"/>
                <a:gd name="connsiteY103" fmla="*/ 957869 h 1544311"/>
                <a:gd name="connsiteX104" fmla="*/ 445431 w 509550"/>
                <a:gd name="connsiteY104" fmla="*/ 957869 h 1544311"/>
                <a:gd name="connsiteX105" fmla="*/ 445431 w 509550"/>
                <a:gd name="connsiteY105" fmla="*/ 945782 h 1544311"/>
                <a:gd name="connsiteX106" fmla="*/ 444222 w 509550"/>
                <a:gd name="connsiteY106" fmla="*/ 931278 h 1544311"/>
                <a:gd name="connsiteX107" fmla="*/ 430927 w 509550"/>
                <a:gd name="connsiteY107" fmla="*/ 936113 h 1544311"/>
                <a:gd name="connsiteX108" fmla="*/ 201279 w 509550"/>
                <a:gd name="connsiteY108" fmla="*/ 1267290 h 1544311"/>
                <a:gd name="connsiteX109" fmla="*/ 201279 w 509550"/>
                <a:gd name="connsiteY109" fmla="*/ 1275752 h 1544311"/>
                <a:gd name="connsiteX110" fmla="*/ 209739 w 509550"/>
                <a:gd name="connsiteY110" fmla="*/ 1274542 h 1544311"/>
                <a:gd name="connsiteX111" fmla="*/ 210948 w 509550"/>
                <a:gd name="connsiteY111" fmla="*/ 1266082 h 1544311"/>
                <a:gd name="connsiteX112" fmla="*/ 456309 w 509550"/>
                <a:gd name="connsiteY112" fmla="*/ 862384 h 1544311"/>
                <a:gd name="connsiteX113" fmla="*/ 455101 w 509550"/>
                <a:gd name="connsiteY113" fmla="*/ 875679 h 1544311"/>
                <a:gd name="connsiteX114" fmla="*/ 468395 w 509550"/>
                <a:gd name="connsiteY114" fmla="*/ 873261 h 1544311"/>
                <a:gd name="connsiteX115" fmla="*/ 468395 w 509550"/>
                <a:gd name="connsiteY115" fmla="*/ 858757 h 1544311"/>
                <a:gd name="connsiteX116" fmla="*/ 273799 w 509550"/>
                <a:gd name="connsiteY116" fmla="*/ 1121041 h 1544311"/>
                <a:gd name="connsiteX117" fmla="*/ 276216 w 509550"/>
                <a:gd name="connsiteY117" fmla="*/ 1134336 h 1544311"/>
                <a:gd name="connsiteX118" fmla="*/ 290721 w 509550"/>
                <a:gd name="connsiteY118" fmla="*/ 1134336 h 1544311"/>
                <a:gd name="connsiteX119" fmla="*/ 289512 w 509550"/>
                <a:gd name="connsiteY119" fmla="*/ 1119832 h 1544311"/>
                <a:gd name="connsiteX120" fmla="*/ 311268 w 509550"/>
                <a:gd name="connsiteY120" fmla="*/ 1052146 h 1544311"/>
                <a:gd name="connsiteX121" fmla="*/ 310060 w 509550"/>
                <a:gd name="connsiteY121" fmla="*/ 1064233 h 1544311"/>
                <a:gd name="connsiteX122" fmla="*/ 310059 w 509550"/>
                <a:gd name="connsiteY122" fmla="*/ 1078737 h 1544311"/>
                <a:gd name="connsiteX123" fmla="*/ 324564 w 509550"/>
                <a:gd name="connsiteY123" fmla="*/ 1073902 h 1544311"/>
                <a:gd name="connsiteX124" fmla="*/ 335441 w 509550"/>
                <a:gd name="connsiteY124" fmla="*/ 1075111 h 1544311"/>
                <a:gd name="connsiteX125" fmla="*/ 340276 w 509550"/>
                <a:gd name="connsiteY125" fmla="*/ 1063025 h 1544311"/>
                <a:gd name="connsiteX126" fmla="*/ 339068 w 509550"/>
                <a:gd name="connsiteY126" fmla="*/ 1048520 h 1544311"/>
                <a:gd name="connsiteX127" fmla="*/ 323354 w 509550"/>
                <a:gd name="connsiteY127" fmla="*/ 1053355 h 1544311"/>
                <a:gd name="connsiteX128" fmla="*/ 220618 w 509550"/>
                <a:gd name="connsiteY128" fmla="*/ 1152467 h 1544311"/>
                <a:gd name="connsiteX129" fmla="*/ 220618 w 509550"/>
                <a:gd name="connsiteY129" fmla="*/ 1153675 h 1544311"/>
                <a:gd name="connsiteX130" fmla="*/ 221826 w 509550"/>
                <a:gd name="connsiteY130" fmla="*/ 1153675 h 1544311"/>
                <a:gd name="connsiteX131" fmla="*/ 221825 w 509550"/>
                <a:gd name="connsiteY131" fmla="*/ 1152467 h 1544311"/>
                <a:gd name="connsiteX132" fmla="*/ 307642 w 509550"/>
                <a:gd name="connsiteY132" fmla="*/ 1017095 h 1544311"/>
                <a:gd name="connsiteX133" fmla="*/ 307642 w 509550"/>
                <a:gd name="connsiteY133" fmla="*/ 1018303 h 1544311"/>
                <a:gd name="connsiteX134" fmla="*/ 308850 w 509550"/>
                <a:gd name="connsiteY134" fmla="*/ 1018303 h 1544311"/>
                <a:gd name="connsiteX135" fmla="*/ 308850 w 509550"/>
                <a:gd name="connsiteY135" fmla="*/ 1017095 h 1544311"/>
                <a:gd name="connsiteX136" fmla="*/ 328189 w 509550"/>
                <a:gd name="connsiteY136" fmla="*/ 984460 h 1544311"/>
                <a:gd name="connsiteX137" fmla="*/ 326981 w 509550"/>
                <a:gd name="connsiteY137" fmla="*/ 990504 h 1544311"/>
                <a:gd name="connsiteX138" fmla="*/ 333024 w 509550"/>
                <a:gd name="connsiteY138" fmla="*/ 990504 h 1544311"/>
                <a:gd name="connsiteX139" fmla="*/ 333024 w 509550"/>
                <a:gd name="connsiteY139" fmla="*/ 984460 h 1544311"/>
                <a:gd name="connsiteX140" fmla="*/ 197652 w 509550"/>
                <a:gd name="connsiteY140" fmla="*/ 1182683 h 1544311"/>
                <a:gd name="connsiteX141" fmla="*/ 197652 w 509550"/>
                <a:gd name="connsiteY141" fmla="*/ 1188727 h 1544311"/>
                <a:gd name="connsiteX142" fmla="*/ 203696 w 509550"/>
                <a:gd name="connsiteY142" fmla="*/ 1187517 h 1544311"/>
                <a:gd name="connsiteX143" fmla="*/ 203696 w 509550"/>
                <a:gd name="connsiteY143" fmla="*/ 1181475 h 1544311"/>
                <a:gd name="connsiteX144" fmla="*/ 412796 w 509550"/>
                <a:gd name="connsiteY144" fmla="*/ 850297 h 1544311"/>
                <a:gd name="connsiteX145" fmla="*/ 412796 w 509550"/>
                <a:gd name="connsiteY145" fmla="*/ 867219 h 1544311"/>
                <a:gd name="connsiteX146" fmla="*/ 429718 w 509550"/>
                <a:gd name="connsiteY146" fmla="*/ 864802 h 1544311"/>
                <a:gd name="connsiteX147" fmla="*/ 427300 w 509550"/>
                <a:gd name="connsiteY147" fmla="*/ 849088 h 1544311"/>
                <a:gd name="connsiteX148" fmla="*/ 376536 w 509550"/>
                <a:gd name="connsiteY148" fmla="*/ 873262 h 1544311"/>
                <a:gd name="connsiteX149" fmla="*/ 377745 w 509550"/>
                <a:gd name="connsiteY149" fmla="*/ 881723 h 1544311"/>
                <a:gd name="connsiteX150" fmla="*/ 384997 w 509550"/>
                <a:gd name="connsiteY150" fmla="*/ 880513 h 1544311"/>
                <a:gd name="connsiteX151" fmla="*/ 384998 w 509550"/>
                <a:gd name="connsiteY151" fmla="*/ 873262 h 1544311"/>
                <a:gd name="connsiteX152" fmla="*/ 329398 w 509550"/>
                <a:gd name="connsiteY152" fmla="*/ 898644 h 1544311"/>
                <a:gd name="connsiteX153" fmla="*/ 328189 w 509550"/>
                <a:gd name="connsiteY153" fmla="*/ 907104 h 1544311"/>
                <a:gd name="connsiteX154" fmla="*/ 337859 w 509550"/>
                <a:gd name="connsiteY154" fmla="*/ 905897 h 1544311"/>
                <a:gd name="connsiteX155" fmla="*/ 337858 w 509550"/>
                <a:gd name="connsiteY155" fmla="*/ 897435 h 1544311"/>
                <a:gd name="connsiteX156" fmla="*/ 238747 w 509550"/>
                <a:gd name="connsiteY156" fmla="*/ 1031599 h 1544311"/>
                <a:gd name="connsiteX157" fmla="*/ 237539 w 509550"/>
                <a:gd name="connsiteY157" fmla="*/ 1046103 h 1544311"/>
                <a:gd name="connsiteX158" fmla="*/ 253251 w 509550"/>
                <a:gd name="connsiteY158" fmla="*/ 1046103 h 1544311"/>
                <a:gd name="connsiteX159" fmla="*/ 252043 w 509550"/>
                <a:gd name="connsiteY159" fmla="*/ 1032807 h 1544311"/>
                <a:gd name="connsiteX160" fmla="*/ 187983 w 509550"/>
                <a:gd name="connsiteY160" fmla="*/ 1099285 h 1544311"/>
                <a:gd name="connsiteX161" fmla="*/ 184357 w 509550"/>
                <a:gd name="connsiteY161" fmla="*/ 1111372 h 1544311"/>
                <a:gd name="connsiteX162" fmla="*/ 185565 w 509550"/>
                <a:gd name="connsiteY162" fmla="*/ 1127084 h 1544311"/>
                <a:gd name="connsiteX163" fmla="*/ 201279 w 509550"/>
                <a:gd name="connsiteY163" fmla="*/ 1121041 h 1544311"/>
                <a:gd name="connsiteX164" fmla="*/ 213365 w 509550"/>
                <a:gd name="connsiteY164" fmla="*/ 1121041 h 1544311"/>
                <a:gd name="connsiteX165" fmla="*/ 213366 w 509550"/>
                <a:gd name="connsiteY165" fmla="*/ 1108954 h 1544311"/>
                <a:gd name="connsiteX166" fmla="*/ 212156 w 509550"/>
                <a:gd name="connsiteY166" fmla="*/ 1094450 h 1544311"/>
                <a:gd name="connsiteX167" fmla="*/ 198861 w 509550"/>
                <a:gd name="connsiteY167" fmla="*/ 1099285 h 1544311"/>
                <a:gd name="connsiteX168" fmla="*/ 288303 w 509550"/>
                <a:gd name="connsiteY168" fmla="*/ 934905 h 1544311"/>
                <a:gd name="connsiteX169" fmla="*/ 288303 w 509550"/>
                <a:gd name="connsiteY169" fmla="*/ 942157 h 1544311"/>
                <a:gd name="connsiteX170" fmla="*/ 295556 w 509550"/>
                <a:gd name="connsiteY170" fmla="*/ 943365 h 1544311"/>
                <a:gd name="connsiteX171" fmla="*/ 295555 w 509550"/>
                <a:gd name="connsiteY171" fmla="*/ 934905 h 1544311"/>
                <a:gd name="connsiteX172" fmla="*/ 259295 w 509550"/>
                <a:gd name="connsiteY172" fmla="*/ 965121 h 1544311"/>
                <a:gd name="connsiteX173" fmla="*/ 261712 w 509550"/>
                <a:gd name="connsiteY173" fmla="*/ 978417 h 1544311"/>
                <a:gd name="connsiteX174" fmla="*/ 273799 w 509550"/>
                <a:gd name="connsiteY174" fmla="*/ 979625 h 1544311"/>
                <a:gd name="connsiteX175" fmla="*/ 275007 w 509550"/>
                <a:gd name="connsiteY175" fmla="*/ 965121 h 1544311"/>
                <a:gd name="connsiteX176" fmla="*/ 411588 w 509550"/>
                <a:gd name="connsiteY176" fmla="*/ 723386 h 1544311"/>
                <a:gd name="connsiteX177" fmla="*/ 411588 w 509550"/>
                <a:gd name="connsiteY177" fmla="*/ 725803 h 1544311"/>
                <a:gd name="connsiteX178" fmla="*/ 414006 w 509550"/>
                <a:gd name="connsiteY178" fmla="*/ 725803 h 1544311"/>
                <a:gd name="connsiteX179" fmla="*/ 414006 w 509550"/>
                <a:gd name="connsiteY179" fmla="*/ 723386 h 1544311"/>
                <a:gd name="connsiteX180" fmla="*/ 346320 w 509550"/>
                <a:gd name="connsiteY180" fmla="*/ 809202 h 1544311"/>
                <a:gd name="connsiteX181" fmla="*/ 347528 w 509550"/>
                <a:gd name="connsiteY181" fmla="*/ 824914 h 1544311"/>
                <a:gd name="connsiteX182" fmla="*/ 363241 w 509550"/>
                <a:gd name="connsiteY182" fmla="*/ 823706 h 1544311"/>
                <a:gd name="connsiteX183" fmla="*/ 363241 w 509550"/>
                <a:gd name="connsiteY183" fmla="*/ 806785 h 1544311"/>
                <a:gd name="connsiteX184" fmla="*/ 281051 w 509550"/>
                <a:gd name="connsiteY184" fmla="*/ 884140 h 1544311"/>
                <a:gd name="connsiteX185" fmla="*/ 281051 w 509550"/>
                <a:gd name="connsiteY185" fmla="*/ 904687 h 1544311"/>
                <a:gd name="connsiteX186" fmla="*/ 301598 w 509550"/>
                <a:gd name="connsiteY186" fmla="*/ 904687 h 1544311"/>
                <a:gd name="connsiteX187" fmla="*/ 301598 w 509550"/>
                <a:gd name="connsiteY187" fmla="*/ 882931 h 1544311"/>
                <a:gd name="connsiteX188" fmla="*/ 215783 w 509550"/>
                <a:gd name="connsiteY188" fmla="*/ 966330 h 1544311"/>
                <a:gd name="connsiteX189" fmla="*/ 214574 w 509550"/>
                <a:gd name="connsiteY189" fmla="*/ 974790 h 1544311"/>
                <a:gd name="connsiteX190" fmla="*/ 224243 w 509550"/>
                <a:gd name="connsiteY190" fmla="*/ 974790 h 1544311"/>
                <a:gd name="connsiteX191" fmla="*/ 224243 w 509550"/>
                <a:gd name="connsiteY191" fmla="*/ 966330 h 1544311"/>
                <a:gd name="connsiteX192" fmla="*/ 239956 w 509550"/>
                <a:gd name="connsiteY192" fmla="*/ 920400 h 1544311"/>
                <a:gd name="connsiteX193" fmla="*/ 239956 w 509550"/>
                <a:gd name="connsiteY193" fmla="*/ 924026 h 1544311"/>
                <a:gd name="connsiteX194" fmla="*/ 242374 w 509550"/>
                <a:gd name="connsiteY194" fmla="*/ 924026 h 1544311"/>
                <a:gd name="connsiteX195" fmla="*/ 242374 w 509550"/>
                <a:gd name="connsiteY195" fmla="*/ 920401 h 1544311"/>
                <a:gd name="connsiteX196" fmla="*/ 353572 w 509550"/>
                <a:gd name="connsiteY196" fmla="*/ 746351 h 1544311"/>
                <a:gd name="connsiteX197" fmla="*/ 354780 w 509550"/>
                <a:gd name="connsiteY197" fmla="*/ 768107 h 1544311"/>
                <a:gd name="connsiteX198" fmla="*/ 375328 w 509550"/>
                <a:gd name="connsiteY198" fmla="*/ 765690 h 1544311"/>
                <a:gd name="connsiteX199" fmla="*/ 374119 w 509550"/>
                <a:gd name="connsiteY199" fmla="*/ 745142 h 1544311"/>
                <a:gd name="connsiteX200" fmla="*/ 297973 w 509550"/>
                <a:gd name="connsiteY200" fmla="*/ 827332 h 1544311"/>
                <a:gd name="connsiteX201" fmla="*/ 296763 w 509550"/>
                <a:gd name="connsiteY201" fmla="*/ 844253 h 1544311"/>
                <a:gd name="connsiteX202" fmla="*/ 313685 w 509550"/>
                <a:gd name="connsiteY202" fmla="*/ 843045 h 1544311"/>
                <a:gd name="connsiteX203" fmla="*/ 313685 w 509550"/>
                <a:gd name="connsiteY203" fmla="*/ 827332 h 1544311"/>
                <a:gd name="connsiteX204" fmla="*/ 178313 w 509550"/>
                <a:gd name="connsiteY204" fmla="*/ 998964 h 1544311"/>
                <a:gd name="connsiteX205" fmla="*/ 179523 w 509550"/>
                <a:gd name="connsiteY205" fmla="*/ 1002591 h 1544311"/>
                <a:gd name="connsiteX206" fmla="*/ 183148 w 509550"/>
                <a:gd name="connsiteY206" fmla="*/ 1003799 h 1544311"/>
                <a:gd name="connsiteX207" fmla="*/ 183148 w 509550"/>
                <a:gd name="connsiteY207" fmla="*/ 998964 h 1544311"/>
                <a:gd name="connsiteX208" fmla="*/ 355989 w 509550"/>
                <a:gd name="connsiteY208" fmla="*/ 710091 h 1544311"/>
                <a:gd name="connsiteX209" fmla="*/ 357197 w 509550"/>
                <a:gd name="connsiteY209" fmla="*/ 717343 h 1544311"/>
                <a:gd name="connsiteX210" fmla="*/ 364449 w 509550"/>
                <a:gd name="connsiteY210" fmla="*/ 716133 h 1544311"/>
                <a:gd name="connsiteX211" fmla="*/ 364449 w 509550"/>
                <a:gd name="connsiteY211" fmla="*/ 708882 h 1544311"/>
                <a:gd name="connsiteX212" fmla="*/ 375328 w 509550"/>
                <a:gd name="connsiteY212" fmla="*/ 670204 h 1544311"/>
                <a:gd name="connsiteX213" fmla="*/ 375328 w 509550"/>
                <a:gd name="connsiteY213" fmla="*/ 684708 h 1544311"/>
                <a:gd name="connsiteX214" fmla="*/ 391040 w 509550"/>
                <a:gd name="connsiteY214" fmla="*/ 683500 h 1544311"/>
                <a:gd name="connsiteX215" fmla="*/ 387415 w 509550"/>
                <a:gd name="connsiteY215" fmla="*/ 670204 h 1544311"/>
                <a:gd name="connsiteX216" fmla="*/ 318519 w 509550"/>
                <a:gd name="connsiteY216" fmla="*/ 747559 h 1544311"/>
                <a:gd name="connsiteX217" fmla="*/ 318520 w 509550"/>
                <a:gd name="connsiteY217" fmla="*/ 756021 h 1544311"/>
                <a:gd name="connsiteX218" fmla="*/ 326981 w 509550"/>
                <a:gd name="connsiteY218" fmla="*/ 754811 h 1544311"/>
                <a:gd name="connsiteX219" fmla="*/ 328189 w 509550"/>
                <a:gd name="connsiteY219" fmla="*/ 746351 h 1544311"/>
                <a:gd name="connsiteX220" fmla="*/ 189192 w 509550"/>
                <a:gd name="connsiteY220" fmla="*/ 932487 h 1544311"/>
                <a:gd name="connsiteX221" fmla="*/ 187982 w 509550"/>
                <a:gd name="connsiteY221" fmla="*/ 942157 h 1544311"/>
                <a:gd name="connsiteX222" fmla="*/ 198861 w 509550"/>
                <a:gd name="connsiteY222" fmla="*/ 942157 h 1544311"/>
                <a:gd name="connsiteX223" fmla="*/ 198861 w 509550"/>
                <a:gd name="connsiteY223" fmla="*/ 931278 h 1544311"/>
                <a:gd name="connsiteX224" fmla="*/ 281051 w 509550"/>
                <a:gd name="connsiteY224" fmla="*/ 768107 h 1544311"/>
                <a:gd name="connsiteX225" fmla="*/ 281051 w 509550"/>
                <a:gd name="connsiteY225" fmla="*/ 775359 h 1544311"/>
                <a:gd name="connsiteX226" fmla="*/ 289511 w 509550"/>
                <a:gd name="connsiteY226" fmla="*/ 776567 h 1544311"/>
                <a:gd name="connsiteX227" fmla="*/ 288303 w 509550"/>
                <a:gd name="connsiteY227" fmla="*/ 768107 h 1544311"/>
                <a:gd name="connsiteX228" fmla="*/ 197652 w 509550"/>
                <a:gd name="connsiteY228" fmla="*/ 862384 h 1544311"/>
                <a:gd name="connsiteX229" fmla="*/ 197652 w 509550"/>
                <a:gd name="connsiteY229" fmla="*/ 872053 h 1544311"/>
                <a:gd name="connsiteX230" fmla="*/ 207321 w 509550"/>
                <a:gd name="connsiteY230" fmla="*/ 872053 h 1544311"/>
                <a:gd name="connsiteX231" fmla="*/ 208531 w 509550"/>
                <a:gd name="connsiteY231" fmla="*/ 859967 h 1544311"/>
                <a:gd name="connsiteX232" fmla="*/ 337858 w 509550"/>
                <a:gd name="connsiteY232" fmla="*/ 633943 h 1544311"/>
                <a:gd name="connsiteX233" fmla="*/ 337859 w 509550"/>
                <a:gd name="connsiteY233" fmla="*/ 635153 h 1544311"/>
                <a:gd name="connsiteX234" fmla="*/ 339068 w 509550"/>
                <a:gd name="connsiteY234" fmla="*/ 635153 h 1544311"/>
                <a:gd name="connsiteX235" fmla="*/ 339068 w 509550"/>
                <a:gd name="connsiteY235" fmla="*/ 633943 h 1544311"/>
                <a:gd name="connsiteX236" fmla="*/ 316102 w 509550"/>
                <a:gd name="connsiteY236" fmla="*/ 664161 h 1544311"/>
                <a:gd name="connsiteX237" fmla="*/ 316102 w 509550"/>
                <a:gd name="connsiteY237" fmla="*/ 670204 h 1544311"/>
                <a:gd name="connsiteX238" fmla="*/ 322146 w 509550"/>
                <a:gd name="connsiteY238" fmla="*/ 668996 h 1544311"/>
                <a:gd name="connsiteX239" fmla="*/ 322146 w 509550"/>
                <a:gd name="connsiteY239" fmla="*/ 662952 h 1544311"/>
                <a:gd name="connsiteX240" fmla="*/ 236329 w 509550"/>
                <a:gd name="connsiteY240" fmla="*/ 782611 h 1544311"/>
                <a:gd name="connsiteX241" fmla="*/ 236330 w 509550"/>
                <a:gd name="connsiteY241" fmla="*/ 797116 h 1544311"/>
                <a:gd name="connsiteX242" fmla="*/ 250834 w 509550"/>
                <a:gd name="connsiteY242" fmla="*/ 797115 h 1544311"/>
                <a:gd name="connsiteX243" fmla="*/ 253251 w 509550"/>
                <a:gd name="connsiteY243" fmla="*/ 780194 h 1544311"/>
                <a:gd name="connsiteX244" fmla="*/ 197652 w 509550"/>
                <a:gd name="connsiteY244" fmla="*/ 769315 h 1544311"/>
                <a:gd name="connsiteX245" fmla="*/ 197652 w 509550"/>
                <a:gd name="connsiteY245" fmla="*/ 782611 h 1544311"/>
                <a:gd name="connsiteX246" fmla="*/ 209739 w 509550"/>
                <a:gd name="connsiteY246" fmla="*/ 780194 h 1544311"/>
                <a:gd name="connsiteX247" fmla="*/ 212156 w 509550"/>
                <a:gd name="connsiteY247" fmla="*/ 768107 h 1544311"/>
                <a:gd name="connsiteX248" fmla="*/ 163809 w 509550"/>
                <a:gd name="connsiteY248" fmla="*/ 811620 h 1544311"/>
                <a:gd name="connsiteX249" fmla="*/ 162601 w 509550"/>
                <a:gd name="connsiteY249" fmla="*/ 824914 h 1544311"/>
                <a:gd name="connsiteX250" fmla="*/ 174688 w 509550"/>
                <a:gd name="connsiteY250" fmla="*/ 822497 h 1544311"/>
                <a:gd name="connsiteX251" fmla="*/ 177105 w 509550"/>
                <a:gd name="connsiteY251" fmla="*/ 811619 h 1544311"/>
                <a:gd name="connsiteX252" fmla="*/ 306433 w 509550"/>
                <a:gd name="connsiteY252" fmla="*/ 579554 h 1544311"/>
                <a:gd name="connsiteX253" fmla="*/ 302807 w 509550"/>
                <a:gd name="connsiteY253" fmla="*/ 591640 h 1544311"/>
                <a:gd name="connsiteX254" fmla="*/ 304015 w 509550"/>
                <a:gd name="connsiteY254" fmla="*/ 607352 h 1544311"/>
                <a:gd name="connsiteX255" fmla="*/ 319729 w 509550"/>
                <a:gd name="connsiteY255" fmla="*/ 601310 h 1544311"/>
                <a:gd name="connsiteX256" fmla="*/ 331816 w 509550"/>
                <a:gd name="connsiteY256" fmla="*/ 601310 h 1544311"/>
                <a:gd name="connsiteX257" fmla="*/ 331816 w 509550"/>
                <a:gd name="connsiteY257" fmla="*/ 589223 h 1544311"/>
                <a:gd name="connsiteX258" fmla="*/ 330606 w 509550"/>
                <a:gd name="connsiteY258" fmla="*/ 574719 h 1544311"/>
                <a:gd name="connsiteX259" fmla="*/ 317311 w 509550"/>
                <a:gd name="connsiteY259" fmla="*/ 579554 h 1544311"/>
                <a:gd name="connsiteX260" fmla="*/ 236329 w 509550"/>
                <a:gd name="connsiteY260" fmla="*/ 359574 h 1544311"/>
                <a:gd name="connsiteX261" fmla="*/ 235122 w 509550"/>
                <a:gd name="connsiteY261" fmla="*/ 371661 h 1544311"/>
                <a:gd name="connsiteX262" fmla="*/ 235122 w 509550"/>
                <a:gd name="connsiteY262" fmla="*/ 386165 h 1544311"/>
                <a:gd name="connsiteX263" fmla="*/ 248416 w 509550"/>
                <a:gd name="connsiteY263" fmla="*/ 381331 h 1544311"/>
                <a:gd name="connsiteX264" fmla="*/ 259295 w 509550"/>
                <a:gd name="connsiteY264" fmla="*/ 382538 h 1544311"/>
                <a:gd name="connsiteX265" fmla="*/ 264130 w 509550"/>
                <a:gd name="connsiteY265" fmla="*/ 371661 h 1544311"/>
                <a:gd name="connsiteX266" fmla="*/ 264130 w 509550"/>
                <a:gd name="connsiteY266" fmla="*/ 355947 h 1544311"/>
                <a:gd name="connsiteX267" fmla="*/ 248416 w 509550"/>
                <a:gd name="connsiteY267" fmla="*/ 360782 h 1544311"/>
                <a:gd name="connsiteX268" fmla="*/ 231495 w 509550"/>
                <a:gd name="connsiteY268" fmla="*/ 325731 h 1544311"/>
                <a:gd name="connsiteX269" fmla="*/ 231495 w 509550"/>
                <a:gd name="connsiteY269" fmla="*/ 326939 h 1544311"/>
                <a:gd name="connsiteX270" fmla="*/ 232704 w 509550"/>
                <a:gd name="connsiteY270" fmla="*/ 326939 h 1544311"/>
                <a:gd name="connsiteX271" fmla="*/ 232704 w 509550"/>
                <a:gd name="connsiteY271" fmla="*/ 325731 h 1544311"/>
                <a:gd name="connsiteX272" fmla="*/ 252043 w 509550"/>
                <a:gd name="connsiteY272" fmla="*/ 291888 h 1544311"/>
                <a:gd name="connsiteX273" fmla="*/ 252043 w 509550"/>
                <a:gd name="connsiteY273" fmla="*/ 297931 h 1544311"/>
                <a:gd name="connsiteX274" fmla="*/ 258086 w 509550"/>
                <a:gd name="connsiteY274" fmla="*/ 297931 h 1544311"/>
                <a:gd name="connsiteX275" fmla="*/ 258086 w 509550"/>
                <a:gd name="connsiteY275" fmla="*/ 291888 h 1544311"/>
                <a:gd name="connsiteX276" fmla="*/ 254460 w 509550"/>
                <a:gd name="connsiteY276" fmla="*/ 206072 h 1544311"/>
                <a:gd name="connsiteX277" fmla="*/ 253251 w 509550"/>
                <a:gd name="connsiteY277" fmla="*/ 213324 h 1544311"/>
                <a:gd name="connsiteX278" fmla="*/ 262920 w 509550"/>
                <a:gd name="connsiteY278" fmla="*/ 213324 h 1544311"/>
                <a:gd name="connsiteX279" fmla="*/ 262920 w 509550"/>
                <a:gd name="connsiteY279" fmla="*/ 204864 h 1544311"/>
                <a:gd name="connsiteX280" fmla="*/ 162601 w 509550"/>
                <a:gd name="connsiteY280" fmla="*/ 339026 h 1544311"/>
                <a:gd name="connsiteX281" fmla="*/ 161392 w 509550"/>
                <a:gd name="connsiteY281" fmla="*/ 353530 h 1544311"/>
                <a:gd name="connsiteX282" fmla="*/ 177105 w 509550"/>
                <a:gd name="connsiteY282" fmla="*/ 353530 h 1544311"/>
                <a:gd name="connsiteX283" fmla="*/ 175896 w 509550"/>
                <a:gd name="connsiteY283" fmla="*/ 340235 h 1544311"/>
                <a:gd name="connsiteX284" fmla="*/ 213365 w 509550"/>
                <a:gd name="connsiteY284" fmla="*/ 242332 h 1544311"/>
                <a:gd name="connsiteX285" fmla="*/ 213366 w 509550"/>
                <a:gd name="connsiteY285" fmla="*/ 249584 h 1544311"/>
                <a:gd name="connsiteX286" fmla="*/ 220618 w 509550"/>
                <a:gd name="connsiteY286" fmla="*/ 250793 h 1544311"/>
                <a:gd name="connsiteX287" fmla="*/ 220617 w 509550"/>
                <a:gd name="connsiteY287" fmla="*/ 242332 h 1544311"/>
                <a:gd name="connsiteX288" fmla="*/ 183148 w 509550"/>
                <a:gd name="connsiteY288" fmla="*/ 272550 h 1544311"/>
                <a:gd name="connsiteX289" fmla="*/ 185565 w 509550"/>
                <a:gd name="connsiteY289" fmla="*/ 285844 h 1544311"/>
                <a:gd name="connsiteX290" fmla="*/ 197652 w 509550"/>
                <a:gd name="connsiteY290" fmla="*/ 287054 h 1544311"/>
                <a:gd name="connsiteX291" fmla="*/ 198861 w 509550"/>
                <a:gd name="connsiteY291" fmla="*/ 272549 h 1544311"/>
                <a:gd name="connsiteX292" fmla="*/ 204904 w 509550"/>
                <a:gd name="connsiteY292" fmla="*/ 191567 h 1544311"/>
                <a:gd name="connsiteX293" fmla="*/ 204904 w 509550"/>
                <a:gd name="connsiteY293" fmla="*/ 212116 h 1544311"/>
                <a:gd name="connsiteX294" fmla="*/ 226660 w 509550"/>
                <a:gd name="connsiteY294" fmla="*/ 212116 h 1544311"/>
                <a:gd name="connsiteX295" fmla="*/ 225452 w 509550"/>
                <a:gd name="connsiteY295" fmla="*/ 190359 h 1544311"/>
                <a:gd name="connsiteX296" fmla="*/ 139636 w 509550"/>
                <a:gd name="connsiteY296" fmla="*/ 274967 h 1544311"/>
                <a:gd name="connsiteX297" fmla="*/ 138427 w 509550"/>
                <a:gd name="connsiteY297" fmla="*/ 283427 h 1544311"/>
                <a:gd name="connsiteX298" fmla="*/ 148097 w 509550"/>
                <a:gd name="connsiteY298" fmla="*/ 283427 h 1544311"/>
                <a:gd name="connsiteX299" fmla="*/ 148097 w 509550"/>
                <a:gd name="connsiteY299" fmla="*/ 274967 h 1544311"/>
                <a:gd name="connsiteX300" fmla="*/ 163809 w 509550"/>
                <a:gd name="connsiteY300" fmla="*/ 227828 h 1544311"/>
                <a:gd name="connsiteX301" fmla="*/ 163809 w 509550"/>
                <a:gd name="connsiteY301" fmla="*/ 231454 h 1544311"/>
                <a:gd name="connsiteX302" fmla="*/ 166226 w 509550"/>
                <a:gd name="connsiteY302" fmla="*/ 231454 h 1544311"/>
                <a:gd name="connsiteX303" fmla="*/ 166227 w 509550"/>
                <a:gd name="connsiteY303" fmla="*/ 227828 h 1544311"/>
                <a:gd name="connsiteX304" fmla="*/ 221825 w 509550"/>
                <a:gd name="connsiteY304" fmla="*/ 134760 h 1544311"/>
                <a:gd name="connsiteX305" fmla="*/ 220617 w 509550"/>
                <a:gd name="connsiteY305" fmla="*/ 151682 h 1544311"/>
                <a:gd name="connsiteX306" fmla="*/ 237539 w 509550"/>
                <a:gd name="connsiteY306" fmla="*/ 150473 h 1544311"/>
                <a:gd name="connsiteX307" fmla="*/ 237539 w 509550"/>
                <a:gd name="connsiteY307" fmla="*/ 134760 h 1544311"/>
                <a:gd name="connsiteX308" fmla="*/ 102167 w 509550"/>
                <a:gd name="connsiteY308" fmla="*/ 307600 h 1544311"/>
                <a:gd name="connsiteX309" fmla="*/ 103375 w 509550"/>
                <a:gd name="connsiteY309" fmla="*/ 311227 h 1544311"/>
                <a:gd name="connsiteX310" fmla="*/ 107002 w 509550"/>
                <a:gd name="connsiteY310" fmla="*/ 312435 h 1544311"/>
                <a:gd name="connsiteX311" fmla="*/ 107002 w 509550"/>
                <a:gd name="connsiteY311" fmla="*/ 307600 h 1544311"/>
                <a:gd name="connsiteX312" fmla="*/ 113045 w 509550"/>
                <a:gd name="connsiteY312" fmla="*/ 239915 h 1544311"/>
                <a:gd name="connsiteX313" fmla="*/ 111837 w 509550"/>
                <a:gd name="connsiteY313" fmla="*/ 249584 h 1544311"/>
                <a:gd name="connsiteX314" fmla="*/ 122714 w 509550"/>
                <a:gd name="connsiteY314" fmla="*/ 249584 h 1544311"/>
                <a:gd name="connsiteX315" fmla="*/ 122714 w 509550"/>
                <a:gd name="connsiteY315" fmla="*/ 238707 h 1544311"/>
                <a:gd name="connsiteX316" fmla="*/ 206113 w 509550"/>
                <a:gd name="connsiteY316" fmla="*/ 76744 h 1544311"/>
                <a:gd name="connsiteX317" fmla="*/ 206113 w 509550"/>
                <a:gd name="connsiteY317" fmla="*/ 83996 h 1544311"/>
                <a:gd name="connsiteX318" fmla="*/ 214574 w 509550"/>
                <a:gd name="connsiteY318" fmla="*/ 85204 h 1544311"/>
                <a:gd name="connsiteX319" fmla="*/ 213366 w 509550"/>
                <a:gd name="connsiteY319" fmla="*/ 76744 h 1544311"/>
                <a:gd name="connsiteX320" fmla="*/ 142053 w 509550"/>
                <a:gd name="connsiteY320" fmla="*/ 151682 h 1544311"/>
                <a:gd name="connsiteX321" fmla="*/ 139635 w 509550"/>
                <a:gd name="connsiteY321" fmla="*/ 162559 h 1544311"/>
                <a:gd name="connsiteX322" fmla="*/ 139635 w 509550"/>
                <a:gd name="connsiteY322" fmla="*/ 174646 h 1544311"/>
                <a:gd name="connsiteX323" fmla="*/ 151722 w 509550"/>
                <a:gd name="connsiteY323" fmla="*/ 172229 h 1544311"/>
                <a:gd name="connsiteX324" fmla="*/ 166226 w 509550"/>
                <a:gd name="connsiteY324" fmla="*/ 175855 h 1544311"/>
                <a:gd name="connsiteX325" fmla="*/ 162601 w 509550"/>
                <a:gd name="connsiteY325" fmla="*/ 161351 h 1544311"/>
                <a:gd name="connsiteX326" fmla="*/ 167436 w 509550"/>
                <a:gd name="connsiteY326" fmla="*/ 146847 h 1544311"/>
                <a:gd name="connsiteX327" fmla="*/ 152932 w 509550"/>
                <a:gd name="connsiteY327" fmla="*/ 146847 h 1544311"/>
                <a:gd name="connsiteX328" fmla="*/ 121506 w 509550"/>
                <a:gd name="connsiteY328" fmla="*/ 169811 h 1544311"/>
                <a:gd name="connsiteX329" fmla="*/ 121506 w 509550"/>
                <a:gd name="connsiteY329" fmla="*/ 179481 h 1544311"/>
                <a:gd name="connsiteX330" fmla="*/ 131175 w 509550"/>
                <a:gd name="connsiteY330" fmla="*/ 179481 h 1544311"/>
                <a:gd name="connsiteX331" fmla="*/ 132383 w 509550"/>
                <a:gd name="connsiteY331" fmla="*/ 167394 h 1544311"/>
                <a:gd name="connsiteX332" fmla="*/ 161392 w 509550"/>
                <a:gd name="connsiteY332" fmla="*/ 90038 h 1544311"/>
                <a:gd name="connsiteX333" fmla="*/ 161392 w 509550"/>
                <a:gd name="connsiteY333" fmla="*/ 104543 h 1544311"/>
                <a:gd name="connsiteX334" fmla="*/ 175896 w 509550"/>
                <a:gd name="connsiteY334" fmla="*/ 104543 h 1544311"/>
                <a:gd name="connsiteX335" fmla="*/ 177105 w 509550"/>
                <a:gd name="connsiteY335" fmla="*/ 87621 h 1544311"/>
                <a:gd name="connsiteX336" fmla="*/ 122714 w 509550"/>
                <a:gd name="connsiteY336" fmla="*/ 76744 h 1544311"/>
                <a:gd name="connsiteX337" fmla="*/ 122714 w 509550"/>
                <a:gd name="connsiteY337" fmla="*/ 90039 h 1544311"/>
                <a:gd name="connsiteX338" fmla="*/ 134801 w 509550"/>
                <a:gd name="connsiteY338" fmla="*/ 87621 h 1544311"/>
                <a:gd name="connsiteX339" fmla="*/ 137218 w 509550"/>
                <a:gd name="connsiteY339" fmla="*/ 75535 h 1544311"/>
                <a:gd name="connsiteX340" fmla="*/ 88871 w 509550"/>
                <a:gd name="connsiteY340" fmla="*/ 119047 h 1544311"/>
                <a:gd name="connsiteX341" fmla="*/ 87663 w 509550"/>
                <a:gd name="connsiteY341" fmla="*/ 132343 h 1544311"/>
                <a:gd name="connsiteX342" fmla="*/ 99750 w 509550"/>
                <a:gd name="connsiteY342" fmla="*/ 129926 h 1544311"/>
                <a:gd name="connsiteX343" fmla="*/ 102167 w 509550"/>
                <a:gd name="connsiteY343" fmla="*/ 119047 h 1544311"/>
                <a:gd name="connsiteX344" fmla="*/ 3357 w 509550"/>
                <a:gd name="connsiteY344" fmla="*/ 65374 h 1544311"/>
                <a:gd name="connsiteX345" fmla="*/ 26020 w 509550"/>
                <a:gd name="connsiteY345" fmla="*/ 46526 h 1544311"/>
                <a:gd name="connsiteX346" fmla="*/ 306433 w 509550"/>
                <a:gd name="connsiteY346" fmla="*/ 7849 h 1544311"/>
                <a:gd name="connsiteX347" fmla="*/ 347528 w 509550"/>
                <a:gd name="connsiteY347" fmla="*/ 17518 h 1544311"/>
                <a:gd name="connsiteX348" fmla="*/ 345110 w 509550"/>
                <a:gd name="connsiteY348" fmla="*/ 200029 h 1544311"/>
                <a:gd name="connsiteX349" fmla="*/ 323354 w 509550"/>
                <a:gd name="connsiteY349" fmla="*/ 303975 h 1544311"/>
                <a:gd name="connsiteX350" fmla="*/ 197652 w 509550"/>
                <a:gd name="connsiteY350" fmla="*/ 592848 h 1544311"/>
                <a:gd name="connsiteX351" fmla="*/ 180731 w 509550"/>
                <a:gd name="connsiteY351" fmla="*/ 716134 h 1544311"/>
                <a:gd name="connsiteX352" fmla="*/ 238747 w 509550"/>
                <a:gd name="connsiteY352" fmla="*/ 596475 h 1544311"/>
                <a:gd name="connsiteX353" fmla="*/ 348737 w 509550"/>
                <a:gd name="connsiteY353" fmla="*/ 435720 h 1544311"/>
                <a:gd name="connsiteX354" fmla="*/ 352362 w 509550"/>
                <a:gd name="connsiteY354" fmla="*/ 461103 h 1544311"/>
                <a:gd name="connsiteX355" fmla="*/ 398292 w 509550"/>
                <a:gd name="connsiteY355" fmla="*/ 604935 h 1544311"/>
                <a:gd name="connsiteX356" fmla="*/ 393457 w 509550"/>
                <a:gd name="connsiteY356" fmla="*/ 604935 h 1544311"/>
                <a:gd name="connsiteX357" fmla="*/ 395875 w 509550"/>
                <a:gd name="connsiteY357" fmla="*/ 618231 h 1544311"/>
                <a:gd name="connsiteX358" fmla="*/ 403127 w 509550"/>
                <a:gd name="connsiteY358" fmla="*/ 618231 h 1544311"/>
                <a:gd name="connsiteX359" fmla="*/ 452683 w 509550"/>
                <a:gd name="connsiteY359" fmla="*/ 781402 h 1544311"/>
                <a:gd name="connsiteX360" fmla="*/ 452683 w 509550"/>
                <a:gd name="connsiteY360" fmla="*/ 786237 h 1544311"/>
                <a:gd name="connsiteX361" fmla="*/ 453891 w 509550"/>
                <a:gd name="connsiteY361" fmla="*/ 786237 h 1544311"/>
                <a:gd name="connsiteX362" fmla="*/ 501030 w 509550"/>
                <a:gd name="connsiteY362" fmla="*/ 1019512 h 1544311"/>
                <a:gd name="connsiteX363" fmla="*/ 502239 w 509550"/>
                <a:gd name="connsiteY363" fmla="*/ 1027972 h 1544311"/>
                <a:gd name="connsiteX364" fmla="*/ 491361 w 509550"/>
                <a:gd name="connsiteY364" fmla="*/ 1027972 h 1544311"/>
                <a:gd name="connsiteX365" fmla="*/ 491361 w 509550"/>
                <a:gd name="connsiteY365" fmla="*/ 1042476 h 1544311"/>
                <a:gd name="connsiteX366" fmla="*/ 503448 w 509550"/>
                <a:gd name="connsiteY366" fmla="*/ 1041268 h 1544311"/>
                <a:gd name="connsiteX367" fmla="*/ 493778 w 509550"/>
                <a:gd name="connsiteY367" fmla="*/ 1395410 h 1544311"/>
                <a:gd name="connsiteX368" fmla="*/ 491361 w 509550"/>
                <a:gd name="connsiteY368" fmla="*/ 1395410 h 1544311"/>
                <a:gd name="connsiteX369" fmla="*/ 492569 w 509550"/>
                <a:gd name="connsiteY369" fmla="*/ 1401454 h 1544311"/>
                <a:gd name="connsiteX370" fmla="*/ 492569 w 509550"/>
                <a:gd name="connsiteY370" fmla="*/ 1402662 h 1544311"/>
                <a:gd name="connsiteX371" fmla="*/ 490151 w 509550"/>
                <a:gd name="connsiteY371" fmla="*/ 1493313 h 1544311"/>
                <a:gd name="connsiteX372" fmla="*/ 482899 w 509550"/>
                <a:gd name="connsiteY372" fmla="*/ 1494522 h 1544311"/>
                <a:gd name="connsiteX373" fmla="*/ 484109 w 509550"/>
                <a:gd name="connsiteY373" fmla="*/ 1510235 h 1544311"/>
                <a:gd name="connsiteX374" fmla="*/ 490151 w 509550"/>
                <a:gd name="connsiteY374" fmla="*/ 1510235 h 1544311"/>
                <a:gd name="connsiteX375" fmla="*/ 495558 w 509550"/>
                <a:gd name="connsiteY375" fmla="*/ 1544311 h 1544311"/>
                <a:gd name="connsiteX376" fmla="*/ 438506 w 509550"/>
                <a:gd name="connsiteY376" fmla="*/ 1506860 h 1544311"/>
                <a:gd name="connsiteX377" fmla="*/ 441352 w 509550"/>
                <a:gd name="connsiteY377" fmla="*/ 1494371 h 1544311"/>
                <a:gd name="connsiteX378" fmla="*/ 439387 w 509550"/>
                <a:gd name="connsiteY378" fmla="*/ 1480017 h 1544311"/>
                <a:gd name="connsiteX379" fmla="*/ 423221 w 509550"/>
                <a:gd name="connsiteY379" fmla="*/ 1496335 h 1544311"/>
                <a:gd name="connsiteX380" fmla="*/ 422928 w 509550"/>
                <a:gd name="connsiteY380" fmla="*/ 1496633 h 1544311"/>
                <a:gd name="connsiteX381" fmla="*/ 401919 w 509550"/>
                <a:gd name="connsiteY381" fmla="*/ 1482842 h 1544311"/>
                <a:gd name="connsiteX382" fmla="*/ 401919 w 509550"/>
                <a:gd name="connsiteY382" fmla="*/ 1475183 h 1544311"/>
                <a:gd name="connsiteX383" fmla="*/ 391475 w 509550"/>
                <a:gd name="connsiteY383" fmla="*/ 1475987 h 1544311"/>
                <a:gd name="connsiteX384" fmla="*/ 268314 w 509550"/>
                <a:gd name="connsiteY384" fmla="*/ 1395138 h 1544311"/>
                <a:gd name="connsiteX385" fmla="*/ 267755 w 509550"/>
                <a:gd name="connsiteY385" fmla="*/ 1391785 h 1544311"/>
                <a:gd name="connsiteX386" fmla="*/ 263206 w 509550"/>
                <a:gd name="connsiteY386" fmla="*/ 1391785 h 1544311"/>
                <a:gd name="connsiteX387" fmla="*/ 155146 w 509550"/>
                <a:gd name="connsiteY387" fmla="*/ 1320850 h 1544311"/>
                <a:gd name="connsiteX388" fmla="*/ 149097 w 509550"/>
                <a:gd name="connsiteY388" fmla="*/ 1279850 h 1544311"/>
                <a:gd name="connsiteX389" fmla="*/ 132383 w 509550"/>
                <a:gd name="connsiteY389" fmla="*/ 1130710 h 1544311"/>
                <a:gd name="connsiteX390" fmla="*/ 128758 w 509550"/>
                <a:gd name="connsiteY390" fmla="*/ 615814 h 1544311"/>
                <a:gd name="connsiteX391" fmla="*/ 11516 w 509550"/>
                <a:gd name="connsiteY391" fmla="*/ 121464 h 1544311"/>
                <a:gd name="connsiteX392" fmla="*/ 3357 w 509550"/>
                <a:gd name="connsiteY392" fmla="*/ 65374 h 1544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Lst>
              <a:rect l="l" t="t" r="r" b="b"/>
              <a:pathLst>
                <a:path w="509550" h="1544311">
                  <a:moveTo>
                    <a:pt x="458726" y="1512653"/>
                  </a:moveTo>
                  <a:lnTo>
                    <a:pt x="459935" y="1517487"/>
                  </a:lnTo>
                  <a:lnTo>
                    <a:pt x="464770" y="1516278"/>
                  </a:lnTo>
                  <a:lnTo>
                    <a:pt x="463561" y="1512652"/>
                  </a:lnTo>
                  <a:close/>
                  <a:moveTo>
                    <a:pt x="450266" y="1431670"/>
                  </a:moveTo>
                  <a:lnTo>
                    <a:pt x="450266" y="1440132"/>
                  </a:lnTo>
                  <a:lnTo>
                    <a:pt x="458726" y="1438923"/>
                  </a:lnTo>
                  <a:lnTo>
                    <a:pt x="459936" y="1430462"/>
                  </a:lnTo>
                  <a:close/>
                  <a:moveTo>
                    <a:pt x="469605" y="1316847"/>
                  </a:moveTo>
                  <a:lnTo>
                    <a:pt x="469605" y="1318055"/>
                  </a:lnTo>
                  <a:lnTo>
                    <a:pt x="470813" y="1318055"/>
                  </a:lnTo>
                  <a:lnTo>
                    <a:pt x="470813" y="1316847"/>
                  </a:lnTo>
                  <a:close/>
                  <a:moveTo>
                    <a:pt x="447849" y="1348272"/>
                  </a:moveTo>
                  <a:lnTo>
                    <a:pt x="447849" y="1354315"/>
                  </a:lnTo>
                  <a:lnTo>
                    <a:pt x="453891" y="1353107"/>
                  </a:lnTo>
                  <a:lnTo>
                    <a:pt x="453891" y="1347063"/>
                  </a:lnTo>
                  <a:close/>
                  <a:moveTo>
                    <a:pt x="491361" y="1227404"/>
                  </a:moveTo>
                  <a:lnTo>
                    <a:pt x="492569" y="1235865"/>
                  </a:lnTo>
                  <a:lnTo>
                    <a:pt x="499821" y="1235865"/>
                  </a:lnTo>
                  <a:lnTo>
                    <a:pt x="498613" y="1228613"/>
                  </a:lnTo>
                  <a:close/>
                  <a:moveTo>
                    <a:pt x="439387" y="1263665"/>
                  </a:moveTo>
                  <a:lnTo>
                    <a:pt x="435762" y="1275752"/>
                  </a:lnTo>
                  <a:lnTo>
                    <a:pt x="436970" y="1291464"/>
                  </a:lnTo>
                  <a:lnTo>
                    <a:pt x="452683" y="1285421"/>
                  </a:lnTo>
                  <a:lnTo>
                    <a:pt x="464770" y="1285421"/>
                  </a:lnTo>
                  <a:lnTo>
                    <a:pt x="464770" y="1273334"/>
                  </a:lnTo>
                  <a:lnTo>
                    <a:pt x="463561" y="1258830"/>
                  </a:lnTo>
                  <a:lnTo>
                    <a:pt x="450266" y="1263665"/>
                  </a:lnTo>
                  <a:close/>
                  <a:moveTo>
                    <a:pt x="369284" y="1336186"/>
                  </a:moveTo>
                  <a:lnTo>
                    <a:pt x="369284" y="1348272"/>
                  </a:lnTo>
                  <a:lnTo>
                    <a:pt x="381371" y="1347063"/>
                  </a:lnTo>
                  <a:lnTo>
                    <a:pt x="381371" y="1333768"/>
                  </a:lnTo>
                  <a:close/>
                  <a:moveTo>
                    <a:pt x="339068" y="1380906"/>
                  </a:moveTo>
                  <a:lnTo>
                    <a:pt x="337858" y="1394202"/>
                  </a:lnTo>
                  <a:lnTo>
                    <a:pt x="351155" y="1391785"/>
                  </a:lnTo>
                  <a:lnTo>
                    <a:pt x="351154" y="1377280"/>
                  </a:lnTo>
                  <a:close/>
                  <a:moveTo>
                    <a:pt x="459935" y="1165762"/>
                  </a:moveTo>
                  <a:lnTo>
                    <a:pt x="461143" y="1181475"/>
                  </a:lnTo>
                  <a:lnTo>
                    <a:pt x="476857" y="1180266"/>
                  </a:lnTo>
                  <a:lnTo>
                    <a:pt x="476857" y="1163344"/>
                  </a:lnTo>
                  <a:close/>
                  <a:moveTo>
                    <a:pt x="295555" y="1368819"/>
                  </a:moveTo>
                  <a:lnTo>
                    <a:pt x="294346" y="1384532"/>
                  </a:lnTo>
                  <a:lnTo>
                    <a:pt x="311267" y="1382115"/>
                  </a:lnTo>
                  <a:lnTo>
                    <a:pt x="310059" y="1367611"/>
                  </a:lnTo>
                  <a:close/>
                  <a:moveTo>
                    <a:pt x="465978" y="1101702"/>
                  </a:moveTo>
                  <a:lnTo>
                    <a:pt x="467187" y="1123458"/>
                  </a:lnTo>
                  <a:lnTo>
                    <a:pt x="488944" y="1121041"/>
                  </a:lnTo>
                  <a:lnTo>
                    <a:pt x="487734" y="1100493"/>
                  </a:lnTo>
                  <a:close/>
                  <a:moveTo>
                    <a:pt x="334233" y="1291464"/>
                  </a:moveTo>
                  <a:lnTo>
                    <a:pt x="333024" y="1303550"/>
                  </a:lnTo>
                  <a:lnTo>
                    <a:pt x="343902" y="1299925"/>
                  </a:lnTo>
                  <a:lnTo>
                    <a:pt x="343902" y="1290256"/>
                  </a:lnTo>
                  <a:close/>
                  <a:moveTo>
                    <a:pt x="468395" y="1065442"/>
                  </a:moveTo>
                  <a:lnTo>
                    <a:pt x="469605" y="1072694"/>
                  </a:lnTo>
                  <a:lnTo>
                    <a:pt x="476857" y="1071485"/>
                  </a:lnTo>
                  <a:lnTo>
                    <a:pt x="476857" y="1064233"/>
                  </a:lnTo>
                  <a:close/>
                  <a:moveTo>
                    <a:pt x="430927" y="1102910"/>
                  </a:moveTo>
                  <a:lnTo>
                    <a:pt x="432135" y="1111372"/>
                  </a:lnTo>
                  <a:lnTo>
                    <a:pt x="440596" y="1110162"/>
                  </a:lnTo>
                  <a:lnTo>
                    <a:pt x="440597" y="1101702"/>
                  </a:lnTo>
                  <a:close/>
                  <a:moveTo>
                    <a:pt x="336650" y="1220152"/>
                  </a:moveTo>
                  <a:lnTo>
                    <a:pt x="337858" y="1232239"/>
                  </a:lnTo>
                  <a:lnTo>
                    <a:pt x="347528" y="1229822"/>
                  </a:lnTo>
                  <a:lnTo>
                    <a:pt x="347528" y="1220153"/>
                  </a:lnTo>
                  <a:close/>
                  <a:moveTo>
                    <a:pt x="294346" y="1241909"/>
                  </a:moveTo>
                  <a:lnTo>
                    <a:pt x="294346" y="1244326"/>
                  </a:lnTo>
                  <a:lnTo>
                    <a:pt x="296763" y="1244326"/>
                  </a:lnTo>
                  <a:lnTo>
                    <a:pt x="296763" y="1241909"/>
                  </a:lnTo>
                  <a:close/>
                  <a:moveTo>
                    <a:pt x="346320" y="1156092"/>
                  </a:moveTo>
                  <a:lnTo>
                    <a:pt x="347528" y="1160927"/>
                  </a:lnTo>
                  <a:lnTo>
                    <a:pt x="352363" y="1160927"/>
                  </a:lnTo>
                  <a:lnTo>
                    <a:pt x="351154" y="1157301"/>
                  </a:lnTo>
                  <a:close/>
                  <a:moveTo>
                    <a:pt x="229078" y="1328934"/>
                  </a:moveTo>
                  <a:lnTo>
                    <a:pt x="230287" y="1344646"/>
                  </a:lnTo>
                  <a:lnTo>
                    <a:pt x="245999" y="1343438"/>
                  </a:lnTo>
                  <a:lnTo>
                    <a:pt x="245999" y="1326516"/>
                  </a:lnTo>
                  <a:close/>
                  <a:moveTo>
                    <a:pt x="451474" y="989295"/>
                  </a:moveTo>
                  <a:lnTo>
                    <a:pt x="451474" y="990504"/>
                  </a:lnTo>
                  <a:lnTo>
                    <a:pt x="452683" y="990504"/>
                  </a:lnTo>
                  <a:lnTo>
                    <a:pt x="452683" y="989295"/>
                  </a:lnTo>
                  <a:close/>
                  <a:moveTo>
                    <a:pt x="428510" y="1019512"/>
                  </a:moveTo>
                  <a:lnTo>
                    <a:pt x="428510" y="1025555"/>
                  </a:lnTo>
                  <a:lnTo>
                    <a:pt x="434552" y="1024347"/>
                  </a:lnTo>
                  <a:lnTo>
                    <a:pt x="434552" y="1018303"/>
                  </a:lnTo>
                  <a:close/>
                  <a:moveTo>
                    <a:pt x="308850" y="1188727"/>
                  </a:moveTo>
                  <a:lnTo>
                    <a:pt x="310060" y="1197187"/>
                  </a:lnTo>
                  <a:lnTo>
                    <a:pt x="318520" y="1197187"/>
                  </a:lnTo>
                  <a:lnTo>
                    <a:pt x="317312" y="1187518"/>
                  </a:lnTo>
                  <a:close/>
                  <a:moveTo>
                    <a:pt x="236329" y="1264873"/>
                  </a:moveTo>
                  <a:lnTo>
                    <a:pt x="237539" y="1286629"/>
                  </a:lnTo>
                  <a:lnTo>
                    <a:pt x="258086" y="1284212"/>
                  </a:lnTo>
                  <a:lnTo>
                    <a:pt x="256878" y="1263665"/>
                  </a:lnTo>
                  <a:close/>
                  <a:moveTo>
                    <a:pt x="237539" y="1228613"/>
                  </a:moveTo>
                  <a:lnTo>
                    <a:pt x="238747" y="1235865"/>
                  </a:lnTo>
                  <a:lnTo>
                    <a:pt x="245999" y="1234657"/>
                  </a:lnTo>
                  <a:lnTo>
                    <a:pt x="245999" y="1228613"/>
                  </a:lnTo>
                  <a:close/>
                  <a:moveTo>
                    <a:pt x="258086" y="1188727"/>
                  </a:moveTo>
                  <a:lnTo>
                    <a:pt x="258086" y="1203231"/>
                  </a:lnTo>
                  <a:lnTo>
                    <a:pt x="273799" y="1202022"/>
                  </a:lnTo>
                  <a:lnTo>
                    <a:pt x="270172" y="1188727"/>
                  </a:lnTo>
                  <a:close/>
                  <a:moveTo>
                    <a:pt x="420048" y="936113"/>
                  </a:moveTo>
                  <a:lnTo>
                    <a:pt x="416423" y="948200"/>
                  </a:lnTo>
                  <a:lnTo>
                    <a:pt x="417631" y="963913"/>
                  </a:lnTo>
                  <a:lnTo>
                    <a:pt x="433344" y="957869"/>
                  </a:lnTo>
                  <a:lnTo>
                    <a:pt x="445431" y="957869"/>
                  </a:lnTo>
                  <a:lnTo>
                    <a:pt x="445431" y="945782"/>
                  </a:lnTo>
                  <a:lnTo>
                    <a:pt x="444222" y="931278"/>
                  </a:lnTo>
                  <a:lnTo>
                    <a:pt x="430927" y="936113"/>
                  </a:lnTo>
                  <a:close/>
                  <a:moveTo>
                    <a:pt x="201279" y="1267290"/>
                  </a:moveTo>
                  <a:lnTo>
                    <a:pt x="201279" y="1275752"/>
                  </a:lnTo>
                  <a:lnTo>
                    <a:pt x="209739" y="1274542"/>
                  </a:lnTo>
                  <a:lnTo>
                    <a:pt x="210948" y="1266082"/>
                  </a:lnTo>
                  <a:close/>
                  <a:moveTo>
                    <a:pt x="456309" y="862384"/>
                  </a:moveTo>
                  <a:lnTo>
                    <a:pt x="455101" y="875679"/>
                  </a:lnTo>
                  <a:lnTo>
                    <a:pt x="468395" y="873261"/>
                  </a:lnTo>
                  <a:lnTo>
                    <a:pt x="468395" y="858757"/>
                  </a:lnTo>
                  <a:close/>
                  <a:moveTo>
                    <a:pt x="273799" y="1121041"/>
                  </a:moveTo>
                  <a:lnTo>
                    <a:pt x="276216" y="1134336"/>
                  </a:lnTo>
                  <a:lnTo>
                    <a:pt x="290721" y="1134336"/>
                  </a:lnTo>
                  <a:lnTo>
                    <a:pt x="289512" y="1119832"/>
                  </a:lnTo>
                  <a:close/>
                  <a:moveTo>
                    <a:pt x="311268" y="1052146"/>
                  </a:moveTo>
                  <a:lnTo>
                    <a:pt x="310060" y="1064233"/>
                  </a:lnTo>
                  <a:lnTo>
                    <a:pt x="310059" y="1078737"/>
                  </a:lnTo>
                  <a:lnTo>
                    <a:pt x="324564" y="1073902"/>
                  </a:lnTo>
                  <a:lnTo>
                    <a:pt x="335441" y="1075111"/>
                  </a:lnTo>
                  <a:lnTo>
                    <a:pt x="340276" y="1063025"/>
                  </a:lnTo>
                  <a:lnTo>
                    <a:pt x="339068" y="1048520"/>
                  </a:lnTo>
                  <a:lnTo>
                    <a:pt x="323354" y="1053355"/>
                  </a:lnTo>
                  <a:close/>
                  <a:moveTo>
                    <a:pt x="220618" y="1152467"/>
                  </a:moveTo>
                  <a:lnTo>
                    <a:pt x="220618" y="1153675"/>
                  </a:lnTo>
                  <a:lnTo>
                    <a:pt x="221826" y="1153675"/>
                  </a:lnTo>
                  <a:lnTo>
                    <a:pt x="221825" y="1152467"/>
                  </a:lnTo>
                  <a:close/>
                  <a:moveTo>
                    <a:pt x="307642" y="1017095"/>
                  </a:moveTo>
                  <a:lnTo>
                    <a:pt x="307642" y="1018303"/>
                  </a:lnTo>
                  <a:lnTo>
                    <a:pt x="308850" y="1018303"/>
                  </a:lnTo>
                  <a:lnTo>
                    <a:pt x="308850" y="1017095"/>
                  </a:lnTo>
                  <a:close/>
                  <a:moveTo>
                    <a:pt x="328189" y="984460"/>
                  </a:moveTo>
                  <a:lnTo>
                    <a:pt x="326981" y="990504"/>
                  </a:lnTo>
                  <a:lnTo>
                    <a:pt x="333024" y="990504"/>
                  </a:lnTo>
                  <a:lnTo>
                    <a:pt x="333024" y="984460"/>
                  </a:lnTo>
                  <a:close/>
                  <a:moveTo>
                    <a:pt x="197652" y="1182683"/>
                  </a:moveTo>
                  <a:lnTo>
                    <a:pt x="197652" y="1188727"/>
                  </a:lnTo>
                  <a:lnTo>
                    <a:pt x="203696" y="1187517"/>
                  </a:lnTo>
                  <a:lnTo>
                    <a:pt x="203696" y="1181475"/>
                  </a:lnTo>
                  <a:close/>
                  <a:moveTo>
                    <a:pt x="412796" y="850297"/>
                  </a:moveTo>
                  <a:lnTo>
                    <a:pt x="412796" y="867219"/>
                  </a:lnTo>
                  <a:lnTo>
                    <a:pt x="429718" y="864802"/>
                  </a:lnTo>
                  <a:lnTo>
                    <a:pt x="427300" y="849088"/>
                  </a:lnTo>
                  <a:close/>
                  <a:moveTo>
                    <a:pt x="376536" y="873262"/>
                  </a:moveTo>
                  <a:lnTo>
                    <a:pt x="377745" y="881723"/>
                  </a:lnTo>
                  <a:lnTo>
                    <a:pt x="384997" y="880513"/>
                  </a:lnTo>
                  <a:lnTo>
                    <a:pt x="384998" y="873262"/>
                  </a:lnTo>
                  <a:close/>
                  <a:moveTo>
                    <a:pt x="329398" y="898644"/>
                  </a:moveTo>
                  <a:lnTo>
                    <a:pt x="328189" y="907104"/>
                  </a:lnTo>
                  <a:lnTo>
                    <a:pt x="337859" y="905897"/>
                  </a:lnTo>
                  <a:lnTo>
                    <a:pt x="337858" y="897435"/>
                  </a:lnTo>
                  <a:close/>
                  <a:moveTo>
                    <a:pt x="238747" y="1031599"/>
                  </a:moveTo>
                  <a:lnTo>
                    <a:pt x="237539" y="1046103"/>
                  </a:lnTo>
                  <a:lnTo>
                    <a:pt x="253251" y="1046103"/>
                  </a:lnTo>
                  <a:lnTo>
                    <a:pt x="252043" y="1032807"/>
                  </a:lnTo>
                  <a:close/>
                  <a:moveTo>
                    <a:pt x="187983" y="1099285"/>
                  </a:moveTo>
                  <a:lnTo>
                    <a:pt x="184357" y="1111372"/>
                  </a:lnTo>
                  <a:lnTo>
                    <a:pt x="185565" y="1127084"/>
                  </a:lnTo>
                  <a:lnTo>
                    <a:pt x="201279" y="1121041"/>
                  </a:lnTo>
                  <a:lnTo>
                    <a:pt x="213365" y="1121041"/>
                  </a:lnTo>
                  <a:lnTo>
                    <a:pt x="213366" y="1108954"/>
                  </a:lnTo>
                  <a:lnTo>
                    <a:pt x="212156" y="1094450"/>
                  </a:lnTo>
                  <a:lnTo>
                    <a:pt x="198861" y="1099285"/>
                  </a:lnTo>
                  <a:close/>
                  <a:moveTo>
                    <a:pt x="288303" y="934905"/>
                  </a:moveTo>
                  <a:lnTo>
                    <a:pt x="288303" y="942157"/>
                  </a:lnTo>
                  <a:lnTo>
                    <a:pt x="295556" y="943365"/>
                  </a:lnTo>
                  <a:lnTo>
                    <a:pt x="295555" y="934905"/>
                  </a:lnTo>
                  <a:close/>
                  <a:moveTo>
                    <a:pt x="259295" y="965121"/>
                  </a:moveTo>
                  <a:lnTo>
                    <a:pt x="261712" y="978417"/>
                  </a:lnTo>
                  <a:lnTo>
                    <a:pt x="273799" y="979625"/>
                  </a:lnTo>
                  <a:lnTo>
                    <a:pt x="275007" y="965121"/>
                  </a:lnTo>
                  <a:close/>
                  <a:moveTo>
                    <a:pt x="411588" y="723386"/>
                  </a:moveTo>
                  <a:lnTo>
                    <a:pt x="411588" y="725803"/>
                  </a:lnTo>
                  <a:lnTo>
                    <a:pt x="414006" y="725803"/>
                  </a:lnTo>
                  <a:lnTo>
                    <a:pt x="414006" y="723386"/>
                  </a:lnTo>
                  <a:close/>
                  <a:moveTo>
                    <a:pt x="346320" y="809202"/>
                  </a:moveTo>
                  <a:lnTo>
                    <a:pt x="347528" y="824914"/>
                  </a:lnTo>
                  <a:lnTo>
                    <a:pt x="363241" y="823706"/>
                  </a:lnTo>
                  <a:lnTo>
                    <a:pt x="363241" y="806785"/>
                  </a:lnTo>
                  <a:close/>
                  <a:moveTo>
                    <a:pt x="281051" y="884140"/>
                  </a:moveTo>
                  <a:lnTo>
                    <a:pt x="281051" y="904687"/>
                  </a:lnTo>
                  <a:lnTo>
                    <a:pt x="301598" y="904687"/>
                  </a:lnTo>
                  <a:lnTo>
                    <a:pt x="301598" y="882931"/>
                  </a:lnTo>
                  <a:close/>
                  <a:moveTo>
                    <a:pt x="215783" y="966330"/>
                  </a:moveTo>
                  <a:lnTo>
                    <a:pt x="214574" y="974790"/>
                  </a:lnTo>
                  <a:lnTo>
                    <a:pt x="224243" y="974790"/>
                  </a:lnTo>
                  <a:lnTo>
                    <a:pt x="224243" y="966330"/>
                  </a:lnTo>
                  <a:close/>
                  <a:moveTo>
                    <a:pt x="239956" y="920400"/>
                  </a:moveTo>
                  <a:lnTo>
                    <a:pt x="239956" y="924026"/>
                  </a:lnTo>
                  <a:lnTo>
                    <a:pt x="242374" y="924026"/>
                  </a:lnTo>
                  <a:lnTo>
                    <a:pt x="242374" y="920401"/>
                  </a:lnTo>
                  <a:close/>
                  <a:moveTo>
                    <a:pt x="353572" y="746351"/>
                  </a:moveTo>
                  <a:lnTo>
                    <a:pt x="354780" y="768107"/>
                  </a:lnTo>
                  <a:lnTo>
                    <a:pt x="375328" y="765690"/>
                  </a:lnTo>
                  <a:lnTo>
                    <a:pt x="374119" y="745142"/>
                  </a:lnTo>
                  <a:close/>
                  <a:moveTo>
                    <a:pt x="297973" y="827332"/>
                  </a:moveTo>
                  <a:lnTo>
                    <a:pt x="296763" y="844253"/>
                  </a:lnTo>
                  <a:lnTo>
                    <a:pt x="313685" y="843045"/>
                  </a:lnTo>
                  <a:lnTo>
                    <a:pt x="313685" y="827332"/>
                  </a:lnTo>
                  <a:close/>
                  <a:moveTo>
                    <a:pt x="178313" y="998964"/>
                  </a:moveTo>
                  <a:lnTo>
                    <a:pt x="179523" y="1002591"/>
                  </a:lnTo>
                  <a:lnTo>
                    <a:pt x="183148" y="1003799"/>
                  </a:lnTo>
                  <a:lnTo>
                    <a:pt x="183148" y="998964"/>
                  </a:lnTo>
                  <a:close/>
                  <a:moveTo>
                    <a:pt x="355989" y="710091"/>
                  </a:moveTo>
                  <a:lnTo>
                    <a:pt x="357197" y="717343"/>
                  </a:lnTo>
                  <a:lnTo>
                    <a:pt x="364449" y="716133"/>
                  </a:lnTo>
                  <a:lnTo>
                    <a:pt x="364449" y="708882"/>
                  </a:lnTo>
                  <a:close/>
                  <a:moveTo>
                    <a:pt x="375328" y="670204"/>
                  </a:moveTo>
                  <a:lnTo>
                    <a:pt x="375328" y="684708"/>
                  </a:lnTo>
                  <a:lnTo>
                    <a:pt x="391040" y="683500"/>
                  </a:lnTo>
                  <a:lnTo>
                    <a:pt x="387415" y="670204"/>
                  </a:lnTo>
                  <a:close/>
                  <a:moveTo>
                    <a:pt x="318519" y="747559"/>
                  </a:moveTo>
                  <a:lnTo>
                    <a:pt x="318520" y="756021"/>
                  </a:lnTo>
                  <a:lnTo>
                    <a:pt x="326981" y="754811"/>
                  </a:lnTo>
                  <a:lnTo>
                    <a:pt x="328189" y="746351"/>
                  </a:lnTo>
                  <a:close/>
                  <a:moveTo>
                    <a:pt x="189192" y="932487"/>
                  </a:moveTo>
                  <a:lnTo>
                    <a:pt x="187982" y="942157"/>
                  </a:lnTo>
                  <a:lnTo>
                    <a:pt x="198861" y="942157"/>
                  </a:lnTo>
                  <a:lnTo>
                    <a:pt x="198861" y="931278"/>
                  </a:lnTo>
                  <a:close/>
                  <a:moveTo>
                    <a:pt x="281051" y="768107"/>
                  </a:moveTo>
                  <a:lnTo>
                    <a:pt x="281051" y="775359"/>
                  </a:lnTo>
                  <a:lnTo>
                    <a:pt x="289511" y="776567"/>
                  </a:lnTo>
                  <a:lnTo>
                    <a:pt x="288303" y="768107"/>
                  </a:lnTo>
                  <a:close/>
                  <a:moveTo>
                    <a:pt x="197652" y="862384"/>
                  </a:moveTo>
                  <a:lnTo>
                    <a:pt x="197652" y="872053"/>
                  </a:lnTo>
                  <a:lnTo>
                    <a:pt x="207321" y="872053"/>
                  </a:lnTo>
                  <a:lnTo>
                    <a:pt x="208531" y="859967"/>
                  </a:lnTo>
                  <a:close/>
                  <a:moveTo>
                    <a:pt x="337858" y="633943"/>
                  </a:moveTo>
                  <a:lnTo>
                    <a:pt x="337859" y="635153"/>
                  </a:lnTo>
                  <a:lnTo>
                    <a:pt x="339068" y="635153"/>
                  </a:lnTo>
                  <a:lnTo>
                    <a:pt x="339068" y="633943"/>
                  </a:lnTo>
                  <a:close/>
                  <a:moveTo>
                    <a:pt x="316102" y="664161"/>
                  </a:moveTo>
                  <a:lnTo>
                    <a:pt x="316102" y="670204"/>
                  </a:lnTo>
                  <a:lnTo>
                    <a:pt x="322146" y="668996"/>
                  </a:lnTo>
                  <a:lnTo>
                    <a:pt x="322146" y="662952"/>
                  </a:lnTo>
                  <a:close/>
                  <a:moveTo>
                    <a:pt x="236329" y="782611"/>
                  </a:moveTo>
                  <a:lnTo>
                    <a:pt x="236330" y="797116"/>
                  </a:lnTo>
                  <a:lnTo>
                    <a:pt x="250834" y="797115"/>
                  </a:lnTo>
                  <a:lnTo>
                    <a:pt x="253251" y="780194"/>
                  </a:lnTo>
                  <a:close/>
                  <a:moveTo>
                    <a:pt x="197652" y="769315"/>
                  </a:moveTo>
                  <a:lnTo>
                    <a:pt x="197652" y="782611"/>
                  </a:lnTo>
                  <a:lnTo>
                    <a:pt x="209739" y="780194"/>
                  </a:lnTo>
                  <a:lnTo>
                    <a:pt x="212156" y="768107"/>
                  </a:lnTo>
                  <a:close/>
                  <a:moveTo>
                    <a:pt x="163809" y="811620"/>
                  </a:moveTo>
                  <a:lnTo>
                    <a:pt x="162601" y="824914"/>
                  </a:lnTo>
                  <a:lnTo>
                    <a:pt x="174688" y="822497"/>
                  </a:lnTo>
                  <a:lnTo>
                    <a:pt x="177105" y="811619"/>
                  </a:lnTo>
                  <a:close/>
                  <a:moveTo>
                    <a:pt x="306433" y="579554"/>
                  </a:moveTo>
                  <a:lnTo>
                    <a:pt x="302807" y="591640"/>
                  </a:lnTo>
                  <a:lnTo>
                    <a:pt x="304015" y="607352"/>
                  </a:lnTo>
                  <a:lnTo>
                    <a:pt x="319729" y="601310"/>
                  </a:lnTo>
                  <a:lnTo>
                    <a:pt x="331816" y="601310"/>
                  </a:lnTo>
                  <a:lnTo>
                    <a:pt x="331816" y="589223"/>
                  </a:lnTo>
                  <a:lnTo>
                    <a:pt x="330606" y="574719"/>
                  </a:lnTo>
                  <a:lnTo>
                    <a:pt x="317311" y="579554"/>
                  </a:lnTo>
                  <a:close/>
                  <a:moveTo>
                    <a:pt x="236329" y="359574"/>
                  </a:moveTo>
                  <a:lnTo>
                    <a:pt x="235122" y="371661"/>
                  </a:lnTo>
                  <a:lnTo>
                    <a:pt x="235122" y="386165"/>
                  </a:lnTo>
                  <a:lnTo>
                    <a:pt x="248416" y="381331"/>
                  </a:lnTo>
                  <a:lnTo>
                    <a:pt x="259295" y="382538"/>
                  </a:lnTo>
                  <a:lnTo>
                    <a:pt x="264130" y="371661"/>
                  </a:lnTo>
                  <a:lnTo>
                    <a:pt x="264130" y="355947"/>
                  </a:lnTo>
                  <a:lnTo>
                    <a:pt x="248416" y="360782"/>
                  </a:lnTo>
                  <a:close/>
                  <a:moveTo>
                    <a:pt x="231495" y="325731"/>
                  </a:moveTo>
                  <a:lnTo>
                    <a:pt x="231495" y="326939"/>
                  </a:lnTo>
                  <a:lnTo>
                    <a:pt x="232704" y="326939"/>
                  </a:lnTo>
                  <a:lnTo>
                    <a:pt x="232704" y="325731"/>
                  </a:lnTo>
                  <a:close/>
                  <a:moveTo>
                    <a:pt x="252043" y="291888"/>
                  </a:moveTo>
                  <a:lnTo>
                    <a:pt x="252043" y="297931"/>
                  </a:lnTo>
                  <a:lnTo>
                    <a:pt x="258086" y="297931"/>
                  </a:lnTo>
                  <a:lnTo>
                    <a:pt x="258086" y="291888"/>
                  </a:lnTo>
                  <a:close/>
                  <a:moveTo>
                    <a:pt x="254460" y="206072"/>
                  </a:moveTo>
                  <a:lnTo>
                    <a:pt x="253251" y="213324"/>
                  </a:lnTo>
                  <a:lnTo>
                    <a:pt x="262920" y="213324"/>
                  </a:lnTo>
                  <a:lnTo>
                    <a:pt x="262920" y="204864"/>
                  </a:lnTo>
                  <a:close/>
                  <a:moveTo>
                    <a:pt x="162601" y="339026"/>
                  </a:moveTo>
                  <a:lnTo>
                    <a:pt x="161392" y="353530"/>
                  </a:lnTo>
                  <a:lnTo>
                    <a:pt x="177105" y="353530"/>
                  </a:lnTo>
                  <a:lnTo>
                    <a:pt x="175896" y="340235"/>
                  </a:lnTo>
                  <a:close/>
                  <a:moveTo>
                    <a:pt x="213365" y="242332"/>
                  </a:moveTo>
                  <a:lnTo>
                    <a:pt x="213366" y="249584"/>
                  </a:lnTo>
                  <a:lnTo>
                    <a:pt x="220618" y="250793"/>
                  </a:lnTo>
                  <a:lnTo>
                    <a:pt x="220617" y="242332"/>
                  </a:lnTo>
                  <a:close/>
                  <a:moveTo>
                    <a:pt x="183148" y="272550"/>
                  </a:moveTo>
                  <a:lnTo>
                    <a:pt x="185565" y="285844"/>
                  </a:lnTo>
                  <a:lnTo>
                    <a:pt x="197652" y="287054"/>
                  </a:lnTo>
                  <a:lnTo>
                    <a:pt x="198861" y="272549"/>
                  </a:lnTo>
                  <a:close/>
                  <a:moveTo>
                    <a:pt x="204904" y="191567"/>
                  </a:moveTo>
                  <a:lnTo>
                    <a:pt x="204904" y="212116"/>
                  </a:lnTo>
                  <a:lnTo>
                    <a:pt x="226660" y="212116"/>
                  </a:lnTo>
                  <a:lnTo>
                    <a:pt x="225452" y="190359"/>
                  </a:lnTo>
                  <a:close/>
                  <a:moveTo>
                    <a:pt x="139636" y="274967"/>
                  </a:moveTo>
                  <a:lnTo>
                    <a:pt x="138427" y="283427"/>
                  </a:lnTo>
                  <a:lnTo>
                    <a:pt x="148097" y="283427"/>
                  </a:lnTo>
                  <a:lnTo>
                    <a:pt x="148097" y="274967"/>
                  </a:lnTo>
                  <a:close/>
                  <a:moveTo>
                    <a:pt x="163809" y="227828"/>
                  </a:moveTo>
                  <a:lnTo>
                    <a:pt x="163809" y="231454"/>
                  </a:lnTo>
                  <a:lnTo>
                    <a:pt x="166226" y="231454"/>
                  </a:lnTo>
                  <a:lnTo>
                    <a:pt x="166227" y="227828"/>
                  </a:lnTo>
                  <a:close/>
                  <a:moveTo>
                    <a:pt x="221825" y="134760"/>
                  </a:moveTo>
                  <a:lnTo>
                    <a:pt x="220617" y="151682"/>
                  </a:lnTo>
                  <a:lnTo>
                    <a:pt x="237539" y="150473"/>
                  </a:lnTo>
                  <a:lnTo>
                    <a:pt x="237539" y="134760"/>
                  </a:lnTo>
                  <a:close/>
                  <a:moveTo>
                    <a:pt x="102167" y="307600"/>
                  </a:moveTo>
                  <a:lnTo>
                    <a:pt x="103375" y="311227"/>
                  </a:lnTo>
                  <a:lnTo>
                    <a:pt x="107002" y="312435"/>
                  </a:lnTo>
                  <a:lnTo>
                    <a:pt x="107002" y="307600"/>
                  </a:lnTo>
                  <a:close/>
                  <a:moveTo>
                    <a:pt x="113045" y="239915"/>
                  </a:moveTo>
                  <a:lnTo>
                    <a:pt x="111837" y="249584"/>
                  </a:lnTo>
                  <a:lnTo>
                    <a:pt x="122714" y="249584"/>
                  </a:lnTo>
                  <a:lnTo>
                    <a:pt x="122714" y="238707"/>
                  </a:lnTo>
                  <a:close/>
                  <a:moveTo>
                    <a:pt x="206113" y="76744"/>
                  </a:moveTo>
                  <a:lnTo>
                    <a:pt x="206113" y="83996"/>
                  </a:lnTo>
                  <a:lnTo>
                    <a:pt x="214574" y="85204"/>
                  </a:lnTo>
                  <a:lnTo>
                    <a:pt x="213366" y="76744"/>
                  </a:lnTo>
                  <a:close/>
                  <a:moveTo>
                    <a:pt x="142053" y="151682"/>
                  </a:moveTo>
                  <a:lnTo>
                    <a:pt x="139635" y="162559"/>
                  </a:lnTo>
                  <a:lnTo>
                    <a:pt x="139635" y="174646"/>
                  </a:lnTo>
                  <a:lnTo>
                    <a:pt x="151722" y="172229"/>
                  </a:lnTo>
                  <a:lnTo>
                    <a:pt x="166226" y="175855"/>
                  </a:lnTo>
                  <a:lnTo>
                    <a:pt x="162601" y="161351"/>
                  </a:lnTo>
                  <a:lnTo>
                    <a:pt x="167436" y="146847"/>
                  </a:lnTo>
                  <a:lnTo>
                    <a:pt x="152932" y="146847"/>
                  </a:lnTo>
                  <a:close/>
                  <a:moveTo>
                    <a:pt x="121506" y="169811"/>
                  </a:moveTo>
                  <a:lnTo>
                    <a:pt x="121506" y="179481"/>
                  </a:lnTo>
                  <a:lnTo>
                    <a:pt x="131175" y="179481"/>
                  </a:lnTo>
                  <a:lnTo>
                    <a:pt x="132383" y="167394"/>
                  </a:lnTo>
                  <a:close/>
                  <a:moveTo>
                    <a:pt x="161392" y="90038"/>
                  </a:moveTo>
                  <a:lnTo>
                    <a:pt x="161392" y="104543"/>
                  </a:lnTo>
                  <a:lnTo>
                    <a:pt x="175896" y="104543"/>
                  </a:lnTo>
                  <a:lnTo>
                    <a:pt x="177105" y="87621"/>
                  </a:lnTo>
                  <a:close/>
                  <a:moveTo>
                    <a:pt x="122714" y="76744"/>
                  </a:moveTo>
                  <a:lnTo>
                    <a:pt x="122714" y="90039"/>
                  </a:lnTo>
                  <a:lnTo>
                    <a:pt x="134801" y="87621"/>
                  </a:lnTo>
                  <a:lnTo>
                    <a:pt x="137218" y="75535"/>
                  </a:lnTo>
                  <a:close/>
                  <a:moveTo>
                    <a:pt x="88871" y="119047"/>
                  </a:moveTo>
                  <a:lnTo>
                    <a:pt x="87663" y="132343"/>
                  </a:lnTo>
                  <a:lnTo>
                    <a:pt x="99750" y="129926"/>
                  </a:lnTo>
                  <a:lnTo>
                    <a:pt x="102167" y="119047"/>
                  </a:lnTo>
                  <a:close/>
                  <a:moveTo>
                    <a:pt x="3357" y="65374"/>
                  </a:moveTo>
                  <a:cubicBezTo>
                    <a:pt x="6983" y="57555"/>
                    <a:pt x="13933" y="50757"/>
                    <a:pt x="26020" y="46526"/>
                  </a:cubicBezTo>
                  <a:cubicBezTo>
                    <a:pt x="74367" y="29605"/>
                    <a:pt x="306433" y="7849"/>
                    <a:pt x="306433" y="7849"/>
                  </a:cubicBezTo>
                  <a:cubicBezTo>
                    <a:pt x="306433" y="7849"/>
                    <a:pt x="343902" y="-15116"/>
                    <a:pt x="347528" y="17518"/>
                  </a:cubicBezTo>
                  <a:cubicBezTo>
                    <a:pt x="348737" y="33231"/>
                    <a:pt x="346320" y="111795"/>
                    <a:pt x="345110" y="200029"/>
                  </a:cubicBezTo>
                  <a:cubicBezTo>
                    <a:pt x="341485" y="237497"/>
                    <a:pt x="330606" y="256836"/>
                    <a:pt x="323354" y="303975"/>
                  </a:cubicBezTo>
                  <a:cubicBezTo>
                    <a:pt x="302807" y="446599"/>
                    <a:pt x="230287" y="494946"/>
                    <a:pt x="197652" y="592848"/>
                  </a:cubicBezTo>
                  <a:cubicBezTo>
                    <a:pt x="175896" y="648447"/>
                    <a:pt x="180731" y="716134"/>
                    <a:pt x="180731" y="716134"/>
                  </a:cubicBezTo>
                  <a:cubicBezTo>
                    <a:pt x="180731" y="716134"/>
                    <a:pt x="178313" y="685917"/>
                    <a:pt x="238747" y="596475"/>
                  </a:cubicBezTo>
                  <a:cubicBezTo>
                    <a:pt x="264130" y="557797"/>
                    <a:pt x="313685" y="510658"/>
                    <a:pt x="348737" y="435720"/>
                  </a:cubicBezTo>
                  <a:cubicBezTo>
                    <a:pt x="349945" y="446599"/>
                    <a:pt x="351155" y="455059"/>
                    <a:pt x="352362" y="461103"/>
                  </a:cubicBezTo>
                  <a:cubicBezTo>
                    <a:pt x="358406" y="484067"/>
                    <a:pt x="376536" y="537249"/>
                    <a:pt x="398292" y="604935"/>
                  </a:cubicBezTo>
                  <a:lnTo>
                    <a:pt x="393457" y="604935"/>
                  </a:lnTo>
                  <a:lnTo>
                    <a:pt x="395875" y="618231"/>
                  </a:lnTo>
                  <a:lnTo>
                    <a:pt x="403127" y="618231"/>
                  </a:lnTo>
                  <a:cubicBezTo>
                    <a:pt x="418840" y="667786"/>
                    <a:pt x="436970" y="724595"/>
                    <a:pt x="452683" y="781402"/>
                  </a:cubicBezTo>
                  <a:lnTo>
                    <a:pt x="452683" y="786237"/>
                  </a:lnTo>
                  <a:lnTo>
                    <a:pt x="453891" y="786237"/>
                  </a:lnTo>
                  <a:cubicBezTo>
                    <a:pt x="476857" y="868427"/>
                    <a:pt x="496196" y="951826"/>
                    <a:pt x="501030" y="1019512"/>
                  </a:cubicBezTo>
                  <a:cubicBezTo>
                    <a:pt x="502238" y="1021929"/>
                    <a:pt x="502238" y="1025555"/>
                    <a:pt x="502239" y="1027972"/>
                  </a:cubicBezTo>
                  <a:lnTo>
                    <a:pt x="491361" y="1027972"/>
                  </a:lnTo>
                  <a:lnTo>
                    <a:pt x="491361" y="1042476"/>
                  </a:lnTo>
                  <a:lnTo>
                    <a:pt x="503448" y="1041268"/>
                  </a:lnTo>
                  <a:cubicBezTo>
                    <a:pt x="515535" y="1209274"/>
                    <a:pt x="508282" y="1332559"/>
                    <a:pt x="493778" y="1395410"/>
                  </a:cubicBezTo>
                  <a:lnTo>
                    <a:pt x="491361" y="1395410"/>
                  </a:lnTo>
                  <a:lnTo>
                    <a:pt x="492569" y="1401454"/>
                  </a:lnTo>
                  <a:cubicBezTo>
                    <a:pt x="492569" y="1401454"/>
                    <a:pt x="492569" y="1402662"/>
                    <a:pt x="492569" y="1402662"/>
                  </a:cubicBezTo>
                  <a:cubicBezTo>
                    <a:pt x="487734" y="1420793"/>
                    <a:pt x="487734" y="1453427"/>
                    <a:pt x="490151" y="1493313"/>
                  </a:cubicBezTo>
                  <a:lnTo>
                    <a:pt x="482899" y="1494522"/>
                  </a:lnTo>
                  <a:lnTo>
                    <a:pt x="484109" y="1510235"/>
                  </a:lnTo>
                  <a:lnTo>
                    <a:pt x="490151" y="1510235"/>
                  </a:lnTo>
                  <a:lnTo>
                    <a:pt x="495558" y="1544311"/>
                  </a:lnTo>
                  <a:lnTo>
                    <a:pt x="438506" y="1506860"/>
                  </a:lnTo>
                  <a:lnTo>
                    <a:pt x="441352" y="1494371"/>
                  </a:lnTo>
                  <a:cubicBezTo>
                    <a:pt x="442107" y="1484248"/>
                    <a:pt x="439387" y="1480017"/>
                    <a:pt x="439387" y="1480017"/>
                  </a:cubicBezTo>
                  <a:cubicBezTo>
                    <a:pt x="439387" y="1480017"/>
                    <a:pt x="433948" y="1485457"/>
                    <a:pt x="423221" y="1496335"/>
                  </a:cubicBezTo>
                  <a:lnTo>
                    <a:pt x="422928" y="1496633"/>
                  </a:lnTo>
                  <a:lnTo>
                    <a:pt x="401919" y="1482842"/>
                  </a:lnTo>
                  <a:lnTo>
                    <a:pt x="401919" y="1475183"/>
                  </a:lnTo>
                  <a:lnTo>
                    <a:pt x="391475" y="1475987"/>
                  </a:lnTo>
                  <a:lnTo>
                    <a:pt x="268314" y="1395138"/>
                  </a:lnTo>
                  <a:lnTo>
                    <a:pt x="267755" y="1391785"/>
                  </a:lnTo>
                  <a:lnTo>
                    <a:pt x="263206" y="1391785"/>
                  </a:lnTo>
                  <a:lnTo>
                    <a:pt x="155146" y="1320850"/>
                  </a:lnTo>
                  <a:lnTo>
                    <a:pt x="149097" y="1279850"/>
                  </a:lnTo>
                  <a:cubicBezTo>
                    <a:pt x="142279" y="1227329"/>
                    <a:pt x="136614" y="1176640"/>
                    <a:pt x="132383" y="1130710"/>
                  </a:cubicBezTo>
                  <a:cubicBezTo>
                    <a:pt x="115462" y="948199"/>
                    <a:pt x="161392" y="780194"/>
                    <a:pt x="128758" y="615814"/>
                  </a:cubicBezTo>
                  <a:cubicBezTo>
                    <a:pt x="99750" y="474398"/>
                    <a:pt x="11516" y="121464"/>
                    <a:pt x="11516" y="121464"/>
                  </a:cubicBezTo>
                  <a:cubicBezTo>
                    <a:pt x="11516" y="121464"/>
                    <a:pt x="-7521" y="88830"/>
                    <a:pt x="3357" y="65374"/>
                  </a:cubicBezTo>
                  <a:close/>
                </a:path>
              </a:pathLst>
            </a:custGeom>
            <a:grp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grpSp>
      <p:sp>
        <p:nvSpPr>
          <p:cNvPr id="9" name="Freeform 799">
            <a:extLst>
              <a:ext uri="{FF2B5EF4-FFF2-40B4-BE49-F238E27FC236}">
                <a16:creationId xmlns:a16="http://schemas.microsoft.com/office/drawing/2014/main" id="{C58D1B4D-8651-E9FF-2FE2-A408F642E773}"/>
              </a:ext>
            </a:extLst>
          </p:cNvPr>
          <p:cNvSpPr/>
          <p:nvPr userDrawn="1"/>
        </p:nvSpPr>
        <p:spPr>
          <a:xfrm flipH="1">
            <a:off x="10766840" y="5210993"/>
            <a:ext cx="566376" cy="632971"/>
          </a:xfrm>
          <a:custGeom>
            <a:avLst/>
            <a:gdLst>
              <a:gd name="connsiteX0" fmla="*/ 49805 w 546946"/>
              <a:gd name="connsiteY0" fmla="*/ 413714 h 615716"/>
              <a:gd name="connsiteX1" fmla="*/ 138629 w 546946"/>
              <a:gd name="connsiteY1" fmla="*/ 166685 h 615716"/>
              <a:gd name="connsiteX2" fmla="*/ 302617 w 546946"/>
              <a:gd name="connsiteY2" fmla="*/ 119533 h 615716"/>
              <a:gd name="connsiteX3" fmla="*/ 497035 w 546946"/>
              <a:gd name="connsiteY3" fmla="*/ 3626 h 615716"/>
              <a:gd name="connsiteX4" fmla="*/ 507743 w 546946"/>
              <a:gd name="connsiteY4" fmla="*/ 1048 h 615716"/>
              <a:gd name="connsiteX5" fmla="*/ 510646 w 546946"/>
              <a:gd name="connsiteY5" fmla="*/ 11616 h 615716"/>
              <a:gd name="connsiteX6" fmla="*/ 504049 w 546946"/>
              <a:gd name="connsiteY6" fmla="*/ 237879 h 615716"/>
              <a:gd name="connsiteX7" fmla="*/ 542724 w 546946"/>
              <a:gd name="connsiteY7" fmla="*/ 404097 h 615716"/>
              <a:gd name="connsiteX8" fmla="*/ 370210 w 546946"/>
              <a:gd name="connsiteY8" fmla="*/ 601952 h 615716"/>
              <a:gd name="connsiteX9" fmla="*/ 49805 w 546946"/>
              <a:gd name="connsiteY9" fmla="*/ 413714 h 61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946" h="615716">
                <a:moveTo>
                  <a:pt x="49805" y="413714"/>
                </a:moveTo>
                <a:cubicBezTo>
                  <a:pt x="-31283" y="366073"/>
                  <a:pt x="-21202" y="223431"/>
                  <a:pt x="138629" y="166685"/>
                </a:cubicBezTo>
                <a:cubicBezTo>
                  <a:pt x="192169" y="147662"/>
                  <a:pt x="248961" y="135723"/>
                  <a:pt x="302617" y="119533"/>
                </a:cubicBezTo>
                <a:cubicBezTo>
                  <a:pt x="405168" y="88756"/>
                  <a:pt x="455643" y="47016"/>
                  <a:pt x="497035" y="3626"/>
                </a:cubicBezTo>
                <a:cubicBezTo>
                  <a:pt x="499450" y="1048"/>
                  <a:pt x="503422" y="-1484"/>
                  <a:pt x="507743" y="1048"/>
                </a:cubicBezTo>
                <a:cubicBezTo>
                  <a:pt x="512017" y="3556"/>
                  <a:pt x="511715" y="8248"/>
                  <a:pt x="510646" y="11616"/>
                </a:cubicBezTo>
                <a:cubicBezTo>
                  <a:pt x="492900" y="68919"/>
                  <a:pt x="481054" y="133330"/>
                  <a:pt x="504049" y="237879"/>
                </a:cubicBezTo>
                <a:cubicBezTo>
                  <a:pt x="516035" y="292627"/>
                  <a:pt x="533247" y="348049"/>
                  <a:pt x="542724" y="404097"/>
                </a:cubicBezTo>
                <a:cubicBezTo>
                  <a:pt x="570969" y="571338"/>
                  <a:pt x="451229" y="649546"/>
                  <a:pt x="370210" y="601952"/>
                </a:cubicBezTo>
                <a:lnTo>
                  <a:pt x="49805" y="413714"/>
                </a:lnTo>
                <a:close/>
              </a:path>
            </a:pathLst>
          </a:custGeom>
          <a:solidFill>
            <a:srgbClr val="5C2020">
              <a:alpha val="75000"/>
            </a:srgbClr>
          </a:solidFill>
          <a:ln w="232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0" name="Freeform: Shape 9">
            <a:extLst>
              <a:ext uri="{FF2B5EF4-FFF2-40B4-BE49-F238E27FC236}">
                <a16:creationId xmlns:a16="http://schemas.microsoft.com/office/drawing/2014/main" id="{F72B69F1-B8D6-86C6-53B5-D2974844970D}"/>
              </a:ext>
            </a:extLst>
          </p:cNvPr>
          <p:cNvSpPr/>
          <p:nvPr userDrawn="1"/>
        </p:nvSpPr>
        <p:spPr>
          <a:xfrm rot="4100337">
            <a:off x="2137949" y="6035369"/>
            <a:ext cx="963740" cy="1125050"/>
          </a:xfrm>
          <a:custGeom>
            <a:avLst/>
            <a:gdLst>
              <a:gd name="connsiteX0" fmla="*/ 41337 w 1099570"/>
              <a:gd name="connsiteY0" fmla="*/ 522532 h 1283615"/>
              <a:gd name="connsiteX1" fmla="*/ 55234 w 1099570"/>
              <a:gd name="connsiteY1" fmla="*/ 510263 h 1283615"/>
              <a:gd name="connsiteX2" fmla="*/ 75170 w 1099570"/>
              <a:gd name="connsiteY2" fmla="*/ 499529 h 1283615"/>
              <a:gd name="connsiteX3" fmla="*/ 82837 w 1099570"/>
              <a:gd name="connsiteY3" fmla="*/ 473459 h 1283615"/>
              <a:gd name="connsiteX4" fmla="*/ 96639 w 1099570"/>
              <a:gd name="connsiteY4" fmla="*/ 436655 h 1283615"/>
              <a:gd name="connsiteX5" fmla="*/ 108140 w 1099570"/>
              <a:gd name="connsiteY5" fmla="*/ 432054 h 1283615"/>
              <a:gd name="connsiteX6" fmla="*/ 122709 w 1099570"/>
              <a:gd name="connsiteY6" fmla="*/ 402917 h 1283615"/>
              <a:gd name="connsiteX7" fmla="*/ 142645 w 1099570"/>
              <a:gd name="connsiteY7" fmla="*/ 367647 h 1283615"/>
              <a:gd name="connsiteX8" fmla="*/ 154913 w 1099570"/>
              <a:gd name="connsiteY8" fmla="*/ 363813 h 1283615"/>
              <a:gd name="connsiteX9" fmla="*/ 172548 w 1099570"/>
              <a:gd name="connsiteY9" fmla="*/ 336210 h 1283615"/>
              <a:gd name="connsiteX10" fmla="*/ 197851 w 1099570"/>
              <a:gd name="connsiteY10" fmla="*/ 302472 h 1283615"/>
              <a:gd name="connsiteX11" fmla="*/ 210119 w 1099570"/>
              <a:gd name="connsiteY11" fmla="*/ 300172 h 1283615"/>
              <a:gd name="connsiteX12" fmla="*/ 229288 w 1099570"/>
              <a:gd name="connsiteY12" fmla="*/ 275636 h 1283615"/>
              <a:gd name="connsiteX13" fmla="*/ 262259 w 1099570"/>
              <a:gd name="connsiteY13" fmla="*/ 242665 h 1283615"/>
              <a:gd name="connsiteX14" fmla="*/ 293696 w 1099570"/>
              <a:gd name="connsiteY14" fmla="*/ 212762 h 1283615"/>
              <a:gd name="connsiteX15" fmla="*/ 325133 w 1099570"/>
              <a:gd name="connsiteY15" fmla="*/ 187459 h 1283615"/>
              <a:gd name="connsiteX16" fmla="*/ 365004 w 1099570"/>
              <a:gd name="connsiteY16" fmla="*/ 158322 h 1283615"/>
              <a:gd name="connsiteX17" fmla="*/ 395674 w 1099570"/>
              <a:gd name="connsiteY17" fmla="*/ 137620 h 1283615"/>
              <a:gd name="connsiteX18" fmla="*/ 407942 w 1099570"/>
              <a:gd name="connsiteY18" fmla="*/ 139920 h 1283615"/>
              <a:gd name="connsiteX19" fmla="*/ 437079 w 1099570"/>
              <a:gd name="connsiteY19" fmla="*/ 123051 h 1283615"/>
              <a:gd name="connsiteX20" fmla="*/ 442446 w 1099570"/>
              <a:gd name="connsiteY20" fmla="*/ 109250 h 1283615"/>
              <a:gd name="connsiteX21" fmla="*/ 470050 w 1099570"/>
              <a:gd name="connsiteY21" fmla="*/ 95448 h 1283615"/>
              <a:gd name="connsiteX22" fmla="*/ 472350 w 1099570"/>
              <a:gd name="connsiteY22" fmla="*/ 96215 h 1283615"/>
              <a:gd name="connsiteX23" fmla="*/ 521422 w 1099570"/>
              <a:gd name="connsiteY23" fmla="*/ 74746 h 1283615"/>
              <a:gd name="connsiteX24" fmla="*/ 558227 w 1099570"/>
              <a:gd name="connsiteY24" fmla="*/ 63244 h 1283615"/>
              <a:gd name="connsiteX25" fmla="*/ 599632 w 1099570"/>
              <a:gd name="connsiteY25" fmla="*/ 51743 h 1283615"/>
              <a:gd name="connsiteX26" fmla="*/ 604999 w 1099570"/>
              <a:gd name="connsiteY26" fmla="*/ 43308 h 1283615"/>
              <a:gd name="connsiteX27" fmla="*/ 638736 w 1099570"/>
              <a:gd name="connsiteY27" fmla="*/ 36408 h 1283615"/>
              <a:gd name="connsiteX28" fmla="*/ 683208 w 1099570"/>
              <a:gd name="connsiteY28" fmla="*/ 29507 h 1283615"/>
              <a:gd name="connsiteX29" fmla="*/ 729214 w 1099570"/>
              <a:gd name="connsiteY29" fmla="*/ 24906 h 1283615"/>
              <a:gd name="connsiteX30" fmla="*/ 758350 w 1099570"/>
              <a:gd name="connsiteY30" fmla="*/ 24906 h 1283615"/>
              <a:gd name="connsiteX31" fmla="*/ 775219 w 1099570"/>
              <a:gd name="connsiteY31" fmla="*/ 9571 h 1283615"/>
              <a:gd name="connsiteX32" fmla="*/ 806656 w 1099570"/>
              <a:gd name="connsiteY32" fmla="*/ 11105 h 1283615"/>
              <a:gd name="connsiteX33" fmla="*/ 847294 w 1099570"/>
              <a:gd name="connsiteY33" fmla="*/ 14172 h 1283615"/>
              <a:gd name="connsiteX34" fmla="*/ 859562 w 1099570"/>
              <a:gd name="connsiteY34" fmla="*/ 4970 h 1283615"/>
              <a:gd name="connsiteX35" fmla="*/ 886399 w 1099570"/>
              <a:gd name="connsiteY35" fmla="*/ 10338 h 1283615"/>
              <a:gd name="connsiteX36" fmla="*/ 892533 w 1099570"/>
              <a:gd name="connsiteY36" fmla="*/ 21073 h 1283615"/>
              <a:gd name="connsiteX37" fmla="*/ 914002 w 1099570"/>
              <a:gd name="connsiteY37" fmla="*/ 26440 h 1283615"/>
              <a:gd name="connsiteX38" fmla="*/ 940071 w 1099570"/>
              <a:gd name="connsiteY38" fmla="*/ 11105 h 1283615"/>
              <a:gd name="connsiteX39" fmla="*/ 963841 w 1099570"/>
              <a:gd name="connsiteY39" fmla="*/ 18772 h 1283615"/>
              <a:gd name="connsiteX40" fmla="*/ 968441 w 1099570"/>
              <a:gd name="connsiteY40" fmla="*/ 30274 h 1283615"/>
              <a:gd name="connsiteX41" fmla="*/ 990677 w 1099570"/>
              <a:gd name="connsiteY41" fmla="*/ 38708 h 1283615"/>
              <a:gd name="connsiteX42" fmla="*/ 1012913 w 1099570"/>
              <a:gd name="connsiteY42" fmla="*/ 27973 h 1283615"/>
              <a:gd name="connsiteX43" fmla="*/ 1037450 w 1099570"/>
              <a:gd name="connsiteY43" fmla="*/ 38708 h 1283615"/>
              <a:gd name="connsiteX44" fmla="*/ 1073487 w 1099570"/>
              <a:gd name="connsiteY44" fmla="*/ 55577 h 1283615"/>
              <a:gd name="connsiteX45" fmla="*/ 1082688 w 1099570"/>
              <a:gd name="connsiteY45" fmla="*/ 51743 h 1283615"/>
              <a:gd name="connsiteX46" fmla="*/ 1098215 w 1099570"/>
              <a:gd name="connsiteY46" fmla="*/ 50784 h 1283615"/>
              <a:gd name="connsiteX47" fmla="*/ 1099570 w 1099570"/>
              <a:gd name="connsiteY47" fmla="*/ 53321 h 1283615"/>
              <a:gd name="connsiteX48" fmla="*/ 610946 w 1099570"/>
              <a:gd name="connsiteY48" fmla="*/ 1283615 h 1283615"/>
              <a:gd name="connsiteX49" fmla="*/ 545168 w 1099570"/>
              <a:gd name="connsiteY49" fmla="*/ 1277152 h 1283615"/>
              <a:gd name="connsiteX50" fmla="*/ 336634 w 1099570"/>
              <a:gd name="connsiteY50" fmla="*/ 1188844 h 1283615"/>
              <a:gd name="connsiteX51" fmla="*/ 222387 w 1099570"/>
              <a:gd name="connsiteY51" fmla="*/ 1107567 h 1283615"/>
              <a:gd name="connsiteX52" fmla="*/ 146478 w 1099570"/>
              <a:gd name="connsiteY52" fmla="*/ 1050827 h 1283615"/>
              <a:gd name="connsiteX53" fmla="*/ 137277 w 1099570"/>
              <a:gd name="connsiteY53" fmla="*/ 1042393 h 1283615"/>
              <a:gd name="connsiteX54" fmla="*/ 99706 w 1099570"/>
              <a:gd name="connsiteY54" fmla="*/ 1001755 h 1283615"/>
              <a:gd name="connsiteX55" fmla="*/ 88972 w 1099570"/>
              <a:gd name="connsiteY55" fmla="*/ 984119 h 1283615"/>
              <a:gd name="connsiteX56" fmla="*/ 75170 w 1099570"/>
              <a:gd name="connsiteY56" fmla="*/ 956516 h 1283615"/>
              <a:gd name="connsiteX57" fmla="*/ 62902 w 1099570"/>
              <a:gd name="connsiteY57" fmla="*/ 947315 h 1283615"/>
              <a:gd name="connsiteX58" fmla="*/ 55234 w 1099570"/>
              <a:gd name="connsiteY58" fmla="*/ 920479 h 1283615"/>
              <a:gd name="connsiteX59" fmla="*/ 49867 w 1099570"/>
              <a:gd name="connsiteY59" fmla="*/ 898243 h 1283615"/>
              <a:gd name="connsiteX60" fmla="*/ 46033 w 1099570"/>
              <a:gd name="connsiteY60" fmla="*/ 895175 h 1283615"/>
              <a:gd name="connsiteX61" fmla="*/ 24564 w 1099570"/>
              <a:gd name="connsiteY61" fmla="*/ 875240 h 1283615"/>
              <a:gd name="connsiteX62" fmla="*/ 35299 w 1099570"/>
              <a:gd name="connsiteY62" fmla="*/ 851470 h 1283615"/>
              <a:gd name="connsiteX63" fmla="*/ 33765 w 1099570"/>
              <a:gd name="connsiteY63" fmla="*/ 836135 h 1283615"/>
              <a:gd name="connsiteX64" fmla="*/ 29931 w 1099570"/>
              <a:gd name="connsiteY64" fmla="*/ 833068 h 1283615"/>
              <a:gd name="connsiteX65" fmla="*/ 23797 w 1099570"/>
              <a:gd name="connsiteY65" fmla="*/ 783996 h 1283615"/>
              <a:gd name="connsiteX66" fmla="*/ 22264 w 1099570"/>
              <a:gd name="connsiteY66" fmla="*/ 764827 h 1283615"/>
              <a:gd name="connsiteX67" fmla="*/ 28 w 1099570"/>
              <a:gd name="connsiteY67" fmla="*/ 739524 h 1283615"/>
              <a:gd name="connsiteX68" fmla="*/ 19964 w 1099570"/>
              <a:gd name="connsiteY68" fmla="*/ 714988 h 1283615"/>
              <a:gd name="connsiteX69" fmla="*/ 19963 w 1099570"/>
              <a:gd name="connsiteY69" fmla="*/ 690451 h 1283615"/>
              <a:gd name="connsiteX70" fmla="*/ 12296 w 1099570"/>
              <a:gd name="connsiteY70" fmla="*/ 683551 h 1283615"/>
              <a:gd name="connsiteX71" fmla="*/ 13830 w 1099570"/>
              <a:gd name="connsiteY71" fmla="*/ 654414 h 1283615"/>
              <a:gd name="connsiteX72" fmla="*/ 29164 w 1099570"/>
              <a:gd name="connsiteY72" fmla="*/ 642146 h 1283615"/>
              <a:gd name="connsiteX73" fmla="*/ 30698 w 1099570"/>
              <a:gd name="connsiteY73" fmla="*/ 617609 h 1283615"/>
              <a:gd name="connsiteX74" fmla="*/ 22264 w 1099570"/>
              <a:gd name="connsiteY74" fmla="*/ 608408 h 1283615"/>
              <a:gd name="connsiteX75" fmla="*/ 25331 w 1099570"/>
              <a:gd name="connsiteY75" fmla="*/ 585406 h 1283615"/>
              <a:gd name="connsiteX76" fmla="*/ 48334 w 1099570"/>
              <a:gd name="connsiteY76" fmla="*/ 570071 h 1283615"/>
              <a:gd name="connsiteX77" fmla="*/ 52167 w 1099570"/>
              <a:gd name="connsiteY77" fmla="*/ 545534 h 1283615"/>
              <a:gd name="connsiteX78" fmla="*/ 47567 w 1099570"/>
              <a:gd name="connsiteY78" fmla="*/ 539400 h 1283615"/>
              <a:gd name="connsiteX79" fmla="*/ 41337 w 1099570"/>
              <a:gd name="connsiteY79" fmla="*/ 522532 h 128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099570" h="1283615">
                <a:moveTo>
                  <a:pt x="41337" y="522532"/>
                </a:moveTo>
                <a:cubicBezTo>
                  <a:pt x="42391" y="518314"/>
                  <a:pt x="46800" y="514864"/>
                  <a:pt x="55234" y="510263"/>
                </a:cubicBezTo>
                <a:cubicBezTo>
                  <a:pt x="61368" y="506430"/>
                  <a:pt x="69036" y="503363"/>
                  <a:pt x="75170" y="499529"/>
                </a:cubicBezTo>
                <a:cubicBezTo>
                  <a:pt x="88972" y="491094"/>
                  <a:pt x="89738" y="488028"/>
                  <a:pt x="82837" y="473459"/>
                </a:cubicBezTo>
                <a:cubicBezTo>
                  <a:pt x="72103" y="448923"/>
                  <a:pt x="72870" y="446623"/>
                  <a:pt x="96639" y="436655"/>
                </a:cubicBezTo>
                <a:cubicBezTo>
                  <a:pt x="100473" y="435121"/>
                  <a:pt x="104307" y="433588"/>
                  <a:pt x="108140" y="432054"/>
                </a:cubicBezTo>
                <a:cubicBezTo>
                  <a:pt x="125009" y="424387"/>
                  <a:pt x="126543" y="420553"/>
                  <a:pt x="122709" y="402917"/>
                </a:cubicBezTo>
                <a:cubicBezTo>
                  <a:pt x="116575" y="377615"/>
                  <a:pt x="117342" y="375314"/>
                  <a:pt x="142645" y="367647"/>
                </a:cubicBezTo>
                <a:cubicBezTo>
                  <a:pt x="146478" y="366113"/>
                  <a:pt x="151079" y="365346"/>
                  <a:pt x="154913" y="363813"/>
                </a:cubicBezTo>
                <a:cubicBezTo>
                  <a:pt x="172548" y="357679"/>
                  <a:pt x="174848" y="353845"/>
                  <a:pt x="172548" y="336210"/>
                </a:cubicBezTo>
                <a:cubicBezTo>
                  <a:pt x="169481" y="308606"/>
                  <a:pt x="170248" y="307073"/>
                  <a:pt x="197851" y="302472"/>
                </a:cubicBezTo>
                <a:cubicBezTo>
                  <a:pt x="201685" y="301706"/>
                  <a:pt x="206286" y="300939"/>
                  <a:pt x="210119" y="300172"/>
                </a:cubicBezTo>
                <a:cubicBezTo>
                  <a:pt x="223921" y="297872"/>
                  <a:pt x="229288" y="289437"/>
                  <a:pt x="229288" y="275636"/>
                </a:cubicBezTo>
                <a:cubicBezTo>
                  <a:pt x="230055" y="244965"/>
                  <a:pt x="230821" y="244965"/>
                  <a:pt x="262259" y="242665"/>
                </a:cubicBezTo>
                <a:cubicBezTo>
                  <a:pt x="286795" y="241132"/>
                  <a:pt x="289095" y="238065"/>
                  <a:pt x="293696" y="212762"/>
                </a:cubicBezTo>
                <a:cubicBezTo>
                  <a:pt x="298296" y="189759"/>
                  <a:pt x="300596" y="187459"/>
                  <a:pt x="325133" y="187459"/>
                </a:cubicBezTo>
                <a:cubicBezTo>
                  <a:pt x="355803" y="187459"/>
                  <a:pt x="355803" y="187459"/>
                  <a:pt x="365004" y="158322"/>
                </a:cubicBezTo>
                <a:cubicBezTo>
                  <a:pt x="371138" y="139153"/>
                  <a:pt x="375738" y="136086"/>
                  <a:pt x="395674" y="137620"/>
                </a:cubicBezTo>
                <a:cubicBezTo>
                  <a:pt x="399508" y="138386"/>
                  <a:pt x="404109" y="139153"/>
                  <a:pt x="407942" y="139920"/>
                </a:cubicBezTo>
                <a:cubicBezTo>
                  <a:pt x="424811" y="141453"/>
                  <a:pt x="429411" y="139153"/>
                  <a:pt x="437079" y="123051"/>
                </a:cubicBezTo>
                <a:cubicBezTo>
                  <a:pt x="439379" y="118451"/>
                  <a:pt x="440913" y="113850"/>
                  <a:pt x="442446" y="109250"/>
                </a:cubicBezTo>
                <a:cubicBezTo>
                  <a:pt x="449347" y="94681"/>
                  <a:pt x="454715" y="92381"/>
                  <a:pt x="470050" y="95448"/>
                </a:cubicBezTo>
                <a:cubicBezTo>
                  <a:pt x="470816" y="95448"/>
                  <a:pt x="471583" y="96215"/>
                  <a:pt x="472350" y="96215"/>
                </a:cubicBezTo>
                <a:cubicBezTo>
                  <a:pt x="503787" y="103116"/>
                  <a:pt x="503787" y="103116"/>
                  <a:pt x="521422" y="74746"/>
                </a:cubicBezTo>
                <a:cubicBezTo>
                  <a:pt x="532924" y="55576"/>
                  <a:pt x="536758" y="54810"/>
                  <a:pt x="558227" y="63244"/>
                </a:cubicBezTo>
                <a:cubicBezTo>
                  <a:pt x="582763" y="73212"/>
                  <a:pt x="584296" y="72445"/>
                  <a:pt x="599632" y="51743"/>
                </a:cubicBezTo>
                <a:cubicBezTo>
                  <a:pt x="601932" y="48676"/>
                  <a:pt x="603465" y="46375"/>
                  <a:pt x="604999" y="43308"/>
                </a:cubicBezTo>
                <a:cubicBezTo>
                  <a:pt x="617267" y="27973"/>
                  <a:pt x="623401" y="25673"/>
                  <a:pt x="638736" y="36408"/>
                </a:cubicBezTo>
                <a:cubicBezTo>
                  <a:pt x="660205" y="51743"/>
                  <a:pt x="667106" y="47909"/>
                  <a:pt x="683208" y="29507"/>
                </a:cubicBezTo>
                <a:cubicBezTo>
                  <a:pt x="704677" y="5737"/>
                  <a:pt x="704677" y="5737"/>
                  <a:pt x="729214" y="24906"/>
                </a:cubicBezTo>
                <a:cubicBezTo>
                  <a:pt x="739948" y="33341"/>
                  <a:pt x="748382" y="33341"/>
                  <a:pt x="758350" y="24906"/>
                </a:cubicBezTo>
                <a:cubicBezTo>
                  <a:pt x="763717" y="19539"/>
                  <a:pt x="769085" y="14172"/>
                  <a:pt x="775219" y="9571"/>
                </a:cubicBezTo>
                <a:cubicBezTo>
                  <a:pt x="789021" y="-1930"/>
                  <a:pt x="794388" y="-1163"/>
                  <a:pt x="806656" y="11105"/>
                </a:cubicBezTo>
                <a:cubicBezTo>
                  <a:pt x="825058" y="30274"/>
                  <a:pt x="825825" y="30274"/>
                  <a:pt x="847294" y="14172"/>
                </a:cubicBezTo>
                <a:cubicBezTo>
                  <a:pt x="851128" y="11105"/>
                  <a:pt x="854961" y="8038"/>
                  <a:pt x="859562" y="4970"/>
                </a:cubicBezTo>
                <a:cubicBezTo>
                  <a:pt x="872597" y="-2697"/>
                  <a:pt x="877964" y="-1930"/>
                  <a:pt x="886399" y="10338"/>
                </a:cubicBezTo>
                <a:cubicBezTo>
                  <a:pt x="888699" y="13405"/>
                  <a:pt x="890232" y="17239"/>
                  <a:pt x="892533" y="21073"/>
                </a:cubicBezTo>
                <a:cubicBezTo>
                  <a:pt x="897900" y="29507"/>
                  <a:pt x="905567" y="31040"/>
                  <a:pt x="914002" y="26440"/>
                </a:cubicBezTo>
                <a:cubicBezTo>
                  <a:pt x="922436" y="21839"/>
                  <a:pt x="930871" y="15705"/>
                  <a:pt x="940071" y="11105"/>
                </a:cubicBezTo>
                <a:cubicBezTo>
                  <a:pt x="953106" y="4204"/>
                  <a:pt x="957707" y="5737"/>
                  <a:pt x="963841" y="18772"/>
                </a:cubicBezTo>
                <a:cubicBezTo>
                  <a:pt x="965374" y="22606"/>
                  <a:pt x="966908" y="26440"/>
                  <a:pt x="968441" y="30274"/>
                </a:cubicBezTo>
                <a:cubicBezTo>
                  <a:pt x="973042" y="41008"/>
                  <a:pt x="980710" y="43308"/>
                  <a:pt x="990677" y="38708"/>
                </a:cubicBezTo>
                <a:cubicBezTo>
                  <a:pt x="998345" y="34874"/>
                  <a:pt x="1005246" y="31040"/>
                  <a:pt x="1012913" y="27973"/>
                </a:cubicBezTo>
                <a:cubicBezTo>
                  <a:pt x="1027482" y="21839"/>
                  <a:pt x="1032083" y="24140"/>
                  <a:pt x="1037450" y="38708"/>
                </a:cubicBezTo>
                <a:cubicBezTo>
                  <a:pt x="1047417" y="65544"/>
                  <a:pt x="1047417" y="65544"/>
                  <a:pt x="1073487" y="55577"/>
                </a:cubicBezTo>
                <a:cubicBezTo>
                  <a:pt x="1076554" y="54043"/>
                  <a:pt x="1079621" y="53276"/>
                  <a:pt x="1082688" y="51743"/>
                </a:cubicBezTo>
                <a:cubicBezTo>
                  <a:pt x="1090356" y="49442"/>
                  <a:pt x="1094957" y="48868"/>
                  <a:pt x="1098215" y="50784"/>
                </a:cubicBezTo>
                <a:lnTo>
                  <a:pt x="1099570" y="53321"/>
                </a:lnTo>
                <a:lnTo>
                  <a:pt x="610946" y="1283615"/>
                </a:lnTo>
                <a:lnTo>
                  <a:pt x="545168" y="1277152"/>
                </a:lnTo>
                <a:cubicBezTo>
                  <a:pt x="470050" y="1264752"/>
                  <a:pt x="399891" y="1237149"/>
                  <a:pt x="336634" y="1188844"/>
                </a:cubicBezTo>
                <a:cubicBezTo>
                  <a:pt x="299063" y="1160473"/>
                  <a:pt x="260725" y="1134404"/>
                  <a:pt x="222387" y="1107567"/>
                </a:cubicBezTo>
                <a:cubicBezTo>
                  <a:pt x="197084" y="1089165"/>
                  <a:pt x="171781" y="1069996"/>
                  <a:pt x="146478" y="1050827"/>
                </a:cubicBezTo>
                <a:cubicBezTo>
                  <a:pt x="143411" y="1048527"/>
                  <a:pt x="138044" y="1045460"/>
                  <a:pt x="137277" y="1042393"/>
                </a:cubicBezTo>
                <a:cubicBezTo>
                  <a:pt x="134210" y="1020157"/>
                  <a:pt x="114275" y="1013256"/>
                  <a:pt x="99706" y="1001755"/>
                </a:cubicBezTo>
                <a:cubicBezTo>
                  <a:pt x="93572" y="997154"/>
                  <a:pt x="85138" y="992554"/>
                  <a:pt x="88972" y="984119"/>
                </a:cubicBezTo>
                <a:cubicBezTo>
                  <a:pt x="95106" y="968784"/>
                  <a:pt x="85138" y="963417"/>
                  <a:pt x="75170" y="956516"/>
                </a:cubicBezTo>
                <a:cubicBezTo>
                  <a:pt x="71336" y="953449"/>
                  <a:pt x="67502" y="950382"/>
                  <a:pt x="62902" y="947315"/>
                </a:cubicBezTo>
                <a:cubicBezTo>
                  <a:pt x="52167" y="940414"/>
                  <a:pt x="46800" y="931980"/>
                  <a:pt x="55234" y="920479"/>
                </a:cubicBezTo>
                <a:cubicBezTo>
                  <a:pt x="62135" y="910511"/>
                  <a:pt x="59068" y="903610"/>
                  <a:pt x="49867" y="898243"/>
                </a:cubicBezTo>
                <a:cubicBezTo>
                  <a:pt x="48333" y="897476"/>
                  <a:pt x="46800" y="895942"/>
                  <a:pt x="46033" y="895175"/>
                </a:cubicBezTo>
                <a:cubicBezTo>
                  <a:pt x="38366" y="888275"/>
                  <a:pt x="27631" y="884441"/>
                  <a:pt x="24564" y="875240"/>
                </a:cubicBezTo>
                <a:cubicBezTo>
                  <a:pt x="21497" y="865272"/>
                  <a:pt x="30698" y="859138"/>
                  <a:pt x="35299" y="851470"/>
                </a:cubicBezTo>
                <a:cubicBezTo>
                  <a:pt x="39133" y="845336"/>
                  <a:pt x="39132" y="840736"/>
                  <a:pt x="33765" y="836135"/>
                </a:cubicBezTo>
                <a:cubicBezTo>
                  <a:pt x="32232" y="835368"/>
                  <a:pt x="31465" y="833835"/>
                  <a:pt x="29931" y="833068"/>
                </a:cubicBezTo>
                <a:cubicBezTo>
                  <a:pt x="5395" y="810065"/>
                  <a:pt x="4629" y="810065"/>
                  <a:pt x="23797" y="783996"/>
                </a:cubicBezTo>
                <a:cubicBezTo>
                  <a:pt x="29165" y="776328"/>
                  <a:pt x="28398" y="770961"/>
                  <a:pt x="22264" y="764827"/>
                </a:cubicBezTo>
                <a:cubicBezTo>
                  <a:pt x="14596" y="757159"/>
                  <a:pt x="-739" y="752559"/>
                  <a:pt x="28" y="739524"/>
                </a:cubicBezTo>
                <a:cubicBezTo>
                  <a:pt x="795" y="728023"/>
                  <a:pt x="13063" y="722655"/>
                  <a:pt x="19964" y="714988"/>
                </a:cubicBezTo>
                <a:cubicBezTo>
                  <a:pt x="30698" y="703486"/>
                  <a:pt x="30698" y="701953"/>
                  <a:pt x="19963" y="690451"/>
                </a:cubicBezTo>
                <a:cubicBezTo>
                  <a:pt x="17663" y="688151"/>
                  <a:pt x="14596" y="685851"/>
                  <a:pt x="12296" y="683551"/>
                </a:cubicBezTo>
                <a:cubicBezTo>
                  <a:pt x="-1506" y="670516"/>
                  <a:pt x="-1506" y="666682"/>
                  <a:pt x="13830" y="654414"/>
                </a:cubicBezTo>
                <a:cubicBezTo>
                  <a:pt x="19197" y="649813"/>
                  <a:pt x="24564" y="646746"/>
                  <a:pt x="29164" y="642146"/>
                </a:cubicBezTo>
                <a:cubicBezTo>
                  <a:pt x="40666" y="631411"/>
                  <a:pt x="40666" y="629111"/>
                  <a:pt x="30698" y="617609"/>
                </a:cubicBezTo>
                <a:cubicBezTo>
                  <a:pt x="27631" y="614542"/>
                  <a:pt x="24564" y="611475"/>
                  <a:pt x="22264" y="608408"/>
                </a:cubicBezTo>
                <a:cubicBezTo>
                  <a:pt x="13829" y="599974"/>
                  <a:pt x="16130" y="592306"/>
                  <a:pt x="25331" y="585406"/>
                </a:cubicBezTo>
                <a:cubicBezTo>
                  <a:pt x="32998" y="580039"/>
                  <a:pt x="40666" y="575438"/>
                  <a:pt x="48334" y="570071"/>
                </a:cubicBezTo>
                <a:cubicBezTo>
                  <a:pt x="59835" y="560869"/>
                  <a:pt x="60602" y="557802"/>
                  <a:pt x="52167" y="545534"/>
                </a:cubicBezTo>
                <a:cubicBezTo>
                  <a:pt x="50634" y="543234"/>
                  <a:pt x="49100" y="541700"/>
                  <a:pt x="47567" y="539400"/>
                </a:cubicBezTo>
                <a:cubicBezTo>
                  <a:pt x="42583" y="531733"/>
                  <a:pt x="40283" y="526749"/>
                  <a:pt x="41337" y="522532"/>
                </a:cubicBezTo>
                <a:close/>
              </a:path>
            </a:pathLst>
          </a:custGeom>
          <a:solidFill>
            <a:srgbClr val="5C2020">
              <a:alpha val="75000"/>
            </a:srgbClr>
          </a:solidFill>
          <a:ln w="12692" cap="flat">
            <a:noFill/>
            <a:prstDash val="solid"/>
            <a:miter/>
          </a:ln>
        </p:spPr>
        <p:txBody>
          <a:bodyPr wrap="square" rtlCol="0" anchor="ctr">
            <a:noAutofit/>
          </a:bodyPr>
          <a:lstStyle/>
          <a:p>
            <a:pPr marL="0" marR="0" lvl="0" indent="0" algn="l"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sp>
        <p:nvSpPr>
          <p:cNvPr id="11" name="Freeform: Shape 10">
            <a:extLst>
              <a:ext uri="{FF2B5EF4-FFF2-40B4-BE49-F238E27FC236}">
                <a16:creationId xmlns:a16="http://schemas.microsoft.com/office/drawing/2014/main" id="{232F60B2-8AC1-7402-72EC-A8E079BE6F47}"/>
              </a:ext>
            </a:extLst>
          </p:cNvPr>
          <p:cNvSpPr/>
          <p:nvPr userDrawn="1"/>
        </p:nvSpPr>
        <p:spPr>
          <a:xfrm rot="3297807" flipH="1">
            <a:off x="-26772" y="5190265"/>
            <a:ext cx="612411" cy="632120"/>
          </a:xfrm>
          <a:custGeom>
            <a:avLst/>
            <a:gdLst>
              <a:gd name="connsiteX0" fmla="*/ 579345 w 612411"/>
              <a:gd name="connsiteY0" fmla="*/ 6761 h 632120"/>
              <a:gd name="connsiteX1" fmla="*/ 575429 w 612411"/>
              <a:gd name="connsiteY1" fmla="*/ 1179 h 632120"/>
              <a:gd name="connsiteX2" fmla="*/ 563293 w 612411"/>
              <a:gd name="connsiteY2" fmla="*/ 4080 h 632120"/>
              <a:gd name="connsiteX3" fmla="*/ 342958 w 612411"/>
              <a:gd name="connsiteY3" fmla="*/ 134487 h 632120"/>
              <a:gd name="connsiteX4" fmla="*/ 157109 w 612411"/>
              <a:gd name="connsiteY4" fmla="*/ 187538 h 632120"/>
              <a:gd name="connsiteX5" fmla="*/ 56444 w 612411"/>
              <a:gd name="connsiteY5" fmla="*/ 465470 h 632120"/>
              <a:gd name="connsiteX6" fmla="*/ 342172 w 612411"/>
              <a:gd name="connsiteY6" fmla="*/ 632120 h 632120"/>
              <a:gd name="connsiteX7" fmla="*/ 612411 w 612411"/>
              <a:gd name="connsiteY7" fmla="*/ 442639 h 632120"/>
              <a:gd name="connsiteX8" fmla="*/ 594224 w 612411"/>
              <a:gd name="connsiteY8" fmla="*/ 360596 h 632120"/>
              <a:gd name="connsiteX9" fmla="*/ 571242 w 612411"/>
              <a:gd name="connsiteY9" fmla="*/ 267638 h 632120"/>
              <a:gd name="connsiteX10" fmla="*/ 578719 w 612411"/>
              <a:gd name="connsiteY10" fmla="*/ 13069 h 632120"/>
              <a:gd name="connsiteX11" fmla="*/ 579345 w 612411"/>
              <a:gd name="connsiteY11" fmla="*/ 6761 h 63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411" h="632120">
                <a:moveTo>
                  <a:pt x="579345" y="6761"/>
                </a:moveTo>
                <a:cubicBezTo>
                  <a:pt x="578976" y="4615"/>
                  <a:pt x="577851" y="2590"/>
                  <a:pt x="575429" y="1179"/>
                </a:cubicBezTo>
                <a:cubicBezTo>
                  <a:pt x="570532" y="-1670"/>
                  <a:pt x="566031" y="1179"/>
                  <a:pt x="563293" y="4080"/>
                </a:cubicBezTo>
                <a:cubicBezTo>
                  <a:pt x="516384" y="52898"/>
                  <a:pt x="459180" y="99859"/>
                  <a:pt x="342958" y="134487"/>
                </a:cubicBezTo>
                <a:cubicBezTo>
                  <a:pt x="282150" y="152702"/>
                  <a:pt x="217787" y="166135"/>
                  <a:pt x="157109" y="187538"/>
                </a:cubicBezTo>
                <a:cubicBezTo>
                  <a:pt x="-24028" y="251383"/>
                  <a:pt x="-35453" y="411869"/>
                  <a:pt x="56444" y="465470"/>
                </a:cubicBezTo>
                <a:lnTo>
                  <a:pt x="342172" y="632120"/>
                </a:lnTo>
                <a:lnTo>
                  <a:pt x="612411" y="442639"/>
                </a:lnTo>
                <a:lnTo>
                  <a:pt x="594224" y="360596"/>
                </a:lnTo>
                <a:cubicBezTo>
                  <a:pt x="586307" y="329425"/>
                  <a:pt x="578034" y="298437"/>
                  <a:pt x="571242" y="267638"/>
                </a:cubicBezTo>
                <a:cubicBezTo>
                  <a:pt x="545182" y="150010"/>
                  <a:pt x="558607" y="77541"/>
                  <a:pt x="578719" y="13069"/>
                </a:cubicBezTo>
                <a:cubicBezTo>
                  <a:pt x="579325" y="11175"/>
                  <a:pt x="579713" y="8908"/>
                  <a:pt x="579345" y="6761"/>
                </a:cubicBezTo>
                <a:close/>
              </a:path>
            </a:pathLst>
          </a:custGeom>
          <a:solidFill>
            <a:srgbClr val="5C2020">
              <a:alpha val="75000"/>
            </a:srgbClr>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12" name="Graphic 11">
            <a:extLst>
              <a:ext uri="{FF2B5EF4-FFF2-40B4-BE49-F238E27FC236}">
                <a16:creationId xmlns:a16="http://schemas.microsoft.com/office/drawing/2014/main" id="{DE85A38C-752D-4384-4C10-112B4968074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5125" y="6116638"/>
            <a:ext cx="1349375" cy="381000"/>
          </a:xfrm>
          <a:prstGeom prst="rect">
            <a:avLst/>
          </a:prstGeom>
        </p:spPr>
      </p:pic>
    </p:spTree>
    <p:extLst>
      <p:ext uri="{BB962C8B-B14F-4D97-AF65-F5344CB8AC3E}">
        <p14:creationId xmlns:p14="http://schemas.microsoft.com/office/powerpoint/2010/main" val="4008845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w/Short Brown Ba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96A641-68F8-ABAB-9006-20221D3C978A}"/>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2" name="Rectangle 1">
            <a:extLst>
              <a:ext uri="{FF2B5EF4-FFF2-40B4-BE49-F238E27FC236}">
                <a16:creationId xmlns:a16="http://schemas.microsoft.com/office/drawing/2014/main" id="{8FB4A7F3-6019-9D08-1ABB-C1B43411F421}"/>
              </a:ext>
            </a:extLst>
          </p:cNvPr>
          <p:cNvSpPr/>
          <p:nvPr/>
        </p:nvSpPr>
        <p:spPr>
          <a:xfrm>
            <a:off x="0" y="5305426"/>
            <a:ext cx="12192000" cy="15525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398" b="0" i="0">
              <a:latin typeface="TT Norms Pro" panose="02000503030000020003" pitchFamily="2" charset="0"/>
            </a:endParaRPr>
          </a:p>
        </p:txBody>
      </p:sp>
      <p:grpSp>
        <p:nvGrpSpPr>
          <p:cNvPr id="6" name="Group 5">
            <a:extLst>
              <a:ext uri="{FF2B5EF4-FFF2-40B4-BE49-F238E27FC236}">
                <a16:creationId xmlns:a16="http://schemas.microsoft.com/office/drawing/2014/main" id="{4BED3260-AC85-A55E-9B5F-9CE4A113A162}"/>
              </a:ext>
            </a:extLst>
          </p:cNvPr>
          <p:cNvGrpSpPr/>
          <p:nvPr/>
        </p:nvGrpSpPr>
        <p:grpSpPr>
          <a:xfrm>
            <a:off x="2451831" y="5964643"/>
            <a:ext cx="747419" cy="976547"/>
            <a:chOff x="4496607" y="5958248"/>
            <a:chExt cx="765938" cy="1000742"/>
          </a:xfrm>
          <a:solidFill>
            <a:srgbClr val="62241D"/>
          </a:solidFill>
        </p:grpSpPr>
        <p:sp>
          <p:nvSpPr>
            <p:cNvPr id="7" name="Freeform: Shape 6">
              <a:extLst>
                <a:ext uri="{FF2B5EF4-FFF2-40B4-BE49-F238E27FC236}">
                  <a16:creationId xmlns:a16="http://schemas.microsoft.com/office/drawing/2014/main" id="{61FB874E-3B07-3284-4DB8-E0CE82FDB3FA}"/>
                </a:ext>
              </a:extLst>
            </p:cNvPr>
            <p:cNvSpPr/>
            <p:nvPr/>
          </p:nvSpPr>
          <p:spPr>
            <a:xfrm rot="1064708">
              <a:off x="4496607" y="5958248"/>
              <a:ext cx="362936" cy="944066"/>
            </a:xfrm>
            <a:custGeom>
              <a:avLst/>
              <a:gdLst>
                <a:gd name="connsiteX0" fmla="*/ 18685 w 362936"/>
                <a:gd name="connsiteY0" fmla="*/ 34279 h 944066"/>
                <a:gd name="connsiteX1" fmla="*/ 220049 w 362936"/>
                <a:gd name="connsiteY1" fmla="*/ 5636 h 944066"/>
                <a:gd name="connsiteX2" fmla="*/ 249559 w 362936"/>
                <a:gd name="connsiteY2" fmla="*/ 12580 h 944066"/>
                <a:gd name="connsiteX3" fmla="*/ 247824 w 362936"/>
                <a:gd name="connsiteY3" fmla="*/ 143640 h 944066"/>
                <a:gd name="connsiteX4" fmla="*/ 232200 w 362936"/>
                <a:gd name="connsiteY4" fmla="*/ 218284 h 944066"/>
                <a:gd name="connsiteX5" fmla="*/ 140198 w 362936"/>
                <a:gd name="connsiteY5" fmla="*/ 423120 h 944066"/>
                <a:gd name="connsiteX6" fmla="*/ 128046 w 362936"/>
                <a:gd name="connsiteY6" fmla="*/ 511651 h 944066"/>
                <a:gd name="connsiteX7" fmla="*/ 169708 w 362936"/>
                <a:gd name="connsiteY7" fmla="*/ 425724 h 944066"/>
                <a:gd name="connsiteX8" fmla="*/ 248692 w 362936"/>
                <a:gd name="connsiteY8" fmla="*/ 310287 h 944066"/>
                <a:gd name="connsiteX9" fmla="*/ 251295 w 362936"/>
                <a:gd name="connsiteY9" fmla="*/ 328513 h 944066"/>
                <a:gd name="connsiteX10" fmla="*/ 358053 w 362936"/>
                <a:gd name="connsiteY10" fmla="*/ 729506 h 944066"/>
                <a:gd name="connsiteX11" fmla="*/ 362936 w 362936"/>
                <a:gd name="connsiteY11" fmla="*/ 823041 h 944066"/>
                <a:gd name="connsiteX12" fmla="*/ 362768 w 362936"/>
                <a:gd name="connsiteY12" fmla="*/ 863102 h 944066"/>
                <a:gd name="connsiteX13" fmla="*/ 109760 w 362936"/>
                <a:gd name="connsiteY13" fmla="*/ 944066 h 944066"/>
                <a:gd name="connsiteX14" fmla="*/ 106199 w 362936"/>
                <a:gd name="connsiteY14" fmla="*/ 919926 h 944066"/>
                <a:gd name="connsiteX15" fmla="*/ 94197 w 362936"/>
                <a:gd name="connsiteY15" fmla="*/ 812829 h 944066"/>
                <a:gd name="connsiteX16" fmla="*/ 91592 w 362936"/>
                <a:gd name="connsiteY16" fmla="*/ 442215 h 944066"/>
                <a:gd name="connsiteX17" fmla="*/ 8270 w 362936"/>
                <a:gd name="connsiteY17" fmla="*/ 88091 h 944066"/>
                <a:gd name="connsiteX18" fmla="*/ 18685 w 362936"/>
                <a:gd name="connsiteY18" fmla="*/ 34279 h 94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936" h="944066">
                  <a:moveTo>
                    <a:pt x="18685" y="34279"/>
                  </a:moveTo>
                  <a:cubicBezTo>
                    <a:pt x="53403" y="22128"/>
                    <a:pt x="220049" y="5636"/>
                    <a:pt x="220049" y="5636"/>
                  </a:cubicBezTo>
                  <a:cubicBezTo>
                    <a:pt x="220049" y="5636"/>
                    <a:pt x="246956" y="-10854"/>
                    <a:pt x="249559" y="12580"/>
                  </a:cubicBezTo>
                  <a:cubicBezTo>
                    <a:pt x="250427" y="23863"/>
                    <a:pt x="248692" y="80280"/>
                    <a:pt x="247824" y="143640"/>
                  </a:cubicBezTo>
                  <a:cubicBezTo>
                    <a:pt x="245220" y="170546"/>
                    <a:pt x="237408" y="184434"/>
                    <a:pt x="232200" y="218284"/>
                  </a:cubicBezTo>
                  <a:cubicBezTo>
                    <a:pt x="217446" y="320702"/>
                    <a:pt x="166236" y="354552"/>
                    <a:pt x="140198" y="423120"/>
                  </a:cubicBezTo>
                  <a:cubicBezTo>
                    <a:pt x="124575" y="463046"/>
                    <a:pt x="128046" y="511651"/>
                    <a:pt x="128046" y="511651"/>
                  </a:cubicBezTo>
                  <a:cubicBezTo>
                    <a:pt x="128046" y="511651"/>
                    <a:pt x="126311" y="489952"/>
                    <a:pt x="169708" y="425724"/>
                  </a:cubicBezTo>
                  <a:cubicBezTo>
                    <a:pt x="187935" y="397949"/>
                    <a:pt x="223521" y="364099"/>
                    <a:pt x="248692" y="310287"/>
                  </a:cubicBezTo>
                  <a:cubicBezTo>
                    <a:pt x="249559" y="318098"/>
                    <a:pt x="250428" y="324174"/>
                    <a:pt x="251295" y="328513"/>
                  </a:cubicBezTo>
                  <a:cubicBezTo>
                    <a:pt x="262579" y="374515"/>
                    <a:pt x="347638" y="594974"/>
                    <a:pt x="358053" y="729506"/>
                  </a:cubicBezTo>
                  <a:cubicBezTo>
                    <a:pt x="360657" y="763139"/>
                    <a:pt x="362230" y="794385"/>
                    <a:pt x="362936" y="823041"/>
                  </a:cubicBezTo>
                  <a:lnTo>
                    <a:pt x="362768" y="863102"/>
                  </a:lnTo>
                  <a:lnTo>
                    <a:pt x="109760" y="944066"/>
                  </a:lnTo>
                  <a:lnTo>
                    <a:pt x="106199" y="919926"/>
                  </a:lnTo>
                  <a:cubicBezTo>
                    <a:pt x="101303" y="882211"/>
                    <a:pt x="97235" y="845811"/>
                    <a:pt x="94197" y="812829"/>
                  </a:cubicBezTo>
                  <a:cubicBezTo>
                    <a:pt x="82046" y="680900"/>
                    <a:pt x="115895" y="560256"/>
                    <a:pt x="91592" y="442215"/>
                  </a:cubicBezTo>
                  <a:cubicBezTo>
                    <a:pt x="70762" y="341533"/>
                    <a:pt x="8270" y="88091"/>
                    <a:pt x="8270" y="88091"/>
                  </a:cubicBezTo>
                  <a:cubicBezTo>
                    <a:pt x="8270" y="88091"/>
                    <a:pt x="-16033" y="46430"/>
                    <a:pt x="18685" y="34279"/>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8" name="Freeform: Shape 7">
              <a:extLst>
                <a:ext uri="{FF2B5EF4-FFF2-40B4-BE49-F238E27FC236}">
                  <a16:creationId xmlns:a16="http://schemas.microsoft.com/office/drawing/2014/main" id="{55687601-D20C-1AA7-2A76-3BD0C7A84359}"/>
                </a:ext>
              </a:extLst>
            </p:cNvPr>
            <p:cNvSpPr/>
            <p:nvPr/>
          </p:nvSpPr>
          <p:spPr>
            <a:xfrm rot="972609">
              <a:off x="4852563" y="6191952"/>
              <a:ext cx="409982" cy="767038"/>
            </a:xfrm>
            <a:custGeom>
              <a:avLst/>
              <a:gdLst>
                <a:gd name="connsiteX0" fmla="*/ 32405 w 409982"/>
                <a:gd name="connsiteY0" fmla="*/ 700508 h 767038"/>
                <a:gd name="connsiteX1" fmla="*/ 51500 w 409982"/>
                <a:gd name="connsiteY1" fmla="*/ 723075 h 767038"/>
                <a:gd name="connsiteX2" fmla="*/ 70961 w 409982"/>
                <a:gd name="connsiteY2" fmla="*/ 746408 h 767038"/>
                <a:gd name="connsiteX3" fmla="*/ 0 w 409982"/>
                <a:gd name="connsiteY3" fmla="*/ 767038 h 767038"/>
                <a:gd name="connsiteX4" fmla="*/ 176430 w 409982"/>
                <a:gd name="connsiteY4" fmla="*/ 3924 h 767038"/>
                <a:gd name="connsiteX5" fmla="*/ 193844 w 409982"/>
                <a:gd name="connsiteY5" fmla="*/ 73 h 767038"/>
                <a:gd name="connsiteX6" fmla="*/ 296262 w 409982"/>
                <a:gd name="connsiteY6" fmla="*/ 30452 h 767038"/>
                <a:gd name="connsiteX7" fmla="*/ 409963 w 409982"/>
                <a:gd name="connsiteY7" fmla="*/ 91208 h 767038"/>
                <a:gd name="connsiteX8" fmla="*/ 348339 w 409982"/>
                <a:gd name="connsiteY8" fmla="*/ 205778 h 767038"/>
                <a:gd name="connsiteX9" fmla="*/ 298865 w 409982"/>
                <a:gd name="connsiteY9" fmla="*/ 319478 h 767038"/>
                <a:gd name="connsiteX10" fmla="*/ 286714 w 409982"/>
                <a:gd name="connsiteY10" fmla="*/ 529523 h 767038"/>
                <a:gd name="connsiteX11" fmla="*/ 254370 w 409982"/>
                <a:gd name="connsiteY11" fmla="*/ 635616 h 767038"/>
                <a:gd name="connsiteX12" fmla="*/ 234578 w 409982"/>
                <a:gd name="connsiteY12" fmla="*/ 698841 h 767038"/>
                <a:gd name="connsiteX13" fmla="*/ 111071 w 409982"/>
                <a:gd name="connsiteY13" fmla="*/ 734747 h 767038"/>
                <a:gd name="connsiteX14" fmla="*/ 110208 w 409982"/>
                <a:gd name="connsiteY14" fmla="*/ 733029 h 767038"/>
                <a:gd name="connsiteX15" fmla="*/ 79274 w 409982"/>
                <a:gd name="connsiteY15" fmla="*/ 678809 h 767038"/>
                <a:gd name="connsiteX16" fmla="*/ 57575 w 409982"/>
                <a:gd name="connsiteY16" fmla="*/ 584203 h 767038"/>
                <a:gd name="connsiteX17" fmla="*/ 80142 w 409982"/>
                <a:gd name="connsiteY17" fmla="*/ 311667 h 767038"/>
                <a:gd name="connsiteX18" fmla="*/ 142634 w 409982"/>
                <a:gd name="connsiteY18" fmla="*/ 150228 h 767038"/>
                <a:gd name="connsiteX19" fmla="*/ 188636 w 409982"/>
                <a:gd name="connsiteY19" fmla="*/ 186682 h 767038"/>
                <a:gd name="connsiteX20" fmla="*/ 284978 w 409982"/>
                <a:gd name="connsiteY20" fmla="*/ 294308 h 767038"/>
                <a:gd name="connsiteX21" fmla="*/ 265016 w 409982"/>
                <a:gd name="connsiteY21" fmla="*/ 234419 h 767038"/>
                <a:gd name="connsiteX22" fmla="*/ 192975 w 409982"/>
                <a:gd name="connsiteY22" fmla="*/ 143285 h 767038"/>
                <a:gd name="connsiteX23" fmla="*/ 165201 w 409982"/>
                <a:gd name="connsiteY23" fmla="*/ 43470 h 767038"/>
                <a:gd name="connsiteX24" fmla="*/ 176430 w 409982"/>
                <a:gd name="connsiteY24" fmla="*/ 3924 h 76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9982" h="767038">
                  <a:moveTo>
                    <a:pt x="32405" y="700508"/>
                  </a:moveTo>
                  <a:cubicBezTo>
                    <a:pt x="37613" y="709188"/>
                    <a:pt x="43688" y="716132"/>
                    <a:pt x="51500" y="723075"/>
                  </a:cubicBezTo>
                  <a:lnTo>
                    <a:pt x="70961" y="746408"/>
                  </a:lnTo>
                  <a:lnTo>
                    <a:pt x="0" y="767038"/>
                  </a:lnTo>
                  <a:close/>
                  <a:moveTo>
                    <a:pt x="176430" y="3924"/>
                  </a:moveTo>
                  <a:cubicBezTo>
                    <a:pt x="180282" y="1158"/>
                    <a:pt x="185815" y="-361"/>
                    <a:pt x="193844" y="73"/>
                  </a:cubicBezTo>
                  <a:cubicBezTo>
                    <a:pt x="225958" y="1809"/>
                    <a:pt x="296262" y="30452"/>
                    <a:pt x="296262" y="30452"/>
                  </a:cubicBezTo>
                  <a:cubicBezTo>
                    <a:pt x="297998" y="30452"/>
                    <a:pt x="411699" y="53886"/>
                    <a:pt x="409963" y="91208"/>
                  </a:cubicBezTo>
                  <a:cubicBezTo>
                    <a:pt x="409095" y="105095"/>
                    <a:pt x="371773" y="162380"/>
                    <a:pt x="348339" y="205778"/>
                  </a:cubicBezTo>
                  <a:cubicBezTo>
                    <a:pt x="323168" y="252647"/>
                    <a:pt x="298865" y="319478"/>
                    <a:pt x="298865" y="319478"/>
                  </a:cubicBezTo>
                  <a:cubicBezTo>
                    <a:pt x="298865" y="319478"/>
                    <a:pt x="310149" y="448803"/>
                    <a:pt x="286714" y="529523"/>
                  </a:cubicBezTo>
                  <a:cubicBezTo>
                    <a:pt x="279119" y="555345"/>
                    <a:pt x="267511" y="593263"/>
                    <a:pt x="254370" y="635616"/>
                  </a:cubicBezTo>
                  <a:lnTo>
                    <a:pt x="234578" y="698841"/>
                  </a:lnTo>
                  <a:lnTo>
                    <a:pt x="111071" y="734747"/>
                  </a:lnTo>
                  <a:lnTo>
                    <a:pt x="110208" y="733029"/>
                  </a:lnTo>
                  <a:cubicBezTo>
                    <a:pt x="101461" y="716890"/>
                    <a:pt x="91209" y="698989"/>
                    <a:pt x="79274" y="678809"/>
                  </a:cubicBezTo>
                  <a:cubicBezTo>
                    <a:pt x="67123" y="658847"/>
                    <a:pt x="61047" y="624129"/>
                    <a:pt x="57575" y="584203"/>
                  </a:cubicBezTo>
                  <a:cubicBezTo>
                    <a:pt x="49764" y="428841"/>
                    <a:pt x="80142" y="311667"/>
                    <a:pt x="80142" y="311667"/>
                  </a:cubicBezTo>
                  <a:cubicBezTo>
                    <a:pt x="80142" y="311667"/>
                    <a:pt x="113124" y="209249"/>
                    <a:pt x="142634" y="150228"/>
                  </a:cubicBezTo>
                  <a:cubicBezTo>
                    <a:pt x="156522" y="163247"/>
                    <a:pt x="172145" y="176267"/>
                    <a:pt x="188636" y="186682"/>
                  </a:cubicBezTo>
                  <a:cubicBezTo>
                    <a:pt x="240713" y="219665"/>
                    <a:pt x="284978" y="294308"/>
                    <a:pt x="284978" y="294308"/>
                  </a:cubicBezTo>
                  <a:cubicBezTo>
                    <a:pt x="284978" y="294308"/>
                    <a:pt x="283242" y="265665"/>
                    <a:pt x="265016" y="234419"/>
                  </a:cubicBezTo>
                  <a:cubicBezTo>
                    <a:pt x="246788" y="203173"/>
                    <a:pt x="244185" y="203173"/>
                    <a:pt x="192975" y="143285"/>
                  </a:cubicBezTo>
                  <a:cubicBezTo>
                    <a:pt x="162597" y="106831"/>
                    <a:pt x="156522" y="75585"/>
                    <a:pt x="165201" y="43470"/>
                  </a:cubicBezTo>
                  <a:cubicBezTo>
                    <a:pt x="168456" y="31753"/>
                    <a:pt x="164875" y="12224"/>
                    <a:pt x="176430" y="3924"/>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grpSp>
      <p:grpSp>
        <p:nvGrpSpPr>
          <p:cNvPr id="9" name="Group 8">
            <a:extLst>
              <a:ext uri="{FF2B5EF4-FFF2-40B4-BE49-F238E27FC236}">
                <a16:creationId xmlns:a16="http://schemas.microsoft.com/office/drawing/2014/main" id="{1B8AA92B-99A3-4107-5941-11778EE62AC0}"/>
              </a:ext>
            </a:extLst>
          </p:cNvPr>
          <p:cNvGrpSpPr/>
          <p:nvPr/>
        </p:nvGrpSpPr>
        <p:grpSpPr>
          <a:xfrm>
            <a:off x="5630484" y="5170744"/>
            <a:ext cx="1485783" cy="1072036"/>
            <a:chOff x="4801899" y="5187861"/>
            <a:chExt cx="1446055" cy="1043374"/>
          </a:xfrm>
          <a:solidFill>
            <a:srgbClr val="62241D"/>
          </a:solidFill>
        </p:grpSpPr>
        <p:pic>
          <p:nvPicPr>
            <p:cNvPr id="10" name="Graphic 9">
              <a:extLst>
                <a:ext uri="{FF2B5EF4-FFF2-40B4-BE49-F238E27FC236}">
                  <a16:creationId xmlns:a16="http://schemas.microsoft.com/office/drawing/2014/main" id="{042C076A-6E87-E1A2-73F1-4D7542784E2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4836159" y="5585559"/>
              <a:ext cx="611416" cy="679936"/>
            </a:xfrm>
            <a:prstGeom prst="rect">
              <a:avLst/>
            </a:prstGeom>
          </p:spPr>
        </p:pic>
        <p:pic>
          <p:nvPicPr>
            <p:cNvPr id="11" name="Graphic 10">
              <a:extLst>
                <a:ext uri="{FF2B5EF4-FFF2-40B4-BE49-F238E27FC236}">
                  <a16:creationId xmlns:a16="http://schemas.microsoft.com/office/drawing/2014/main" id="{335F3DD6-F6C0-9F21-E3EA-5713252485F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5602278" y="5573948"/>
              <a:ext cx="611416" cy="679936"/>
            </a:xfrm>
            <a:prstGeom prst="rect">
              <a:avLst/>
            </a:prstGeom>
          </p:spPr>
        </p:pic>
        <p:pic>
          <p:nvPicPr>
            <p:cNvPr id="12" name="Graphic 11">
              <a:extLst>
                <a:ext uri="{FF2B5EF4-FFF2-40B4-BE49-F238E27FC236}">
                  <a16:creationId xmlns:a16="http://schemas.microsoft.com/office/drawing/2014/main" id="{F8EE2E36-FBF6-5424-BC5D-7D49AE98F8B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9912"/>
            <a:stretch>
              <a:fillRect/>
            </a:stretch>
          </p:blipFill>
          <p:spPr>
            <a:xfrm rot="14912638">
              <a:off x="5322387" y="5062157"/>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grpSp>
      <p:sp>
        <p:nvSpPr>
          <p:cNvPr id="13" name="Freeform: Shape 12">
            <a:extLst>
              <a:ext uri="{FF2B5EF4-FFF2-40B4-BE49-F238E27FC236}">
                <a16:creationId xmlns:a16="http://schemas.microsoft.com/office/drawing/2014/main" id="{254A0ED1-7C79-0F75-0416-8C48379A326C}"/>
              </a:ext>
            </a:extLst>
          </p:cNvPr>
          <p:cNvSpPr/>
          <p:nvPr/>
        </p:nvSpPr>
        <p:spPr>
          <a:xfrm rot="18293400">
            <a:off x="9290643" y="6073488"/>
            <a:ext cx="846581" cy="1139109"/>
          </a:xfrm>
          <a:custGeom>
            <a:avLst/>
            <a:gdLst>
              <a:gd name="connsiteX0" fmla="*/ 1098373 w 1192187"/>
              <a:gd name="connsiteY0" fmla="*/ 15655 h 1604135"/>
              <a:gd name="connsiteX1" fmla="*/ 1096924 w 1192187"/>
              <a:gd name="connsiteY1" fmla="*/ 30262 h 1604135"/>
              <a:gd name="connsiteX2" fmla="*/ 1079612 w 1192187"/>
              <a:gd name="connsiteY2" fmla="*/ 619749 h 1604135"/>
              <a:gd name="connsiteX3" fmla="*/ 1181107 w 1192187"/>
              <a:gd name="connsiteY3" fmla="*/ 1052800 h 1604135"/>
              <a:gd name="connsiteX4" fmla="*/ 811913 w 1192187"/>
              <a:gd name="connsiteY4" fmla="*/ 1599598 h 1604135"/>
              <a:gd name="connsiteX5" fmla="*/ 759696 w 1192187"/>
              <a:gd name="connsiteY5" fmla="*/ 1580019 h 1604135"/>
              <a:gd name="connsiteX6" fmla="*/ 0 w 1192187"/>
              <a:gd name="connsiteY6" fmla="*/ 490616 h 1604135"/>
              <a:gd name="connsiteX7" fmla="*/ 120631 w 1192187"/>
              <a:gd name="connsiteY7" fmla="*/ 434266 h 1604135"/>
              <a:gd name="connsiteX8" fmla="*/ 550989 w 1192187"/>
              <a:gd name="connsiteY8" fmla="*/ 311421 h 1604135"/>
              <a:gd name="connsiteX9" fmla="*/ 1061204 w 1192187"/>
              <a:gd name="connsiteY9" fmla="*/ 9446 h 1604135"/>
              <a:gd name="connsiteX10" fmla="*/ 1089306 w 1192187"/>
              <a:gd name="connsiteY10" fmla="*/ 2730 h 1604135"/>
              <a:gd name="connsiteX11" fmla="*/ 1098373 w 1192187"/>
              <a:gd name="connsiteY11" fmla="*/ 15655 h 160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2187" h="1604135">
                <a:moveTo>
                  <a:pt x="1098373" y="15655"/>
                </a:moveTo>
                <a:cubicBezTo>
                  <a:pt x="1099226" y="20625"/>
                  <a:pt x="1098327" y="25875"/>
                  <a:pt x="1096924" y="30262"/>
                </a:cubicBezTo>
                <a:cubicBezTo>
                  <a:pt x="1050353" y="179555"/>
                  <a:pt x="1019265" y="347366"/>
                  <a:pt x="1079612" y="619749"/>
                </a:cubicBezTo>
                <a:cubicBezTo>
                  <a:pt x="1111067" y="762385"/>
                  <a:pt x="1156236" y="906777"/>
                  <a:pt x="1181107" y="1052800"/>
                </a:cubicBezTo>
                <a:cubicBezTo>
                  <a:pt x="1245966" y="1434052"/>
                  <a:pt x="1013486" y="1637710"/>
                  <a:pt x="811913" y="1599598"/>
                </a:cubicBezTo>
                <a:lnTo>
                  <a:pt x="759696" y="1580019"/>
                </a:lnTo>
                <a:lnTo>
                  <a:pt x="0" y="490616"/>
                </a:lnTo>
                <a:lnTo>
                  <a:pt x="120631" y="434266"/>
                </a:lnTo>
                <a:cubicBezTo>
                  <a:pt x="261138" y="384706"/>
                  <a:pt x="410178" y="353600"/>
                  <a:pt x="550989" y="311421"/>
                </a:cubicBezTo>
                <a:cubicBezTo>
                  <a:pt x="820116" y="231237"/>
                  <a:pt x="952578" y="122491"/>
                  <a:pt x="1061204" y="9446"/>
                </a:cubicBezTo>
                <a:cubicBezTo>
                  <a:pt x="1067542" y="2729"/>
                  <a:pt x="1077966" y="-3867"/>
                  <a:pt x="1089306" y="2730"/>
                </a:cubicBezTo>
                <a:cubicBezTo>
                  <a:pt x="1094914" y="5996"/>
                  <a:pt x="1097520" y="10686"/>
                  <a:pt x="1098373" y="15655"/>
                </a:cubicBezTo>
                <a:close/>
              </a:path>
            </a:pathLst>
          </a:custGeom>
          <a:solidFill>
            <a:srgbClr val="62241D"/>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14" name="Graphic 13">
            <a:extLst>
              <a:ext uri="{FF2B5EF4-FFF2-40B4-BE49-F238E27FC236}">
                <a16:creationId xmlns:a16="http://schemas.microsoft.com/office/drawing/2014/main" id="{CA5A7F57-9188-24FC-4312-5BC3EBB219E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5125" y="6116638"/>
            <a:ext cx="1349375" cy="381000"/>
          </a:xfrm>
          <a:prstGeom prst="rect">
            <a:avLst/>
          </a:prstGeom>
        </p:spPr>
      </p:pic>
      <p:sp>
        <p:nvSpPr>
          <p:cNvPr id="15" name="Slide Number Placeholder 5">
            <a:extLst>
              <a:ext uri="{FF2B5EF4-FFF2-40B4-BE49-F238E27FC236}">
                <a16:creationId xmlns:a16="http://schemas.microsoft.com/office/drawing/2014/main" id="{EDFDA67E-2F63-AA16-B39C-A89FAF26F7E7}"/>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tx1"/>
                </a:solidFill>
                <a:latin typeface="Gazpacho Light" pitchFamily="2" charset="77"/>
              </a:defRPr>
            </a:lvl1pPr>
          </a:lstStyle>
          <a:p>
            <a:fld id="{1C897F9F-178E-40FE-BBF0-CD11DAF3CBDC}" type="slidenum">
              <a:rPr lang="en-IN" smtClean="0">
                <a:solidFill>
                  <a:schemeClr val="accent5"/>
                </a:solidFill>
              </a:rPr>
              <a:pPr/>
              <a:t>‹#›</a:t>
            </a:fld>
            <a:endParaRPr lang="en-IN">
              <a:solidFill>
                <a:schemeClr val="accent5"/>
              </a:solidFill>
            </a:endParaRPr>
          </a:p>
        </p:txBody>
      </p:sp>
      <p:sp>
        <p:nvSpPr>
          <p:cNvPr id="4" name="Rectangle 3">
            <a:extLst>
              <a:ext uri="{FF2B5EF4-FFF2-40B4-BE49-F238E27FC236}">
                <a16:creationId xmlns:a16="http://schemas.microsoft.com/office/drawing/2014/main" id="{C7A572DA-A24B-1CBF-A54F-22CEE26834C0}"/>
              </a:ext>
            </a:extLst>
          </p:cNvPr>
          <p:cNvSpPr/>
          <p:nvPr userDrawn="1"/>
        </p:nvSpPr>
        <p:spPr>
          <a:xfrm>
            <a:off x="0" y="5305426"/>
            <a:ext cx="12192000" cy="15525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398" b="0" i="0">
              <a:latin typeface="TT Norms Pro" panose="02000503030000020003" pitchFamily="2" charset="0"/>
            </a:endParaRPr>
          </a:p>
        </p:txBody>
      </p:sp>
      <p:grpSp>
        <p:nvGrpSpPr>
          <p:cNvPr id="5" name="Group 4">
            <a:extLst>
              <a:ext uri="{FF2B5EF4-FFF2-40B4-BE49-F238E27FC236}">
                <a16:creationId xmlns:a16="http://schemas.microsoft.com/office/drawing/2014/main" id="{3D4CB606-AA4F-1FFB-8F98-8B2637937EED}"/>
              </a:ext>
            </a:extLst>
          </p:cNvPr>
          <p:cNvGrpSpPr/>
          <p:nvPr userDrawn="1"/>
        </p:nvGrpSpPr>
        <p:grpSpPr>
          <a:xfrm>
            <a:off x="2451831" y="5964643"/>
            <a:ext cx="747419" cy="976547"/>
            <a:chOff x="4496607" y="5958248"/>
            <a:chExt cx="765938" cy="1000742"/>
          </a:xfrm>
          <a:solidFill>
            <a:srgbClr val="62241D"/>
          </a:solidFill>
        </p:grpSpPr>
        <p:sp>
          <p:nvSpPr>
            <p:cNvPr id="16" name="Freeform: Shape 15">
              <a:extLst>
                <a:ext uri="{FF2B5EF4-FFF2-40B4-BE49-F238E27FC236}">
                  <a16:creationId xmlns:a16="http://schemas.microsoft.com/office/drawing/2014/main" id="{1E24F243-AAED-42E0-0BD8-BACAD888F49E}"/>
                </a:ext>
              </a:extLst>
            </p:cNvPr>
            <p:cNvSpPr/>
            <p:nvPr/>
          </p:nvSpPr>
          <p:spPr>
            <a:xfrm rot="1064708">
              <a:off x="4496607" y="5958248"/>
              <a:ext cx="362936" cy="944066"/>
            </a:xfrm>
            <a:custGeom>
              <a:avLst/>
              <a:gdLst>
                <a:gd name="connsiteX0" fmla="*/ 18685 w 362936"/>
                <a:gd name="connsiteY0" fmla="*/ 34279 h 944066"/>
                <a:gd name="connsiteX1" fmla="*/ 220049 w 362936"/>
                <a:gd name="connsiteY1" fmla="*/ 5636 h 944066"/>
                <a:gd name="connsiteX2" fmla="*/ 249559 w 362936"/>
                <a:gd name="connsiteY2" fmla="*/ 12580 h 944066"/>
                <a:gd name="connsiteX3" fmla="*/ 247824 w 362936"/>
                <a:gd name="connsiteY3" fmla="*/ 143640 h 944066"/>
                <a:gd name="connsiteX4" fmla="*/ 232200 w 362936"/>
                <a:gd name="connsiteY4" fmla="*/ 218284 h 944066"/>
                <a:gd name="connsiteX5" fmla="*/ 140198 w 362936"/>
                <a:gd name="connsiteY5" fmla="*/ 423120 h 944066"/>
                <a:gd name="connsiteX6" fmla="*/ 128046 w 362936"/>
                <a:gd name="connsiteY6" fmla="*/ 511651 h 944066"/>
                <a:gd name="connsiteX7" fmla="*/ 169708 w 362936"/>
                <a:gd name="connsiteY7" fmla="*/ 425724 h 944066"/>
                <a:gd name="connsiteX8" fmla="*/ 248692 w 362936"/>
                <a:gd name="connsiteY8" fmla="*/ 310287 h 944066"/>
                <a:gd name="connsiteX9" fmla="*/ 251295 w 362936"/>
                <a:gd name="connsiteY9" fmla="*/ 328513 h 944066"/>
                <a:gd name="connsiteX10" fmla="*/ 358053 w 362936"/>
                <a:gd name="connsiteY10" fmla="*/ 729506 h 944066"/>
                <a:gd name="connsiteX11" fmla="*/ 362936 w 362936"/>
                <a:gd name="connsiteY11" fmla="*/ 823041 h 944066"/>
                <a:gd name="connsiteX12" fmla="*/ 362768 w 362936"/>
                <a:gd name="connsiteY12" fmla="*/ 863102 h 944066"/>
                <a:gd name="connsiteX13" fmla="*/ 109760 w 362936"/>
                <a:gd name="connsiteY13" fmla="*/ 944066 h 944066"/>
                <a:gd name="connsiteX14" fmla="*/ 106199 w 362936"/>
                <a:gd name="connsiteY14" fmla="*/ 919926 h 944066"/>
                <a:gd name="connsiteX15" fmla="*/ 94197 w 362936"/>
                <a:gd name="connsiteY15" fmla="*/ 812829 h 944066"/>
                <a:gd name="connsiteX16" fmla="*/ 91592 w 362936"/>
                <a:gd name="connsiteY16" fmla="*/ 442215 h 944066"/>
                <a:gd name="connsiteX17" fmla="*/ 8270 w 362936"/>
                <a:gd name="connsiteY17" fmla="*/ 88091 h 944066"/>
                <a:gd name="connsiteX18" fmla="*/ 18685 w 362936"/>
                <a:gd name="connsiteY18" fmla="*/ 34279 h 944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936" h="944066">
                  <a:moveTo>
                    <a:pt x="18685" y="34279"/>
                  </a:moveTo>
                  <a:cubicBezTo>
                    <a:pt x="53403" y="22128"/>
                    <a:pt x="220049" y="5636"/>
                    <a:pt x="220049" y="5636"/>
                  </a:cubicBezTo>
                  <a:cubicBezTo>
                    <a:pt x="220049" y="5636"/>
                    <a:pt x="246956" y="-10854"/>
                    <a:pt x="249559" y="12580"/>
                  </a:cubicBezTo>
                  <a:cubicBezTo>
                    <a:pt x="250427" y="23863"/>
                    <a:pt x="248692" y="80280"/>
                    <a:pt x="247824" y="143640"/>
                  </a:cubicBezTo>
                  <a:cubicBezTo>
                    <a:pt x="245220" y="170546"/>
                    <a:pt x="237408" y="184434"/>
                    <a:pt x="232200" y="218284"/>
                  </a:cubicBezTo>
                  <a:cubicBezTo>
                    <a:pt x="217446" y="320702"/>
                    <a:pt x="166236" y="354552"/>
                    <a:pt x="140198" y="423120"/>
                  </a:cubicBezTo>
                  <a:cubicBezTo>
                    <a:pt x="124575" y="463046"/>
                    <a:pt x="128046" y="511651"/>
                    <a:pt x="128046" y="511651"/>
                  </a:cubicBezTo>
                  <a:cubicBezTo>
                    <a:pt x="128046" y="511651"/>
                    <a:pt x="126311" y="489952"/>
                    <a:pt x="169708" y="425724"/>
                  </a:cubicBezTo>
                  <a:cubicBezTo>
                    <a:pt x="187935" y="397949"/>
                    <a:pt x="223521" y="364099"/>
                    <a:pt x="248692" y="310287"/>
                  </a:cubicBezTo>
                  <a:cubicBezTo>
                    <a:pt x="249559" y="318098"/>
                    <a:pt x="250428" y="324174"/>
                    <a:pt x="251295" y="328513"/>
                  </a:cubicBezTo>
                  <a:cubicBezTo>
                    <a:pt x="262579" y="374515"/>
                    <a:pt x="347638" y="594974"/>
                    <a:pt x="358053" y="729506"/>
                  </a:cubicBezTo>
                  <a:cubicBezTo>
                    <a:pt x="360657" y="763139"/>
                    <a:pt x="362230" y="794385"/>
                    <a:pt x="362936" y="823041"/>
                  </a:cubicBezTo>
                  <a:lnTo>
                    <a:pt x="362768" y="863102"/>
                  </a:lnTo>
                  <a:lnTo>
                    <a:pt x="109760" y="944066"/>
                  </a:lnTo>
                  <a:lnTo>
                    <a:pt x="106199" y="919926"/>
                  </a:lnTo>
                  <a:cubicBezTo>
                    <a:pt x="101303" y="882211"/>
                    <a:pt x="97235" y="845811"/>
                    <a:pt x="94197" y="812829"/>
                  </a:cubicBezTo>
                  <a:cubicBezTo>
                    <a:pt x="82046" y="680900"/>
                    <a:pt x="115895" y="560256"/>
                    <a:pt x="91592" y="442215"/>
                  </a:cubicBezTo>
                  <a:cubicBezTo>
                    <a:pt x="70762" y="341533"/>
                    <a:pt x="8270" y="88091"/>
                    <a:pt x="8270" y="88091"/>
                  </a:cubicBezTo>
                  <a:cubicBezTo>
                    <a:pt x="8270" y="88091"/>
                    <a:pt x="-16033" y="46430"/>
                    <a:pt x="18685" y="34279"/>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sp>
          <p:nvSpPr>
            <p:cNvPr id="17" name="Freeform: Shape 16">
              <a:extLst>
                <a:ext uri="{FF2B5EF4-FFF2-40B4-BE49-F238E27FC236}">
                  <a16:creationId xmlns:a16="http://schemas.microsoft.com/office/drawing/2014/main" id="{CFE91845-CE53-CA18-6477-40390067F947}"/>
                </a:ext>
              </a:extLst>
            </p:cNvPr>
            <p:cNvSpPr/>
            <p:nvPr/>
          </p:nvSpPr>
          <p:spPr>
            <a:xfrm rot="972609">
              <a:off x="4852563" y="6191952"/>
              <a:ext cx="409982" cy="767038"/>
            </a:xfrm>
            <a:custGeom>
              <a:avLst/>
              <a:gdLst>
                <a:gd name="connsiteX0" fmla="*/ 32405 w 409982"/>
                <a:gd name="connsiteY0" fmla="*/ 700508 h 767038"/>
                <a:gd name="connsiteX1" fmla="*/ 51500 w 409982"/>
                <a:gd name="connsiteY1" fmla="*/ 723075 h 767038"/>
                <a:gd name="connsiteX2" fmla="*/ 70961 w 409982"/>
                <a:gd name="connsiteY2" fmla="*/ 746408 h 767038"/>
                <a:gd name="connsiteX3" fmla="*/ 0 w 409982"/>
                <a:gd name="connsiteY3" fmla="*/ 767038 h 767038"/>
                <a:gd name="connsiteX4" fmla="*/ 176430 w 409982"/>
                <a:gd name="connsiteY4" fmla="*/ 3924 h 767038"/>
                <a:gd name="connsiteX5" fmla="*/ 193844 w 409982"/>
                <a:gd name="connsiteY5" fmla="*/ 73 h 767038"/>
                <a:gd name="connsiteX6" fmla="*/ 296262 w 409982"/>
                <a:gd name="connsiteY6" fmla="*/ 30452 h 767038"/>
                <a:gd name="connsiteX7" fmla="*/ 409963 w 409982"/>
                <a:gd name="connsiteY7" fmla="*/ 91208 h 767038"/>
                <a:gd name="connsiteX8" fmla="*/ 348339 w 409982"/>
                <a:gd name="connsiteY8" fmla="*/ 205778 h 767038"/>
                <a:gd name="connsiteX9" fmla="*/ 298865 w 409982"/>
                <a:gd name="connsiteY9" fmla="*/ 319478 h 767038"/>
                <a:gd name="connsiteX10" fmla="*/ 286714 w 409982"/>
                <a:gd name="connsiteY10" fmla="*/ 529523 h 767038"/>
                <a:gd name="connsiteX11" fmla="*/ 254370 w 409982"/>
                <a:gd name="connsiteY11" fmla="*/ 635616 h 767038"/>
                <a:gd name="connsiteX12" fmla="*/ 234578 w 409982"/>
                <a:gd name="connsiteY12" fmla="*/ 698841 h 767038"/>
                <a:gd name="connsiteX13" fmla="*/ 111071 w 409982"/>
                <a:gd name="connsiteY13" fmla="*/ 734747 h 767038"/>
                <a:gd name="connsiteX14" fmla="*/ 110208 w 409982"/>
                <a:gd name="connsiteY14" fmla="*/ 733029 h 767038"/>
                <a:gd name="connsiteX15" fmla="*/ 79274 w 409982"/>
                <a:gd name="connsiteY15" fmla="*/ 678809 h 767038"/>
                <a:gd name="connsiteX16" fmla="*/ 57575 w 409982"/>
                <a:gd name="connsiteY16" fmla="*/ 584203 h 767038"/>
                <a:gd name="connsiteX17" fmla="*/ 80142 w 409982"/>
                <a:gd name="connsiteY17" fmla="*/ 311667 h 767038"/>
                <a:gd name="connsiteX18" fmla="*/ 142634 w 409982"/>
                <a:gd name="connsiteY18" fmla="*/ 150228 h 767038"/>
                <a:gd name="connsiteX19" fmla="*/ 188636 w 409982"/>
                <a:gd name="connsiteY19" fmla="*/ 186682 h 767038"/>
                <a:gd name="connsiteX20" fmla="*/ 284978 w 409982"/>
                <a:gd name="connsiteY20" fmla="*/ 294308 h 767038"/>
                <a:gd name="connsiteX21" fmla="*/ 265016 w 409982"/>
                <a:gd name="connsiteY21" fmla="*/ 234419 h 767038"/>
                <a:gd name="connsiteX22" fmla="*/ 192975 w 409982"/>
                <a:gd name="connsiteY22" fmla="*/ 143285 h 767038"/>
                <a:gd name="connsiteX23" fmla="*/ 165201 w 409982"/>
                <a:gd name="connsiteY23" fmla="*/ 43470 h 767038"/>
                <a:gd name="connsiteX24" fmla="*/ 176430 w 409982"/>
                <a:gd name="connsiteY24" fmla="*/ 3924 h 76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9982" h="767038">
                  <a:moveTo>
                    <a:pt x="32405" y="700508"/>
                  </a:moveTo>
                  <a:cubicBezTo>
                    <a:pt x="37613" y="709188"/>
                    <a:pt x="43688" y="716132"/>
                    <a:pt x="51500" y="723075"/>
                  </a:cubicBezTo>
                  <a:lnTo>
                    <a:pt x="70961" y="746408"/>
                  </a:lnTo>
                  <a:lnTo>
                    <a:pt x="0" y="767038"/>
                  </a:lnTo>
                  <a:close/>
                  <a:moveTo>
                    <a:pt x="176430" y="3924"/>
                  </a:moveTo>
                  <a:cubicBezTo>
                    <a:pt x="180282" y="1158"/>
                    <a:pt x="185815" y="-361"/>
                    <a:pt x="193844" y="73"/>
                  </a:cubicBezTo>
                  <a:cubicBezTo>
                    <a:pt x="225958" y="1809"/>
                    <a:pt x="296262" y="30452"/>
                    <a:pt x="296262" y="30452"/>
                  </a:cubicBezTo>
                  <a:cubicBezTo>
                    <a:pt x="297998" y="30452"/>
                    <a:pt x="411699" y="53886"/>
                    <a:pt x="409963" y="91208"/>
                  </a:cubicBezTo>
                  <a:cubicBezTo>
                    <a:pt x="409095" y="105095"/>
                    <a:pt x="371773" y="162380"/>
                    <a:pt x="348339" y="205778"/>
                  </a:cubicBezTo>
                  <a:cubicBezTo>
                    <a:pt x="323168" y="252647"/>
                    <a:pt x="298865" y="319478"/>
                    <a:pt x="298865" y="319478"/>
                  </a:cubicBezTo>
                  <a:cubicBezTo>
                    <a:pt x="298865" y="319478"/>
                    <a:pt x="310149" y="448803"/>
                    <a:pt x="286714" y="529523"/>
                  </a:cubicBezTo>
                  <a:cubicBezTo>
                    <a:pt x="279119" y="555345"/>
                    <a:pt x="267511" y="593263"/>
                    <a:pt x="254370" y="635616"/>
                  </a:cubicBezTo>
                  <a:lnTo>
                    <a:pt x="234578" y="698841"/>
                  </a:lnTo>
                  <a:lnTo>
                    <a:pt x="111071" y="734747"/>
                  </a:lnTo>
                  <a:lnTo>
                    <a:pt x="110208" y="733029"/>
                  </a:lnTo>
                  <a:cubicBezTo>
                    <a:pt x="101461" y="716890"/>
                    <a:pt x="91209" y="698989"/>
                    <a:pt x="79274" y="678809"/>
                  </a:cubicBezTo>
                  <a:cubicBezTo>
                    <a:pt x="67123" y="658847"/>
                    <a:pt x="61047" y="624129"/>
                    <a:pt x="57575" y="584203"/>
                  </a:cubicBezTo>
                  <a:cubicBezTo>
                    <a:pt x="49764" y="428841"/>
                    <a:pt x="80142" y="311667"/>
                    <a:pt x="80142" y="311667"/>
                  </a:cubicBezTo>
                  <a:cubicBezTo>
                    <a:pt x="80142" y="311667"/>
                    <a:pt x="113124" y="209249"/>
                    <a:pt x="142634" y="150228"/>
                  </a:cubicBezTo>
                  <a:cubicBezTo>
                    <a:pt x="156522" y="163247"/>
                    <a:pt x="172145" y="176267"/>
                    <a:pt x="188636" y="186682"/>
                  </a:cubicBezTo>
                  <a:cubicBezTo>
                    <a:pt x="240713" y="219665"/>
                    <a:pt x="284978" y="294308"/>
                    <a:pt x="284978" y="294308"/>
                  </a:cubicBezTo>
                  <a:cubicBezTo>
                    <a:pt x="284978" y="294308"/>
                    <a:pt x="283242" y="265665"/>
                    <a:pt x="265016" y="234419"/>
                  </a:cubicBezTo>
                  <a:cubicBezTo>
                    <a:pt x="246788" y="203173"/>
                    <a:pt x="244185" y="203173"/>
                    <a:pt x="192975" y="143285"/>
                  </a:cubicBezTo>
                  <a:cubicBezTo>
                    <a:pt x="162597" y="106831"/>
                    <a:pt x="156522" y="75585"/>
                    <a:pt x="165201" y="43470"/>
                  </a:cubicBezTo>
                  <a:cubicBezTo>
                    <a:pt x="168456" y="31753"/>
                    <a:pt x="164875" y="12224"/>
                    <a:pt x="176430" y="3924"/>
                  </a:cubicBezTo>
                  <a:close/>
                </a:path>
              </a:pathLst>
            </a:custGeom>
            <a:grpFill/>
            <a:ln w="9525" cap="flat">
              <a:noFill/>
              <a:prstDash val="solid"/>
              <a:miter/>
            </a:ln>
          </p:spPr>
          <p:txBody>
            <a:bodyPr wrap="square" rtlCol="0" anchor="ctr">
              <a:noAutofit/>
            </a:bodyPr>
            <a:lstStyle/>
            <a:p>
              <a:endParaRPr lang="en-IN">
                <a:latin typeface="TT Norms Pro" panose="02000503030000020003" pitchFamily="2" charset="0"/>
              </a:endParaRPr>
            </a:p>
          </p:txBody>
        </p:sp>
      </p:grpSp>
      <p:grpSp>
        <p:nvGrpSpPr>
          <p:cNvPr id="18" name="Group 17">
            <a:extLst>
              <a:ext uri="{FF2B5EF4-FFF2-40B4-BE49-F238E27FC236}">
                <a16:creationId xmlns:a16="http://schemas.microsoft.com/office/drawing/2014/main" id="{23567F18-66DE-AD3B-1F10-75120AC4F62A}"/>
              </a:ext>
            </a:extLst>
          </p:cNvPr>
          <p:cNvGrpSpPr/>
          <p:nvPr userDrawn="1"/>
        </p:nvGrpSpPr>
        <p:grpSpPr>
          <a:xfrm>
            <a:off x="5630484" y="5170744"/>
            <a:ext cx="1485783" cy="1072036"/>
            <a:chOff x="4801899" y="5187861"/>
            <a:chExt cx="1446055" cy="1043374"/>
          </a:xfrm>
          <a:solidFill>
            <a:srgbClr val="62241D"/>
          </a:solidFill>
        </p:grpSpPr>
        <p:pic>
          <p:nvPicPr>
            <p:cNvPr id="19" name="Graphic 18">
              <a:extLst>
                <a:ext uri="{FF2B5EF4-FFF2-40B4-BE49-F238E27FC236}">
                  <a16:creationId xmlns:a16="http://schemas.microsoft.com/office/drawing/2014/main" id="{EAC01DD4-EB4C-A956-95A0-A0CDEFC4293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4836159" y="5585559"/>
              <a:ext cx="611416" cy="679936"/>
            </a:xfrm>
            <a:prstGeom prst="rect">
              <a:avLst/>
            </a:prstGeom>
          </p:spPr>
        </p:pic>
        <p:pic>
          <p:nvPicPr>
            <p:cNvPr id="20" name="Graphic 19">
              <a:extLst>
                <a:ext uri="{FF2B5EF4-FFF2-40B4-BE49-F238E27FC236}">
                  <a16:creationId xmlns:a16="http://schemas.microsoft.com/office/drawing/2014/main" id="{E5951D99-75B3-62C1-96FB-C1B5D12AFEF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rot="14912638">
              <a:off x="5602278" y="5573948"/>
              <a:ext cx="611416" cy="679936"/>
            </a:xfrm>
            <a:prstGeom prst="rect">
              <a:avLst/>
            </a:prstGeom>
          </p:spPr>
        </p:pic>
        <p:pic>
          <p:nvPicPr>
            <p:cNvPr id="21" name="Graphic 20">
              <a:extLst>
                <a:ext uri="{FF2B5EF4-FFF2-40B4-BE49-F238E27FC236}">
                  <a16:creationId xmlns:a16="http://schemas.microsoft.com/office/drawing/2014/main" id="{6A06BC5D-8921-1153-371D-135045934E1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r="29912"/>
            <a:stretch>
              <a:fillRect/>
            </a:stretch>
          </p:blipFill>
          <p:spPr>
            <a:xfrm rot="14912638">
              <a:off x="5322387" y="5062157"/>
              <a:ext cx="428528" cy="679936"/>
            </a:xfrm>
            <a:custGeom>
              <a:avLst/>
              <a:gdLst>
                <a:gd name="connsiteX0" fmla="*/ 428528 w 428528"/>
                <a:gd name="connsiteY0" fmla="*/ 0 h 679936"/>
                <a:gd name="connsiteX1" fmla="*/ 161296 w 428528"/>
                <a:gd name="connsiteY1" fmla="*/ 679936 h 679936"/>
                <a:gd name="connsiteX2" fmla="*/ 0 w 428528"/>
                <a:gd name="connsiteY2" fmla="*/ 679936 h 679936"/>
                <a:gd name="connsiteX3" fmla="*/ 0 w 428528"/>
                <a:gd name="connsiteY3" fmla="*/ 0 h 679936"/>
              </a:gdLst>
              <a:ahLst/>
              <a:cxnLst>
                <a:cxn ang="0">
                  <a:pos x="connsiteX0" y="connsiteY0"/>
                </a:cxn>
                <a:cxn ang="0">
                  <a:pos x="connsiteX1" y="connsiteY1"/>
                </a:cxn>
                <a:cxn ang="0">
                  <a:pos x="connsiteX2" y="connsiteY2"/>
                </a:cxn>
                <a:cxn ang="0">
                  <a:pos x="connsiteX3" y="connsiteY3"/>
                </a:cxn>
              </a:cxnLst>
              <a:rect l="l" t="t" r="r" b="b"/>
              <a:pathLst>
                <a:path w="428528" h="679936">
                  <a:moveTo>
                    <a:pt x="428528" y="0"/>
                  </a:moveTo>
                  <a:lnTo>
                    <a:pt x="161296" y="679936"/>
                  </a:lnTo>
                  <a:lnTo>
                    <a:pt x="0" y="679936"/>
                  </a:lnTo>
                  <a:lnTo>
                    <a:pt x="0" y="0"/>
                  </a:lnTo>
                  <a:close/>
                </a:path>
              </a:pathLst>
            </a:custGeom>
          </p:spPr>
        </p:pic>
      </p:grpSp>
      <p:sp>
        <p:nvSpPr>
          <p:cNvPr id="22" name="Freeform: Shape 21">
            <a:extLst>
              <a:ext uri="{FF2B5EF4-FFF2-40B4-BE49-F238E27FC236}">
                <a16:creationId xmlns:a16="http://schemas.microsoft.com/office/drawing/2014/main" id="{45923C50-F6A8-7F3F-B1BC-9C4FC5E4A8D1}"/>
              </a:ext>
            </a:extLst>
          </p:cNvPr>
          <p:cNvSpPr/>
          <p:nvPr userDrawn="1"/>
        </p:nvSpPr>
        <p:spPr>
          <a:xfrm rot="18293400">
            <a:off x="9290643" y="6073488"/>
            <a:ext cx="846581" cy="1139109"/>
          </a:xfrm>
          <a:custGeom>
            <a:avLst/>
            <a:gdLst>
              <a:gd name="connsiteX0" fmla="*/ 1098373 w 1192187"/>
              <a:gd name="connsiteY0" fmla="*/ 15655 h 1604135"/>
              <a:gd name="connsiteX1" fmla="*/ 1096924 w 1192187"/>
              <a:gd name="connsiteY1" fmla="*/ 30262 h 1604135"/>
              <a:gd name="connsiteX2" fmla="*/ 1079612 w 1192187"/>
              <a:gd name="connsiteY2" fmla="*/ 619749 h 1604135"/>
              <a:gd name="connsiteX3" fmla="*/ 1181107 w 1192187"/>
              <a:gd name="connsiteY3" fmla="*/ 1052800 h 1604135"/>
              <a:gd name="connsiteX4" fmla="*/ 811913 w 1192187"/>
              <a:gd name="connsiteY4" fmla="*/ 1599598 h 1604135"/>
              <a:gd name="connsiteX5" fmla="*/ 759696 w 1192187"/>
              <a:gd name="connsiteY5" fmla="*/ 1580019 h 1604135"/>
              <a:gd name="connsiteX6" fmla="*/ 0 w 1192187"/>
              <a:gd name="connsiteY6" fmla="*/ 490616 h 1604135"/>
              <a:gd name="connsiteX7" fmla="*/ 120631 w 1192187"/>
              <a:gd name="connsiteY7" fmla="*/ 434266 h 1604135"/>
              <a:gd name="connsiteX8" fmla="*/ 550989 w 1192187"/>
              <a:gd name="connsiteY8" fmla="*/ 311421 h 1604135"/>
              <a:gd name="connsiteX9" fmla="*/ 1061204 w 1192187"/>
              <a:gd name="connsiteY9" fmla="*/ 9446 h 1604135"/>
              <a:gd name="connsiteX10" fmla="*/ 1089306 w 1192187"/>
              <a:gd name="connsiteY10" fmla="*/ 2730 h 1604135"/>
              <a:gd name="connsiteX11" fmla="*/ 1098373 w 1192187"/>
              <a:gd name="connsiteY11" fmla="*/ 15655 h 160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2187" h="1604135">
                <a:moveTo>
                  <a:pt x="1098373" y="15655"/>
                </a:moveTo>
                <a:cubicBezTo>
                  <a:pt x="1099226" y="20625"/>
                  <a:pt x="1098327" y="25875"/>
                  <a:pt x="1096924" y="30262"/>
                </a:cubicBezTo>
                <a:cubicBezTo>
                  <a:pt x="1050353" y="179555"/>
                  <a:pt x="1019265" y="347366"/>
                  <a:pt x="1079612" y="619749"/>
                </a:cubicBezTo>
                <a:cubicBezTo>
                  <a:pt x="1111067" y="762385"/>
                  <a:pt x="1156236" y="906777"/>
                  <a:pt x="1181107" y="1052800"/>
                </a:cubicBezTo>
                <a:cubicBezTo>
                  <a:pt x="1245966" y="1434052"/>
                  <a:pt x="1013486" y="1637710"/>
                  <a:pt x="811913" y="1599598"/>
                </a:cubicBezTo>
                <a:lnTo>
                  <a:pt x="759696" y="1580019"/>
                </a:lnTo>
                <a:lnTo>
                  <a:pt x="0" y="490616"/>
                </a:lnTo>
                <a:lnTo>
                  <a:pt x="120631" y="434266"/>
                </a:lnTo>
                <a:cubicBezTo>
                  <a:pt x="261138" y="384706"/>
                  <a:pt x="410178" y="353600"/>
                  <a:pt x="550989" y="311421"/>
                </a:cubicBezTo>
                <a:cubicBezTo>
                  <a:pt x="820116" y="231237"/>
                  <a:pt x="952578" y="122491"/>
                  <a:pt x="1061204" y="9446"/>
                </a:cubicBezTo>
                <a:cubicBezTo>
                  <a:pt x="1067542" y="2729"/>
                  <a:pt x="1077966" y="-3867"/>
                  <a:pt x="1089306" y="2730"/>
                </a:cubicBezTo>
                <a:cubicBezTo>
                  <a:pt x="1094914" y="5996"/>
                  <a:pt x="1097520" y="10686"/>
                  <a:pt x="1098373" y="15655"/>
                </a:cubicBezTo>
                <a:close/>
              </a:path>
            </a:pathLst>
          </a:custGeom>
          <a:solidFill>
            <a:srgbClr val="62241D"/>
          </a:solidFill>
          <a:ln w="2322"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3F000B"/>
              </a:solidFill>
              <a:effectLst/>
              <a:uLnTx/>
              <a:uFillTx/>
              <a:latin typeface="TT Norms Pro" panose="02000503030000020003" pitchFamily="2" charset="0"/>
              <a:ea typeface="+mn-ea"/>
              <a:cs typeface="+mn-cs"/>
            </a:endParaRPr>
          </a:p>
        </p:txBody>
      </p:sp>
      <p:pic>
        <p:nvPicPr>
          <p:cNvPr id="23" name="Graphic 22">
            <a:extLst>
              <a:ext uri="{FF2B5EF4-FFF2-40B4-BE49-F238E27FC236}">
                <a16:creationId xmlns:a16="http://schemas.microsoft.com/office/drawing/2014/main" id="{8DDC8EB0-9DB0-51B3-99E8-7737DDECA4E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65125" y="6116638"/>
            <a:ext cx="1349375" cy="381000"/>
          </a:xfrm>
          <a:prstGeom prst="rect">
            <a:avLst/>
          </a:prstGeom>
        </p:spPr>
      </p:pic>
    </p:spTree>
    <p:extLst>
      <p:ext uri="{BB962C8B-B14F-4D97-AF65-F5344CB8AC3E}">
        <p14:creationId xmlns:p14="http://schemas.microsoft.com/office/powerpoint/2010/main" val="32161536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6300D523-A0A9-03E4-B10D-445154A4E203}"/>
              </a:ext>
            </a:extLst>
          </p:cNvPr>
          <p:cNvSpPr>
            <a:spLocks noGrp="1"/>
          </p:cNvSpPr>
          <p:nvPr>
            <p:ph idx="1"/>
          </p:nvPr>
        </p:nvSpPr>
        <p:spPr>
          <a:xfrm>
            <a:off x="373249" y="1120775"/>
            <a:ext cx="11460162" cy="48150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a:extLst>
              <a:ext uri="{FF2B5EF4-FFF2-40B4-BE49-F238E27FC236}">
                <a16:creationId xmlns:a16="http://schemas.microsoft.com/office/drawing/2014/main" id="{4CE5AE9C-7218-6CC8-210A-5F77D627711B}"/>
              </a:ext>
            </a:extLst>
          </p:cNvPr>
          <p:cNvSpPr>
            <a:spLocks noGrp="1"/>
          </p:cNvSpPr>
          <p:nvPr>
            <p:ph type="title"/>
          </p:nvPr>
        </p:nvSpPr>
        <p:spPr/>
        <p:txBody>
          <a:bodyPr>
            <a:noAutofit/>
          </a:bodyPr>
          <a:lstStyle/>
          <a:p>
            <a:r>
              <a:rPr lang="en-US"/>
              <a:t>Click to edit Master title style</a:t>
            </a:r>
          </a:p>
        </p:txBody>
      </p:sp>
      <p:sp>
        <p:nvSpPr>
          <p:cNvPr id="5" name="Footer Placeholder 5">
            <a:extLst>
              <a:ext uri="{FF2B5EF4-FFF2-40B4-BE49-F238E27FC236}">
                <a16:creationId xmlns:a16="http://schemas.microsoft.com/office/drawing/2014/main" id="{12A4CDE5-F196-9E02-8343-A204804D148D}"/>
              </a:ext>
            </a:extLst>
          </p:cNvPr>
          <p:cNvSpPr>
            <a:spLocks noGrp="1"/>
          </p:cNvSpPr>
          <p:nvPr>
            <p:ph type="ftr" sz="quarter" idx="3"/>
          </p:nvPr>
        </p:nvSpPr>
        <p:spPr>
          <a:xfrm>
            <a:off x="1871596" y="6328076"/>
            <a:ext cx="9188885" cy="169277"/>
          </a:xfrm>
          <a:prstGeom prst="rect">
            <a:avLst/>
          </a:prstGeom>
        </p:spPr>
        <p:txBody>
          <a:bodyPr vert="horz" lIns="0" tIns="0" rIns="0" bIns="0" rtlCol="0" anchor="ctr"/>
          <a:lstStyle>
            <a:lvl1pPr algn="l">
              <a:defRPr sz="1000">
                <a:solidFill>
                  <a:schemeClr val="tx1">
                    <a:tint val="75000"/>
                  </a:schemeClr>
                </a:solidFill>
              </a:defRPr>
            </a:lvl1pPr>
          </a:lstStyle>
          <a:p>
            <a:r>
              <a:rPr lang="en-US"/>
              <a:t>To add a footer: Insert tab &gt; Header &amp; Footer &gt; Select Footer &gt; Apply</a:t>
            </a:r>
          </a:p>
        </p:txBody>
      </p:sp>
      <p:sp>
        <p:nvSpPr>
          <p:cNvPr id="6" name="Slide Number Placeholder 5">
            <a:extLst>
              <a:ext uri="{FF2B5EF4-FFF2-40B4-BE49-F238E27FC236}">
                <a16:creationId xmlns:a16="http://schemas.microsoft.com/office/drawing/2014/main" id="{4A0E0026-E22E-66BE-34AC-EF3BB669678C}"/>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tx1"/>
                </a:solidFill>
                <a:latin typeface="Gazpacho Light" pitchFamily="2" charset="77"/>
              </a:defRPr>
            </a:lvl1pPr>
          </a:lstStyle>
          <a:p>
            <a:fld id="{1C897F9F-178E-40FE-BBF0-CD11DAF3CBDC}" type="slidenum">
              <a:rPr lang="en-IN" smtClean="0"/>
              <a:pPr/>
              <a:t>‹#›</a:t>
            </a:fld>
            <a:endParaRPr lang="en-IN"/>
          </a:p>
        </p:txBody>
      </p:sp>
    </p:spTree>
    <p:extLst>
      <p:ext uri="{BB962C8B-B14F-4D97-AF65-F5344CB8AC3E}">
        <p14:creationId xmlns:p14="http://schemas.microsoft.com/office/powerpoint/2010/main" val="27194158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Content w/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1801500-3812-A7F9-9996-77432A64D42E}"/>
              </a:ext>
            </a:extLst>
          </p:cNvPr>
          <p:cNvSpPr>
            <a:spLocks noGrp="1"/>
          </p:cNvSpPr>
          <p:nvPr>
            <p:ph type="body" sz="quarter" idx="10" hasCustomPrompt="1"/>
          </p:nvPr>
        </p:nvSpPr>
        <p:spPr>
          <a:xfrm>
            <a:off x="365125" y="913923"/>
            <a:ext cx="11468100" cy="334623"/>
          </a:xfrm>
        </p:spPr>
        <p:txBody>
          <a:bodyPr vert="horz" lIns="0" tIns="0" rIns="0" bIns="0" rtlCol="0">
            <a:noAutofit/>
          </a:bodyPr>
          <a:lstStyle>
            <a:lvl1pPr marL="0" indent="0">
              <a:buNone/>
              <a:defRPr lang="en-US" sz="2200" b="1" smtClean="0"/>
            </a:lvl1pPr>
            <a:lvl2pPr marL="456742" indent="0">
              <a:buNone/>
              <a:defRPr lang="en-US" smtClean="0"/>
            </a:lvl2pPr>
            <a:lvl3pPr>
              <a:defRPr lang="en-US" smtClean="0"/>
            </a:lvl3pPr>
            <a:lvl4pPr>
              <a:defRPr lang="en-US" smtClean="0"/>
            </a:lvl4pPr>
            <a:lvl5pPr>
              <a:defRPr lang="en-US"/>
            </a:lvl5pPr>
          </a:lstStyle>
          <a:p>
            <a:pPr lvl="0"/>
            <a:r>
              <a:rPr lang="en-US"/>
              <a:t>Subtitle Goes Here</a:t>
            </a:r>
          </a:p>
        </p:txBody>
      </p:sp>
      <p:sp>
        <p:nvSpPr>
          <p:cNvPr id="2" name="Text Placeholder 2">
            <a:extLst>
              <a:ext uri="{FF2B5EF4-FFF2-40B4-BE49-F238E27FC236}">
                <a16:creationId xmlns:a16="http://schemas.microsoft.com/office/drawing/2014/main" id="{6300D523-A0A9-03E4-B10D-445154A4E203}"/>
              </a:ext>
            </a:extLst>
          </p:cNvPr>
          <p:cNvSpPr>
            <a:spLocks noGrp="1"/>
          </p:cNvSpPr>
          <p:nvPr>
            <p:ph idx="1"/>
          </p:nvPr>
        </p:nvSpPr>
        <p:spPr>
          <a:xfrm>
            <a:off x="373249" y="1439333"/>
            <a:ext cx="11460162" cy="448102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itle 3">
            <a:extLst>
              <a:ext uri="{FF2B5EF4-FFF2-40B4-BE49-F238E27FC236}">
                <a16:creationId xmlns:a16="http://schemas.microsoft.com/office/drawing/2014/main" id="{4CE5AE9C-7218-6CC8-210A-5F77D627711B}"/>
              </a:ext>
            </a:extLst>
          </p:cNvPr>
          <p:cNvSpPr>
            <a:spLocks noGrp="1"/>
          </p:cNvSpPr>
          <p:nvPr>
            <p:ph type="title"/>
          </p:nvPr>
        </p:nvSpPr>
        <p:spPr/>
        <p:txBody>
          <a:bodyPr>
            <a:noAutofit/>
          </a:bodyPr>
          <a:lstStyle/>
          <a:p>
            <a:r>
              <a:rPr lang="en-US"/>
              <a:t>Click to edit Master title style</a:t>
            </a:r>
          </a:p>
        </p:txBody>
      </p:sp>
      <p:sp>
        <p:nvSpPr>
          <p:cNvPr id="3" name="Footer Placeholder 5">
            <a:extLst>
              <a:ext uri="{FF2B5EF4-FFF2-40B4-BE49-F238E27FC236}">
                <a16:creationId xmlns:a16="http://schemas.microsoft.com/office/drawing/2014/main" id="{06ECB1F4-2C49-A1FD-C7DD-B44568C9392A}"/>
              </a:ext>
            </a:extLst>
          </p:cNvPr>
          <p:cNvSpPr>
            <a:spLocks noGrp="1"/>
          </p:cNvSpPr>
          <p:nvPr>
            <p:ph type="ftr" sz="quarter" idx="3"/>
          </p:nvPr>
        </p:nvSpPr>
        <p:spPr>
          <a:xfrm>
            <a:off x="1871596" y="6328076"/>
            <a:ext cx="9188885" cy="169277"/>
          </a:xfrm>
          <a:prstGeom prst="rect">
            <a:avLst/>
          </a:prstGeom>
        </p:spPr>
        <p:txBody>
          <a:bodyPr vert="horz" lIns="0" tIns="0" rIns="0" bIns="0" rtlCol="0" anchor="ctr"/>
          <a:lstStyle>
            <a:lvl1pPr algn="l">
              <a:defRPr sz="1000">
                <a:solidFill>
                  <a:schemeClr val="tx1">
                    <a:tint val="75000"/>
                  </a:schemeClr>
                </a:solidFill>
              </a:defRPr>
            </a:lvl1pPr>
          </a:lstStyle>
          <a:p>
            <a:r>
              <a:rPr lang="en-US"/>
              <a:t>To add a footer: Insert tab &gt; Header &amp; Footer &gt; Select Footer &gt; Apply</a:t>
            </a:r>
          </a:p>
        </p:txBody>
      </p:sp>
      <p:sp>
        <p:nvSpPr>
          <p:cNvPr id="7" name="Slide Number Placeholder 5">
            <a:extLst>
              <a:ext uri="{FF2B5EF4-FFF2-40B4-BE49-F238E27FC236}">
                <a16:creationId xmlns:a16="http://schemas.microsoft.com/office/drawing/2014/main" id="{9927B69F-114D-EE63-7F3F-18CD671ABB0E}"/>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tx1"/>
                </a:solidFill>
                <a:latin typeface="Gazpacho Light" pitchFamily="2" charset="77"/>
              </a:defRPr>
            </a:lvl1pPr>
          </a:lstStyle>
          <a:p>
            <a:fld id="{1C897F9F-178E-40FE-BBF0-CD11DAF3CBDC}" type="slidenum">
              <a:rPr lang="en-IN" smtClean="0"/>
              <a:pPr/>
              <a:t>‹#›</a:t>
            </a:fld>
            <a:endParaRPr lang="en-IN"/>
          </a:p>
        </p:txBody>
      </p:sp>
    </p:spTree>
    <p:extLst>
      <p:ext uri="{BB962C8B-B14F-4D97-AF65-F5344CB8AC3E}">
        <p14:creationId xmlns:p14="http://schemas.microsoft.com/office/powerpoint/2010/main" val="93789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w/logo">
    <p:spTree>
      <p:nvGrpSpPr>
        <p:cNvPr id="1" name=""/>
        <p:cNvGrpSpPr/>
        <p:nvPr/>
      </p:nvGrpSpPr>
      <p:grpSpPr>
        <a:xfrm>
          <a:off x="0" y="0"/>
          <a:ext cx="0" cy="0"/>
          <a:chOff x="0" y="0"/>
          <a:chExt cx="0" cy="0"/>
        </a:xfrm>
      </p:grpSpPr>
      <p:sp>
        <p:nvSpPr>
          <p:cNvPr id="3" name="Footer Placeholder 5">
            <a:extLst>
              <a:ext uri="{FF2B5EF4-FFF2-40B4-BE49-F238E27FC236}">
                <a16:creationId xmlns:a16="http://schemas.microsoft.com/office/drawing/2014/main" id="{912979DE-4BCA-F076-A687-1F0EFCF55226}"/>
              </a:ext>
            </a:extLst>
          </p:cNvPr>
          <p:cNvSpPr>
            <a:spLocks noGrp="1"/>
          </p:cNvSpPr>
          <p:nvPr>
            <p:ph type="ftr" sz="quarter" idx="3"/>
          </p:nvPr>
        </p:nvSpPr>
        <p:spPr>
          <a:xfrm>
            <a:off x="1871596" y="6328076"/>
            <a:ext cx="9188885" cy="169277"/>
          </a:xfrm>
          <a:prstGeom prst="rect">
            <a:avLst/>
          </a:prstGeom>
        </p:spPr>
        <p:txBody>
          <a:bodyPr vert="horz" lIns="0" tIns="0" rIns="0" bIns="0" rtlCol="0" anchor="ctr"/>
          <a:lstStyle>
            <a:lvl1pPr algn="l">
              <a:defRPr sz="1000">
                <a:solidFill>
                  <a:schemeClr val="tx1">
                    <a:tint val="75000"/>
                  </a:schemeClr>
                </a:solidFill>
              </a:defRPr>
            </a:lvl1pPr>
          </a:lstStyle>
          <a:p>
            <a:r>
              <a:rPr lang="en-US"/>
              <a:t>To add a footer: Insert tab &gt; Header &amp; Footer &gt; Select Footer &gt; Apply</a:t>
            </a:r>
          </a:p>
        </p:txBody>
      </p:sp>
      <p:sp>
        <p:nvSpPr>
          <p:cNvPr id="4" name="Slide Number Placeholder 5">
            <a:extLst>
              <a:ext uri="{FF2B5EF4-FFF2-40B4-BE49-F238E27FC236}">
                <a16:creationId xmlns:a16="http://schemas.microsoft.com/office/drawing/2014/main" id="{83E3C811-4234-2AFC-ED3C-42D349CEDDB7}"/>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tx1"/>
                </a:solidFill>
                <a:latin typeface="Gazpacho Light" pitchFamily="2" charset="77"/>
              </a:defRPr>
            </a:lvl1pPr>
          </a:lstStyle>
          <a:p>
            <a:fld id="{1C897F9F-178E-40FE-BBF0-CD11DAF3CBDC}" type="slidenum">
              <a:rPr lang="en-IN" smtClean="0"/>
              <a:pPr/>
              <a:t>‹#›</a:t>
            </a:fld>
            <a:endParaRPr lang="en-IN"/>
          </a:p>
        </p:txBody>
      </p:sp>
    </p:spTree>
    <p:extLst>
      <p:ext uri="{BB962C8B-B14F-4D97-AF65-F5344CB8AC3E}">
        <p14:creationId xmlns:p14="http://schemas.microsoft.com/office/powerpoint/2010/main" val="7555613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4593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Placeholder Slate">
    <p:bg>
      <p:bgPr>
        <a:solidFill>
          <a:srgbClr val="000000"/>
        </a:soli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D65549FA-6802-A0AD-1088-FD719A2E3ADB}"/>
              </a:ext>
            </a:extLst>
          </p:cNvPr>
          <p:cNvSpPr>
            <a:spLocks noGrp="1"/>
          </p:cNvSpPr>
          <p:nvPr>
            <p:ph type="body" sz="quarter" idx="10" hasCustomPrompt="1"/>
          </p:nvPr>
        </p:nvSpPr>
        <p:spPr>
          <a:xfrm>
            <a:off x="279400" y="3766822"/>
            <a:ext cx="11633200" cy="253636"/>
          </a:xfrm>
          <a:prstGeom prst="rect">
            <a:avLst/>
          </a:prstGeom>
        </p:spPr>
        <p:txBody>
          <a:bodyPr lIns="0" tIns="0" rIns="0" bIns="0"/>
          <a:lstStyle>
            <a:lvl1pPr marL="0" indent="0" algn="ctr">
              <a:buFontTx/>
              <a:buNone/>
              <a:defRPr>
                <a:solidFill>
                  <a:schemeClr val="accent5"/>
                </a:solidFill>
              </a:defRPr>
            </a:lvl1pPr>
            <a:lvl2pPr marL="457200" indent="0">
              <a:buFontTx/>
              <a:buNone/>
              <a:defRPr>
                <a:solidFill>
                  <a:schemeClr val="bg1"/>
                </a:solidFill>
              </a:defRPr>
            </a:lvl2pPr>
            <a:lvl3pPr marL="914400" indent="0">
              <a:buFontTx/>
              <a:buNone/>
              <a:defRPr>
                <a:solidFill>
                  <a:schemeClr val="bg1"/>
                </a:solidFill>
              </a:defRPr>
            </a:lvl3pPr>
            <a:lvl4pPr marL="1371600" indent="0">
              <a:buFontTx/>
              <a:buNone/>
              <a:defRPr>
                <a:solidFill>
                  <a:schemeClr val="bg1"/>
                </a:solidFill>
              </a:defRPr>
            </a:lvl4pPr>
            <a:lvl5pPr marL="1828800" indent="0">
              <a:buFontTx/>
              <a:buNone/>
              <a:defRPr>
                <a:solidFill>
                  <a:schemeClr val="bg1"/>
                </a:solidFill>
              </a:defRPr>
            </a:lvl5pPr>
          </a:lstStyle>
          <a:p>
            <a:pPr lvl="0"/>
            <a:r>
              <a:rPr lang="en-US"/>
              <a:t>To be used for Video Placeholders and Internal Notes</a:t>
            </a:r>
            <a:endParaRPr lang="en-GB"/>
          </a:p>
        </p:txBody>
      </p:sp>
      <p:sp>
        <p:nvSpPr>
          <p:cNvPr id="17" name="Title 16">
            <a:extLst>
              <a:ext uri="{FF2B5EF4-FFF2-40B4-BE49-F238E27FC236}">
                <a16:creationId xmlns:a16="http://schemas.microsoft.com/office/drawing/2014/main" id="{89F69D14-9C0D-4EE6-135D-C54876C04FC1}"/>
              </a:ext>
            </a:extLst>
          </p:cNvPr>
          <p:cNvSpPr>
            <a:spLocks noGrp="1"/>
          </p:cNvSpPr>
          <p:nvPr>
            <p:ph type="title" hasCustomPrompt="1"/>
          </p:nvPr>
        </p:nvSpPr>
        <p:spPr>
          <a:xfrm>
            <a:off x="279400" y="2857419"/>
            <a:ext cx="11633200" cy="690296"/>
          </a:xfrm>
        </p:spPr>
        <p:txBody>
          <a:bodyPr anchor="b">
            <a:noAutofit/>
          </a:bodyPr>
          <a:lstStyle>
            <a:lvl1pPr algn="ctr">
              <a:defRPr sz="4400">
                <a:solidFill>
                  <a:schemeClr val="accent5"/>
                </a:solidFill>
              </a:defRPr>
            </a:lvl1pPr>
          </a:lstStyle>
          <a:p>
            <a:r>
              <a:rPr lang="en-US"/>
              <a:t>Placeholder Slate</a:t>
            </a:r>
            <a:endParaRPr lang="en-GB"/>
          </a:p>
        </p:txBody>
      </p:sp>
    </p:spTree>
    <p:extLst>
      <p:ext uri="{BB962C8B-B14F-4D97-AF65-F5344CB8AC3E}">
        <p14:creationId xmlns:p14="http://schemas.microsoft.com/office/powerpoint/2010/main" val="33819693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7_Title Only">
    <p:bg>
      <p:bgPr>
        <a:solidFill>
          <a:schemeClr val="tx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20B8F43-2E5E-AA3C-16FE-6228D9DD51B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25053" y="829198"/>
            <a:ext cx="4793764" cy="4804934"/>
          </a:xfrm>
          <a:prstGeom prst="rect">
            <a:avLst/>
          </a:prstGeom>
        </p:spPr>
      </p:pic>
    </p:spTree>
    <p:extLst>
      <p:ext uri="{BB962C8B-B14F-4D97-AF65-F5344CB8AC3E}">
        <p14:creationId xmlns:p14="http://schemas.microsoft.com/office/powerpoint/2010/main" val="38893012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230000" fill="hold"/>
                                        <p:tgtEl>
                                          <p:spTgt spid="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3_Title Slide">
    <p:bg>
      <p:bgPr>
        <a:blipFill rotWithShape="1">
          <a:blip r:embed="rId2">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34134" y="4910669"/>
            <a:ext cx="8549004" cy="979015"/>
          </a:xfrm>
        </p:spPr>
        <p:txBody>
          <a:bodyPr>
            <a:noAutofit/>
          </a:bodyPr>
          <a:lstStyle>
            <a:lvl1pPr algn="r">
              <a:defRPr sz="2400">
                <a:solidFill>
                  <a:schemeClr val="bg1"/>
                </a:solidFill>
                <a:latin typeface="+mj-lt"/>
                <a:cs typeface="Arial"/>
              </a:defRPr>
            </a:lvl1pPr>
          </a:lstStyle>
          <a:p>
            <a:r>
              <a:rPr lang="en-US" altLang="zh-CN"/>
              <a:t>Click to edit Master title style</a:t>
            </a:r>
            <a:endParaRPr lang="en-US"/>
          </a:p>
        </p:txBody>
      </p:sp>
      <p:sp>
        <p:nvSpPr>
          <p:cNvPr id="3" name="Subtitle 2"/>
          <p:cNvSpPr>
            <a:spLocks noGrp="1"/>
          </p:cNvSpPr>
          <p:nvPr>
            <p:ph type="subTitle" idx="1"/>
          </p:nvPr>
        </p:nvSpPr>
        <p:spPr>
          <a:xfrm>
            <a:off x="2748735" y="5798924"/>
            <a:ext cx="8534400" cy="578839"/>
          </a:xfrm>
        </p:spPr>
        <p:txBody>
          <a:bodyPr>
            <a:normAutofit/>
          </a:bodyPr>
          <a:lstStyle>
            <a:lvl1pPr marL="0" indent="0" algn="r">
              <a:buNone/>
              <a:defRPr sz="1800" i="1">
                <a:solidFill>
                  <a:schemeClr val="bg2"/>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ltLang="zh-CN"/>
              <a:t>Click to edit Master subtitle style</a:t>
            </a:r>
            <a:endParaRPr lang="en-US"/>
          </a:p>
        </p:txBody>
      </p:sp>
      <p:grpSp>
        <p:nvGrpSpPr>
          <p:cNvPr id="11" name="Group 10"/>
          <p:cNvGrpSpPr/>
          <p:nvPr/>
        </p:nvGrpSpPr>
        <p:grpSpPr>
          <a:xfrm>
            <a:off x="6729155" y="2798691"/>
            <a:ext cx="4553980" cy="1300523"/>
            <a:chOff x="2851364" y="337607"/>
            <a:chExt cx="6471863" cy="1848231"/>
          </a:xfrm>
          <a:solidFill>
            <a:schemeClr val="bg2"/>
          </a:solidFill>
        </p:grpSpPr>
        <p:grpSp>
          <p:nvGrpSpPr>
            <p:cNvPr id="12" name="Group 11"/>
            <p:cNvGrpSpPr>
              <a:grpSpLocks noChangeAspect="1"/>
            </p:cNvGrpSpPr>
            <p:nvPr/>
          </p:nvGrpSpPr>
          <p:grpSpPr>
            <a:xfrm>
              <a:off x="8135813" y="687307"/>
              <a:ext cx="1187414" cy="1466996"/>
              <a:chOff x="927372" y="-6359195"/>
              <a:chExt cx="9019933" cy="11143740"/>
            </a:xfrm>
            <a:grpFill/>
          </p:grpSpPr>
          <p:sp>
            <p:nvSpPr>
              <p:cNvPr id="14" name="bk object 16"/>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1"/>
              </a:solidFill>
            </p:spPr>
            <p:txBody>
              <a:bodyPr wrap="square" lIns="0" tIns="0" rIns="0" bIns="0" rtlCol="0"/>
              <a:lstStyle/>
              <a:p>
                <a:endParaRPr sz="1800"/>
              </a:p>
            </p:txBody>
          </p:sp>
          <p:sp>
            <p:nvSpPr>
              <p:cNvPr id="15" name="Freeform 14"/>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p:nvSpPr>
            <p:cNvPr id="13" name="Freeform 12"/>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40045330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23184F-072A-F1B8-B37D-04D379B3AECC}"/>
              </a:ext>
            </a:extLst>
          </p:cNvPr>
          <p:cNvGraphicFramePr>
            <a:graphicFrameLocks noChangeAspect="1"/>
          </p:cNvGraphicFramePr>
          <p:nvPr userDrawn="1">
            <p:custDataLst>
              <p:tags r:id="rId1"/>
            </p:custDataLst>
            <p:extLst>
              <p:ext uri="{D42A27DB-BD31-4B8C-83A1-F6EECF244321}">
                <p14:modId xmlns:p14="http://schemas.microsoft.com/office/powerpoint/2010/main" val="277488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223184F-072A-F1B8-B37D-04D379B3AE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6D8FBBE-DD7A-4CEF-8D9C-2FE1284D6E60}"/>
              </a:ext>
            </a:extLst>
          </p:cNvPr>
          <p:cNvSpPr>
            <a:spLocks noGrp="1"/>
          </p:cNvSpPr>
          <p:nvPr>
            <p:ph type="title"/>
          </p:nvPr>
        </p:nvSpPr>
        <p:spPr>
          <a:xfrm>
            <a:off x="347146" y="342902"/>
            <a:ext cx="11501955" cy="455509"/>
          </a:xfrm>
        </p:spPr>
        <p:txBody>
          <a:bodyPr vert="horz" wrap="square" lIns="0" tIns="0" rIns="0" bIns="0" anchor="t">
            <a:spAutoFit/>
          </a:bodyPr>
          <a:lstStyle>
            <a:lvl1pPr>
              <a:defRPr sz="3198" b="1" i="0">
                <a:latin typeface="+mj-lt"/>
              </a:defRPr>
            </a:lvl1pPr>
          </a:lstStyle>
          <a:p>
            <a:r>
              <a:rPr lang="en-US" dirty="0"/>
              <a:t>Click to edit Master title style</a:t>
            </a:r>
            <a:endParaRPr lang="en-IN" dirty="0"/>
          </a:p>
        </p:txBody>
      </p:sp>
    </p:spTree>
    <p:extLst>
      <p:ext uri="{BB962C8B-B14F-4D97-AF65-F5344CB8AC3E}">
        <p14:creationId xmlns:p14="http://schemas.microsoft.com/office/powerpoint/2010/main" val="954355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734134" y="4741335"/>
            <a:ext cx="8549004" cy="1148348"/>
          </a:xfrm>
        </p:spPr>
        <p:txBody>
          <a:bodyPr>
            <a:noAutofit/>
          </a:bodyPr>
          <a:lstStyle>
            <a:lvl1pPr algn="r">
              <a:defRPr sz="2400">
                <a:solidFill>
                  <a:schemeClr val="tx2"/>
                </a:solidFill>
                <a:latin typeface="+mj-lt"/>
                <a:cs typeface="Arial"/>
              </a:defRPr>
            </a:lvl1pPr>
          </a:lstStyle>
          <a:p>
            <a:r>
              <a:rPr lang="en-US" altLang="zh-CN"/>
              <a:t>Click to edit Master title style</a:t>
            </a:r>
            <a:endParaRPr lang="en-US"/>
          </a:p>
        </p:txBody>
      </p:sp>
      <p:sp>
        <p:nvSpPr>
          <p:cNvPr id="3" name="Subtitle 2"/>
          <p:cNvSpPr>
            <a:spLocks noGrp="1"/>
          </p:cNvSpPr>
          <p:nvPr>
            <p:ph type="subTitle" idx="1"/>
          </p:nvPr>
        </p:nvSpPr>
        <p:spPr>
          <a:xfrm>
            <a:off x="2748735" y="5798924"/>
            <a:ext cx="8534400" cy="578839"/>
          </a:xfrm>
        </p:spPr>
        <p:txBody>
          <a:bodyPr>
            <a:normAutofit/>
          </a:bodyPr>
          <a:lstStyle>
            <a:lvl1pPr marL="0" indent="0" algn="r">
              <a:buNone/>
              <a:defRPr sz="1800" i="1">
                <a:solidFill>
                  <a:schemeClr val="bg2"/>
                </a:solidFill>
                <a:latin typeface="+mn-lt"/>
                <a:cs typeface="Aria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ltLang="zh-CN"/>
              <a:t>Click to edit Master subtitle style</a:t>
            </a:r>
            <a:endParaRPr lang="en-US"/>
          </a:p>
        </p:txBody>
      </p:sp>
      <p:grpSp>
        <p:nvGrpSpPr>
          <p:cNvPr id="10" name="Group 9"/>
          <p:cNvGrpSpPr/>
          <p:nvPr/>
        </p:nvGrpSpPr>
        <p:grpSpPr>
          <a:xfrm>
            <a:off x="6729155" y="2798691"/>
            <a:ext cx="4553980" cy="1300523"/>
            <a:chOff x="2851364" y="337607"/>
            <a:chExt cx="6471863" cy="1848231"/>
          </a:xfrm>
          <a:solidFill>
            <a:schemeClr val="tx2"/>
          </a:solidFill>
        </p:grpSpPr>
        <p:grpSp>
          <p:nvGrpSpPr>
            <p:cNvPr id="11" name="Group 10"/>
            <p:cNvGrpSpPr>
              <a:grpSpLocks noChangeAspect="1"/>
            </p:cNvGrpSpPr>
            <p:nvPr/>
          </p:nvGrpSpPr>
          <p:grpSpPr>
            <a:xfrm>
              <a:off x="8135813" y="687307"/>
              <a:ext cx="1187414" cy="1466996"/>
              <a:chOff x="927372" y="-6359195"/>
              <a:chExt cx="9019933" cy="11143740"/>
            </a:xfrm>
            <a:grpFill/>
          </p:grpSpPr>
          <p:sp>
            <p:nvSpPr>
              <p:cNvPr id="13" name="bk object 16"/>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1800"/>
              </a:p>
            </p:txBody>
          </p:sp>
          <p:sp>
            <p:nvSpPr>
              <p:cNvPr id="14" name="Freeform 13"/>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p:nvSpPr>
            <p:cNvPr id="12" name="Freeform 11"/>
            <p:cNvSpPr/>
            <p:nvPr/>
          </p:nvSpPr>
          <p:spPr>
            <a:xfrm>
              <a:off x="2851364" y="337607"/>
              <a:ext cx="5362727" cy="1848231"/>
            </a:xfrm>
            <a:custGeom>
              <a:avLst/>
              <a:gdLst/>
              <a:ahLst/>
              <a:cxnLst/>
              <a:rect l="l" t="t" r="r" b="b"/>
              <a:pathLst>
                <a:path w="5362727" h="1848231">
                  <a:moveTo>
                    <a:pt x="1816228" y="299237"/>
                  </a:moveTo>
                  <a:lnTo>
                    <a:pt x="1816228" y="741807"/>
                  </a:lnTo>
                  <a:lnTo>
                    <a:pt x="1864005" y="741807"/>
                  </a:lnTo>
                  <a:cubicBezTo>
                    <a:pt x="1869034" y="741807"/>
                    <a:pt x="1875740" y="740550"/>
                    <a:pt x="1884122" y="738035"/>
                  </a:cubicBezTo>
                  <a:cubicBezTo>
                    <a:pt x="1892504" y="735520"/>
                    <a:pt x="1901305" y="731329"/>
                    <a:pt x="1910525" y="725462"/>
                  </a:cubicBezTo>
                  <a:cubicBezTo>
                    <a:pt x="1919745" y="719594"/>
                    <a:pt x="1927708" y="711632"/>
                    <a:pt x="1934414" y="701573"/>
                  </a:cubicBezTo>
                  <a:cubicBezTo>
                    <a:pt x="1941119" y="691515"/>
                    <a:pt x="1944472" y="678942"/>
                    <a:pt x="1944472" y="663854"/>
                  </a:cubicBezTo>
                  <a:lnTo>
                    <a:pt x="1944472" y="362102"/>
                  </a:lnTo>
                  <a:cubicBezTo>
                    <a:pt x="1944472" y="350367"/>
                    <a:pt x="1942376" y="340309"/>
                    <a:pt x="1938185" y="331927"/>
                  </a:cubicBezTo>
                  <a:cubicBezTo>
                    <a:pt x="1933994" y="323545"/>
                    <a:pt x="1928127" y="317259"/>
                    <a:pt x="1920583" y="313067"/>
                  </a:cubicBezTo>
                  <a:cubicBezTo>
                    <a:pt x="1913039" y="308876"/>
                    <a:pt x="1903400" y="305524"/>
                    <a:pt x="1891665" y="303009"/>
                  </a:cubicBezTo>
                  <a:cubicBezTo>
                    <a:pt x="1879931" y="300495"/>
                    <a:pt x="1865681" y="299237"/>
                    <a:pt x="1848917" y="299237"/>
                  </a:cubicBezTo>
                  <a:close/>
                  <a:moveTo>
                    <a:pt x="1514475" y="30175"/>
                  </a:moveTo>
                  <a:lnTo>
                    <a:pt x="1959560" y="30175"/>
                  </a:lnTo>
                  <a:cubicBezTo>
                    <a:pt x="1999793" y="30175"/>
                    <a:pt x="2036255" y="36881"/>
                    <a:pt x="2068945" y="50292"/>
                  </a:cubicBezTo>
                  <a:cubicBezTo>
                    <a:pt x="2101634" y="63703"/>
                    <a:pt x="2130133" y="83401"/>
                    <a:pt x="2154441" y="109385"/>
                  </a:cubicBezTo>
                  <a:cubicBezTo>
                    <a:pt x="2178749" y="135369"/>
                    <a:pt x="2197189" y="167221"/>
                    <a:pt x="2209763" y="204940"/>
                  </a:cubicBezTo>
                  <a:cubicBezTo>
                    <a:pt x="2222335" y="242659"/>
                    <a:pt x="2228621" y="284988"/>
                    <a:pt x="2228621" y="331927"/>
                  </a:cubicBezTo>
                  <a:lnTo>
                    <a:pt x="2228621" y="583387"/>
                  </a:lnTo>
                  <a:cubicBezTo>
                    <a:pt x="2228621" y="615239"/>
                    <a:pt x="2225688" y="644156"/>
                    <a:pt x="2219821" y="670141"/>
                  </a:cubicBezTo>
                  <a:cubicBezTo>
                    <a:pt x="2213953" y="696125"/>
                    <a:pt x="2205571" y="719594"/>
                    <a:pt x="2194675" y="740550"/>
                  </a:cubicBezTo>
                  <a:cubicBezTo>
                    <a:pt x="2183778" y="761504"/>
                    <a:pt x="2170786" y="779945"/>
                    <a:pt x="2155699" y="795871"/>
                  </a:cubicBezTo>
                  <a:cubicBezTo>
                    <a:pt x="2140611" y="811797"/>
                    <a:pt x="2123009" y="825627"/>
                    <a:pt x="2102892" y="837362"/>
                  </a:cubicBezTo>
                  <a:cubicBezTo>
                    <a:pt x="2123009" y="854126"/>
                    <a:pt x="2140611" y="870890"/>
                    <a:pt x="2155699" y="887654"/>
                  </a:cubicBezTo>
                  <a:cubicBezTo>
                    <a:pt x="2170786" y="904418"/>
                    <a:pt x="2183778" y="922020"/>
                    <a:pt x="2194675" y="940460"/>
                  </a:cubicBezTo>
                  <a:cubicBezTo>
                    <a:pt x="2205571" y="958901"/>
                    <a:pt x="2213953" y="979437"/>
                    <a:pt x="2219821" y="1002068"/>
                  </a:cubicBezTo>
                  <a:cubicBezTo>
                    <a:pt x="2225688" y="1024699"/>
                    <a:pt x="2228621" y="1049426"/>
                    <a:pt x="2228621" y="1076249"/>
                  </a:cubicBezTo>
                  <a:lnTo>
                    <a:pt x="2228621" y="1503731"/>
                  </a:lnTo>
                  <a:cubicBezTo>
                    <a:pt x="2228621" y="1565757"/>
                    <a:pt x="2233651" y="1617726"/>
                    <a:pt x="2243709" y="1659636"/>
                  </a:cubicBezTo>
                  <a:cubicBezTo>
                    <a:pt x="2253768" y="1701546"/>
                    <a:pt x="2265922" y="1733816"/>
                    <a:pt x="2280171" y="1756448"/>
                  </a:cubicBezTo>
                  <a:cubicBezTo>
                    <a:pt x="2294420" y="1779079"/>
                    <a:pt x="2314118" y="1800453"/>
                    <a:pt x="2339264" y="1820570"/>
                  </a:cubicBezTo>
                  <a:lnTo>
                    <a:pt x="1972132" y="1820570"/>
                  </a:lnTo>
                  <a:lnTo>
                    <a:pt x="1959560" y="1802968"/>
                  </a:lnTo>
                  <a:cubicBezTo>
                    <a:pt x="1951178" y="1792909"/>
                    <a:pt x="1944891" y="1780337"/>
                    <a:pt x="1940700" y="1765249"/>
                  </a:cubicBezTo>
                  <a:cubicBezTo>
                    <a:pt x="1936509" y="1750161"/>
                    <a:pt x="1933575" y="1733816"/>
                    <a:pt x="1931899" y="1716214"/>
                  </a:cubicBezTo>
                  <a:cubicBezTo>
                    <a:pt x="1930223" y="1698612"/>
                    <a:pt x="1928965" y="1681429"/>
                    <a:pt x="1928127" y="1664665"/>
                  </a:cubicBezTo>
                  <a:cubicBezTo>
                    <a:pt x="1927289" y="1647901"/>
                    <a:pt x="1926870" y="1626108"/>
                    <a:pt x="1926870" y="1599285"/>
                  </a:cubicBezTo>
                  <a:lnTo>
                    <a:pt x="1926870" y="1058646"/>
                  </a:lnTo>
                  <a:cubicBezTo>
                    <a:pt x="1926870" y="1040206"/>
                    <a:pt x="1924355" y="1025537"/>
                    <a:pt x="1919326" y="1014641"/>
                  </a:cubicBezTo>
                  <a:cubicBezTo>
                    <a:pt x="1914297" y="1003744"/>
                    <a:pt x="1908010" y="995781"/>
                    <a:pt x="1900466" y="990752"/>
                  </a:cubicBezTo>
                  <a:cubicBezTo>
                    <a:pt x="1892923" y="985723"/>
                    <a:pt x="1884960" y="982789"/>
                    <a:pt x="1876578" y="981951"/>
                  </a:cubicBezTo>
                  <a:cubicBezTo>
                    <a:pt x="1868196" y="981113"/>
                    <a:pt x="1858976" y="980694"/>
                    <a:pt x="1848917" y="980694"/>
                  </a:cubicBezTo>
                  <a:lnTo>
                    <a:pt x="1801140" y="980694"/>
                  </a:lnTo>
                  <a:lnTo>
                    <a:pt x="1801140" y="1820570"/>
                  </a:lnTo>
                  <a:lnTo>
                    <a:pt x="1514475" y="1820570"/>
                  </a:lnTo>
                  <a:close/>
                  <a:moveTo>
                    <a:pt x="4623435" y="27660"/>
                  </a:moveTo>
                  <a:lnTo>
                    <a:pt x="4902556" y="27660"/>
                  </a:lnTo>
                  <a:cubicBezTo>
                    <a:pt x="4920996" y="151714"/>
                    <a:pt x="4935665" y="251460"/>
                    <a:pt x="4946561" y="326898"/>
                  </a:cubicBezTo>
                  <a:cubicBezTo>
                    <a:pt x="4957458" y="402336"/>
                    <a:pt x="4968354" y="475678"/>
                    <a:pt x="4979251" y="546925"/>
                  </a:cubicBezTo>
                  <a:cubicBezTo>
                    <a:pt x="4990148" y="618172"/>
                    <a:pt x="4998949" y="673074"/>
                    <a:pt x="5005654" y="711632"/>
                  </a:cubicBezTo>
                  <a:lnTo>
                    <a:pt x="5020742" y="711632"/>
                  </a:lnTo>
                  <a:cubicBezTo>
                    <a:pt x="5025771" y="673074"/>
                    <a:pt x="5032476" y="618172"/>
                    <a:pt x="5040858" y="546925"/>
                  </a:cubicBezTo>
                  <a:cubicBezTo>
                    <a:pt x="5049240" y="475678"/>
                    <a:pt x="5057622" y="402336"/>
                    <a:pt x="5066005" y="326898"/>
                  </a:cubicBezTo>
                  <a:cubicBezTo>
                    <a:pt x="5074387" y="251460"/>
                    <a:pt x="5085283" y="151714"/>
                    <a:pt x="5098694" y="27660"/>
                  </a:cubicBezTo>
                  <a:lnTo>
                    <a:pt x="5362727" y="27660"/>
                  </a:lnTo>
                  <a:lnTo>
                    <a:pt x="5146472" y="1300048"/>
                  </a:lnTo>
                  <a:lnTo>
                    <a:pt x="5146472" y="1820570"/>
                  </a:lnTo>
                  <a:lnTo>
                    <a:pt x="4839690" y="1820570"/>
                  </a:lnTo>
                  <a:lnTo>
                    <a:pt x="4839690" y="1302563"/>
                  </a:lnTo>
                  <a:close/>
                  <a:moveTo>
                    <a:pt x="4029075" y="27660"/>
                  </a:moveTo>
                  <a:lnTo>
                    <a:pt x="4584802" y="27660"/>
                  </a:lnTo>
                  <a:lnTo>
                    <a:pt x="4584802" y="289179"/>
                  </a:lnTo>
                  <a:lnTo>
                    <a:pt x="4333342" y="289179"/>
                  </a:lnTo>
                  <a:lnTo>
                    <a:pt x="4333342" y="719175"/>
                  </a:lnTo>
                  <a:lnTo>
                    <a:pt x="4569714" y="719175"/>
                  </a:lnTo>
                  <a:lnTo>
                    <a:pt x="4569714" y="980694"/>
                  </a:lnTo>
                  <a:lnTo>
                    <a:pt x="4333342" y="980694"/>
                  </a:lnTo>
                  <a:lnTo>
                    <a:pt x="4333342" y="1559052"/>
                  </a:lnTo>
                  <a:lnTo>
                    <a:pt x="4594860" y="1559052"/>
                  </a:lnTo>
                  <a:lnTo>
                    <a:pt x="4594860" y="1820570"/>
                  </a:lnTo>
                  <a:lnTo>
                    <a:pt x="4029075" y="1820570"/>
                  </a:lnTo>
                  <a:close/>
                  <a:moveTo>
                    <a:pt x="3171825" y="27660"/>
                  </a:moveTo>
                  <a:lnTo>
                    <a:pt x="3476092" y="27660"/>
                  </a:lnTo>
                  <a:lnTo>
                    <a:pt x="3476092" y="719175"/>
                  </a:lnTo>
                  <a:lnTo>
                    <a:pt x="3604336" y="719175"/>
                  </a:lnTo>
                  <a:lnTo>
                    <a:pt x="3604336" y="27660"/>
                  </a:lnTo>
                  <a:lnTo>
                    <a:pt x="3906088" y="27660"/>
                  </a:lnTo>
                  <a:lnTo>
                    <a:pt x="3906088" y="1820570"/>
                  </a:lnTo>
                  <a:lnTo>
                    <a:pt x="3604336" y="1820570"/>
                  </a:lnTo>
                  <a:lnTo>
                    <a:pt x="3604336" y="980694"/>
                  </a:lnTo>
                  <a:lnTo>
                    <a:pt x="3476092" y="980694"/>
                  </a:lnTo>
                  <a:lnTo>
                    <a:pt x="3476092" y="1820570"/>
                  </a:lnTo>
                  <a:lnTo>
                    <a:pt x="3171825" y="1820570"/>
                  </a:lnTo>
                  <a:close/>
                  <a:moveTo>
                    <a:pt x="857250" y="27660"/>
                  </a:moveTo>
                  <a:lnTo>
                    <a:pt x="1412977" y="27660"/>
                  </a:lnTo>
                  <a:lnTo>
                    <a:pt x="1412977" y="289179"/>
                  </a:lnTo>
                  <a:lnTo>
                    <a:pt x="1161517" y="289179"/>
                  </a:lnTo>
                  <a:lnTo>
                    <a:pt x="1161517" y="719175"/>
                  </a:lnTo>
                  <a:lnTo>
                    <a:pt x="1397889" y="719175"/>
                  </a:lnTo>
                  <a:lnTo>
                    <a:pt x="1397889" y="980694"/>
                  </a:lnTo>
                  <a:lnTo>
                    <a:pt x="1161517" y="980694"/>
                  </a:lnTo>
                  <a:lnTo>
                    <a:pt x="1161517" y="1559052"/>
                  </a:lnTo>
                  <a:lnTo>
                    <a:pt x="1423035" y="1559052"/>
                  </a:lnTo>
                  <a:lnTo>
                    <a:pt x="1423035" y="1820570"/>
                  </a:lnTo>
                  <a:lnTo>
                    <a:pt x="857250" y="1820570"/>
                  </a:lnTo>
                  <a:close/>
                  <a:moveTo>
                    <a:pt x="0" y="27660"/>
                  </a:moveTo>
                  <a:lnTo>
                    <a:pt x="304267" y="27660"/>
                  </a:lnTo>
                  <a:lnTo>
                    <a:pt x="304267" y="719175"/>
                  </a:lnTo>
                  <a:lnTo>
                    <a:pt x="432511" y="719175"/>
                  </a:lnTo>
                  <a:lnTo>
                    <a:pt x="432511" y="27660"/>
                  </a:lnTo>
                  <a:lnTo>
                    <a:pt x="734263" y="27660"/>
                  </a:lnTo>
                  <a:lnTo>
                    <a:pt x="734263" y="1820570"/>
                  </a:lnTo>
                  <a:lnTo>
                    <a:pt x="432511" y="1820570"/>
                  </a:lnTo>
                  <a:lnTo>
                    <a:pt x="432511" y="980694"/>
                  </a:lnTo>
                  <a:lnTo>
                    <a:pt x="304267" y="980694"/>
                  </a:lnTo>
                  <a:lnTo>
                    <a:pt x="304267" y="1820570"/>
                  </a:lnTo>
                  <a:lnTo>
                    <a:pt x="0" y="1820570"/>
                  </a:lnTo>
                  <a:close/>
                  <a:moveTo>
                    <a:pt x="2702204" y="0"/>
                  </a:moveTo>
                  <a:cubicBezTo>
                    <a:pt x="2757526" y="0"/>
                    <a:pt x="2806561" y="7544"/>
                    <a:pt x="2849309" y="22631"/>
                  </a:cubicBezTo>
                  <a:cubicBezTo>
                    <a:pt x="2892057" y="37719"/>
                    <a:pt x="2928099" y="59931"/>
                    <a:pt x="2957437" y="89268"/>
                  </a:cubicBezTo>
                  <a:cubicBezTo>
                    <a:pt x="2986773" y="118605"/>
                    <a:pt x="3008567" y="153390"/>
                    <a:pt x="3022816" y="193624"/>
                  </a:cubicBezTo>
                  <a:cubicBezTo>
                    <a:pt x="3037065" y="233858"/>
                    <a:pt x="3044190" y="278282"/>
                    <a:pt x="3044190" y="326898"/>
                  </a:cubicBezTo>
                  <a:lnTo>
                    <a:pt x="3044190" y="590931"/>
                  </a:lnTo>
                  <a:lnTo>
                    <a:pt x="2760040" y="590931"/>
                  </a:lnTo>
                  <a:lnTo>
                    <a:pt x="2760040" y="326898"/>
                  </a:lnTo>
                  <a:cubicBezTo>
                    <a:pt x="2760040" y="318516"/>
                    <a:pt x="2758783" y="310553"/>
                    <a:pt x="2756268" y="303009"/>
                  </a:cubicBezTo>
                  <a:cubicBezTo>
                    <a:pt x="2753754" y="295465"/>
                    <a:pt x="2749982" y="289179"/>
                    <a:pt x="2744953" y="284150"/>
                  </a:cubicBezTo>
                  <a:cubicBezTo>
                    <a:pt x="2739924" y="279120"/>
                    <a:pt x="2733637" y="275349"/>
                    <a:pt x="2726093" y="272834"/>
                  </a:cubicBezTo>
                  <a:cubicBezTo>
                    <a:pt x="2718549" y="270319"/>
                    <a:pt x="2710587" y="269062"/>
                    <a:pt x="2702204" y="269062"/>
                  </a:cubicBezTo>
                  <a:cubicBezTo>
                    <a:pt x="2695499" y="269062"/>
                    <a:pt x="2688793" y="270319"/>
                    <a:pt x="2682088" y="272834"/>
                  </a:cubicBezTo>
                  <a:cubicBezTo>
                    <a:pt x="2675382" y="275349"/>
                    <a:pt x="2668677" y="278701"/>
                    <a:pt x="2661971" y="282892"/>
                  </a:cubicBezTo>
                  <a:cubicBezTo>
                    <a:pt x="2655265" y="287083"/>
                    <a:pt x="2650236" y="292951"/>
                    <a:pt x="2646883" y="300495"/>
                  </a:cubicBezTo>
                  <a:cubicBezTo>
                    <a:pt x="2643530" y="308038"/>
                    <a:pt x="2641854" y="316840"/>
                    <a:pt x="2641854" y="326898"/>
                  </a:cubicBezTo>
                  <a:lnTo>
                    <a:pt x="2641854" y="445084"/>
                  </a:lnTo>
                  <a:cubicBezTo>
                    <a:pt x="2641854" y="471906"/>
                    <a:pt x="2643530" y="496214"/>
                    <a:pt x="2646883" y="518007"/>
                  </a:cubicBezTo>
                  <a:cubicBezTo>
                    <a:pt x="2650236" y="539801"/>
                    <a:pt x="2655684" y="559498"/>
                    <a:pt x="2663228" y="577100"/>
                  </a:cubicBezTo>
                  <a:cubicBezTo>
                    <a:pt x="2670772" y="594703"/>
                    <a:pt x="2679154" y="611048"/>
                    <a:pt x="2688374" y="626135"/>
                  </a:cubicBezTo>
                  <a:cubicBezTo>
                    <a:pt x="2697595" y="641223"/>
                    <a:pt x="2709749" y="657149"/>
                    <a:pt x="2724836" y="673913"/>
                  </a:cubicBezTo>
                  <a:cubicBezTo>
                    <a:pt x="2756687" y="710793"/>
                    <a:pt x="2782253" y="740130"/>
                    <a:pt x="2801531" y="761924"/>
                  </a:cubicBezTo>
                  <a:cubicBezTo>
                    <a:pt x="2820810" y="783717"/>
                    <a:pt x="2838831" y="804253"/>
                    <a:pt x="2855595" y="823531"/>
                  </a:cubicBezTo>
                  <a:cubicBezTo>
                    <a:pt x="2872359" y="842810"/>
                    <a:pt x="2884094" y="856640"/>
                    <a:pt x="2890800" y="865022"/>
                  </a:cubicBezTo>
                  <a:cubicBezTo>
                    <a:pt x="2915946" y="893521"/>
                    <a:pt x="2938158" y="922858"/>
                    <a:pt x="2957437" y="953033"/>
                  </a:cubicBezTo>
                  <a:cubicBezTo>
                    <a:pt x="2976715" y="983208"/>
                    <a:pt x="2993898" y="1015479"/>
                    <a:pt x="3008986" y="1049845"/>
                  </a:cubicBezTo>
                  <a:cubicBezTo>
                    <a:pt x="3024074" y="1084211"/>
                    <a:pt x="3035389" y="1121511"/>
                    <a:pt x="3042933" y="1161745"/>
                  </a:cubicBezTo>
                  <a:cubicBezTo>
                    <a:pt x="3050477" y="1201979"/>
                    <a:pt x="3054248" y="1243889"/>
                    <a:pt x="3054248" y="1287475"/>
                  </a:cubicBezTo>
                  <a:lnTo>
                    <a:pt x="3054248" y="1538935"/>
                  </a:lnTo>
                  <a:cubicBezTo>
                    <a:pt x="3054248" y="1590903"/>
                    <a:pt x="3045447" y="1636166"/>
                    <a:pt x="3027845" y="1674723"/>
                  </a:cubicBezTo>
                  <a:cubicBezTo>
                    <a:pt x="3010243" y="1713280"/>
                    <a:pt x="2985516" y="1745551"/>
                    <a:pt x="2953664" y="1771536"/>
                  </a:cubicBezTo>
                  <a:cubicBezTo>
                    <a:pt x="2921813" y="1797520"/>
                    <a:pt x="2884513" y="1816798"/>
                    <a:pt x="2841765" y="1829371"/>
                  </a:cubicBezTo>
                  <a:cubicBezTo>
                    <a:pt x="2799017" y="1841944"/>
                    <a:pt x="2752496" y="1848231"/>
                    <a:pt x="2702204" y="1848231"/>
                  </a:cubicBezTo>
                  <a:cubicBezTo>
                    <a:pt x="2648560" y="1848231"/>
                    <a:pt x="2599106" y="1841106"/>
                    <a:pt x="2553843" y="1826857"/>
                  </a:cubicBezTo>
                  <a:cubicBezTo>
                    <a:pt x="2508580" y="1812607"/>
                    <a:pt x="2470024" y="1792071"/>
                    <a:pt x="2438171" y="1765249"/>
                  </a:cubicBezTo>
                  <a:cubicBezTo>
                    <a:pt x="2406320" y="1738426"/>
                    <a:pt x="2382012" y="1705737"/>
                    <a:pt x="2365248" y="1667180"/>
                  </a:cubicBezTo>
                  <a:cubicBezTo>
                    <a:pt x="2348484" y="1628622"/>
                    <a:pt x="2340102" y="1585874"/>
                    <a:pt x="2340102" y="1538935"/>
                  </a:cubicBezTo>
                  <a:lnTo>
                    <a:pt x="2340102" y="1176833"/>
                  </a:lnTo>
                  <a:lnTo>
                    <a:pt x="2641854" y="1176833"/>
                  </a:lnTo>
                  <a:lnTo>
                    <a:pt x="2641854" y="1526362"/>
                  </a:lnTo>
                  <a:cubicBezTo>
                    <a:pt x="2641854" y="1534744"/>
                    <a:pt x="2643112" y="1542288"/>
                    <a:pt x="2645626" y="1548993"/>
                  </a:cubicBezTo>
                  <a:cubicBezTo>
                    <a:pt x="2648141" y="1555699"/>
                    <a:pt x="2651912" y="1561566"/>
                    <a:pt x="2656942" y="1566596"/>
                  </a:cubicBezTo>
                  <a:cubicBezTo>
                    <a:pt x="2661971" y="1571625"/>
                    <a:pt x="2668257" y="1575397"/>
                    <a:pt x="2675801" y="1577911"/>
                  </a:cubicBezTo>
                  <a:cubicBezTo>
                    <a:pt x="2683345" y="1580426"/>
                    <a:pt x="2692146" y="1581683"/>
                    <a:pt x="2702204" y="1581683"/>
                  </a:cubicBezTo>
                  <a:cubicBezTo>
                    <a:pt x="2710587" y="1581683"/>
                    <a:pt x="2718549" y="1580426"/>
                    <a:pt x="2726093" y="1577911"/>
                  </a:cubicBezTo>
                  <a:cubicBezTo>
                    <a:pt x="2733637" y="1575397"/>
                    <a:pt x="2739924" y="1571206"/>
                    <a:pt x="2744953" y="1565338"/>
                  </a:cubicBezTo>
                  <a:cubicBezTo>
                    <a:pt x="2749982" y="1559471"/>
                    <a:pt x="2753754" y="1553184"/>
                    <a:pt x="2756268" y="1546479"/>
                  </a:cubicBezTo>
                  <a:cubicBezTo>
                    <a:pt x="2758783" y="1539773"/>
                    <a:pt x="2760040" y="1533068"/>
                    <a:pt x="2760040" y="1526362"/>
                  </a:cubicBezTo>
                  <a:lnTo>
                    <a:pt x="2757526" y="1305077"/>
                  </a:lnTo>
                  <a:cubicBezTo>
                    <a:pt x="2757526" y="1281608"/>
                    <a:pt x="2754173" y="1258138"/>
                    <a:pt x="2747467" y="1234668"/>
                  </a:cubicBezTo>
                  <a:cubicBezTo>
                    <a:pt x="2740762" y="1211199"/>
                    <a:pt x="2731961" y="1188148"/>
                    <a:pt x="2721064" y="1165517"/>
                  </a:cubicBezTo>
                  <a:cubicBezTo>
                    <a:pt x="2710167" y="1142885"/>
                    <a:pt x="2698013" y="1121511"/>
                    <a:pt x="2684602" y="1101395"/>
                  </a:cubicBezTo>
                  <a:cubicBezTo>
                    <a:pt x="2671191" y="1081278"/>
                    <a:pt x="2656942" y="1061999"/>
                    <a:pt x="2641854" y="1043559"/>
                  </a:cubicBezTo>
                  <a:cubicBezTo>
                    <a:pt x="2620061" y="1018413"/>
                    <a:pt x="2602040" y="997877"/>
                    <a:pt x="2587790" y="981951"/>
                  </a:cubicBezTo>
                  <a:cubicBezTo>
                    <a:pt x="2573541" y="966025"/>
                    <a:pt x="2559711" y="950100"/>
                    <a:pt x="2546299" y="934174"/>
                  </a:cubicBezTo>
                  <a:cubicBezTo>
                    <a:pt x="2532888" y="918248"/>
                    <a:pt x="2521992" y="906094"/>
                    <a:pt x="2513610" y="897712"/>
                  </a:cubicBezTo>
                  <a:cubicBezTo>
                    <a:pt x="2480082" y="860831"/>
                    <a:pt x="2452840" y="824789"/>
                    <a:pt x="2431885" y="789584"/>
                  </a:cubicBezTo>
                  <a:cubicBezTo>
                    <a:pt x="2410930" y="754380"/>
                    <a:pt x="2394585" y="719175"/>
                    <a:pt x="2382850" y="683971"/>
                  </a:cubicBezTo>
                  <a:cubicBezTo>
                    <a:pt x="2371116" y="648767"/>
                    <a:pt x="2362734" y="613981"/>
                    <a:pt x="2357705" y="579615"/>
                  </a:cubicBezTo>
                  <a:cubicBezTo>
                    <a:pt x="2352675" y="545249"/>
                    <a:pt x="2350161" y="508787"/>
                    <a:pt x="2350161" y="470230"/>
                  </a:cubicBezTo>
                  <a:lnTo>
                    <a:pt x="2350161" y="326898"/>
                  </a:lnTo>
                  <a:cubicBezTo>
                    <a:pt x="2350161" y="274929"/>
                    <a:pt x="2357705" y="228409"/>
                    <a:pt x="2372792" y="187338"/>
                  </a:cubicBezTo>
                  <a:cubicBezTo>
                    <a:pt x="2387879" y="146266"/>
                    <a:pt x="2410511" y="111899"/>
                    <a:pt x="2440686" y="84239"/>
                  </a:cubicBezTo>
                  <a:cubicBezTo>
                    <a:pt x="2470862" y="56578"/>
                    <a:pt x="2507742" y="35623"/>
                    <a:pt x="2551329" y="21374"/>
                  </a:cubicBezTo>
                  <a:cubicBezTo>
                    <a:pt x="2594915" y="7124"/>
                    <a:pt x="2645207" y="0"/>
                    <a:pt x="2702204" y="0"/>
                  </a:cubicBez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177087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slideLayout" Target="../slideLayouts/slideLayout52.xml"/><Relationship Id="rId50" Type="http://schemas.openxmlformats.org/officeDocument/2006/relationships/slideLayout" Target="../slideLayouts/slideLayout55.xml"/><Relationship Id="rId55" Type="http://schemas.openxmlformats.org/officeDocument/2006/relationships/slideLayout" Target="../slideLayouts/slideLayout60.xml"/><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9" Type="http://schemas.openxmlformats.org/officeDocument/2006/relationships/slideLayout" Target="../slideLayouts/slideLayout34.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slideLayout" Target="../slideLayouts/slideLayout50.xml"/><Relationship Id="rId53" Type="http://schemas.openxmlformats.org/officeDocument/2006/relationships/slideLayout" Target="../slideLayouts/slideLayout58.xml"/><Relationship Id="rId58" Type="http://schemas.openxmlformats.org/officeDocument/2006/relationships/oleObject" Target="../embeddings/oleObject2.bin"/><Relationship Id="rId5" Type="http://schemas.openxmlformats.org/officeDocument/2006/relationships/slideLayout" Target="../slideLayouts/slideLayout10.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 Id="rId48" Type="http://schemas.openxmlformats.org/officeDocument/2006/relationships/slideLayout" Target="../slideLayouts/slideLayout53.xml"/><Relationship Id="rId56" Type="http://schemas.openxmlformats.org/officeDocument/2006/relationships/theme" Target="../theme/theme2.xml"/><Relationship Id="rId8" Type="http://schemas.openxmlformats.org/officeDocument/2006/relationships/slideLayout" Target="../slideLayouts/slideLayout13.xml"/><Relationship Id="rId51" Type="http://schemas.openxmlformats.org/officeDocument/2006/relationships/slideLayout" Target="../slideLayouts/slideLayout56.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slideLayout" Target="../slideLayouts/slideLayout51.xml"/><Relationship Id="rId59" Type="http://schemas.openxmlformats.org/officeDocument/2006/relationships/image" Target="../media/image8.emf"/><Relationship Id="rId20" Type="http://schemas.openxmlformats.org/officeDocument/2006/relationships/slideLayout" Target="../slideLayouts/slideLayout25.xml"/><Relationship Id="rId41" Type="http://schemas.openxmlformats.org/officeDocument/2006/relationships/slideLayout" Target="../slideLayouts/slideLayout46.xml"/><Relationship Id="rId54" Type="http://schemas.openxmlformats.org/officeDocument/2006/relationships/slideLayout" Target="../slideLayouts/slideLayout59.xml"/><Relationship Id="rId1" Type="http://schemas.openxmlformats.org/officeDocument/2006/relationships/slideLayout" Target="../slideLayouts/slideLayout6.xml"/><Relationship Id="rId6" Type="http://schemas.openxmlformats.org/officeDocument/2006/relationships/slideLayout" Target="../slideLayouts/slideLayout11.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49" Type="http://schemas.openxmlformats.org/officeDocument/2006/relationships/slideLayout" Target="../slideLayouts/slideLayout54.xml"/><Relationship Id="rId57" Type="http://schemas.openxmlformats.org/officeDocument/2006/relationships/tags" Target="../tags/tag3.xml"/><Relationship Id="rId10" Type="http://schemas.openxmlformats.org/officeDocument/2006/relationships/slideLayout" Target="../slideLayouts/slideLayout15.xml"/><Relationship Id="rId31" Type="http://schemas.openxmlformats.org/officeDocument/2006/relationships/slideLayout" Target="../slideLayouts/slideLayout36.xml"/><Relationship Id="rId44" Type="http://schemas.openxmlformats.org/officeDocument/2006/relationships/slideLayout" Target="../slideLayouts/slideLayout49.xml"/><Relationship Id="rId52"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image" Target="../media/image41.svg"/><Relationship Id="rId3" Type="http://schemas.openxmlformats.org/officeDocument/2006/relationships/slideLayout" Target="../slideLayouts/slideLayout63.xml"/><Relationship Id="rId21" Type="http://schemas.openxmlformats.org/officeDocument/2006/relationships/theme" Target="../theme/theme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image" Target="../media/image40.png"/><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image" Target="../media/image39.emf"/><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oleObject" Target="../embeddings/oleObject3.bin"/><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7"/>
            </p:custDataLst>
          </p:nvPr>
        </p:nvGraphicFramePr>
        <p:xfrm>
          <a:off x="2016" y="1589"/>
          <a:ext cx="2015" cy="1587"/>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11" name="Object 10"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16" y="1589"/>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62709" y="181456"/>
            <a:ext cx="11068061" cy="831600"/>
          </a:xfrm>
          <a:prstGeom prst="rect">
            <a:avLst/>
          </a:prstGeom>
        </p:spPr>
        <p:txBody>
          <a:bodyPr vert="horz" lIns="0" tIns="45720" rIns="0" bIns="45720" rtlCol="0" anchor="b" anchorCtr="0">
            <a:noAutofit/>
          </a:bodyPr>
          <a:lstStyle/>
          <a:p>
            <a:r>
              <a:rPr lang="en-US" noProof="0"/>
              <a:t>Click to edit Master title style</a:t>
            </a:r>
          </a:p>
        </p:txBody>
      </p:sp>
      <p:sp>
        <p:nvSpPr>
          <p:cNvPr id="3" name="Text Placeholder 2"/>
          <p:cNvSpPr>
            <a:spLocks noGrp="1"/>
          </p:cNvSpPr>
          <p:nvPr>
            <p:ph type="body" idx="1"/>
          </p:nvPr>
        </p:nvSpPr>
        <p:spPr>
          <a:xfrm>
            <a:off x="562709" y="1508400"/>
            <a:ext cx="11068061" cy="45900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Line 115"/>
          <p:cNvSpPr>
            <a:spLocks noChangeShapeType="1"/>
          </p:cNvSpPr>
          <p:nvPr userDrawn="1"/>
        </p:nvSpPr>
        <p:spPr bwMode="auto">
          <a:xfrm flipH="1">
            <a:off x="562709" y="1148094"/>
            <a:ext cx="11068061" cy="0"/>
          </a:xfrm>
          <a:prstGeom prst="line">
            <a:avLst/>
          </a:prstGeom>
          <a:noFill/>
          <a:ln w="28575">
            <a:solidFill>
              <a:srgbClr val="3F000B"/>
            </a:solidFill>
            <a:round/>
            <a:headEnd/>
            <a:tailEnd/>
          </a:ln>
          <a:effectLst/>
        </p:spPr>
        <p:txBody>
          <a:bodyPr/>
          <a:lstStyle/>
          <a:p>
            <a:endParaRPr lang="en-US" sz="1800" noProof="0"/>
          </a:p>
        </p:txBody>
      </p:sp>
      <p:pic>
        <p:nvPicPr>
          <p:cNvPr id="14" name="Picture 1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134865" y="6245225"/>
            <a:ext cx="495905" cy="476250"/>
          </a:xfrm>
          <a:prstGeom prst="rect">
            <a:avLst/>
          </a:prstGeom>
        </p:spPr>
      </p:pic>
      <p:sp>
        <p:nvSpPr>
          <p:cNvPr id="9" name="Rectangle 8"/>
          <p:cNvSpPr/>
          <p:nvPr/>
        </p:nvSpPr>
        <p:spPr>
          <a:xfrm>
            <a:off x="5236995" y="9331"/>
            <a:ext cx="1718011" cy="153888"/>
          </a:xfrm>
          <a:prstGeom prst="rect">
            <a:avLst/>
          </a:prstGeom>
        </p:spPr>
        <p:txBody>
          <a:bodyPr wrap="none" lIns="0" tIns="0" rIns="0" bIns="0">
            <a:noAutofit/>
          </a:bodyPr>
          <a:lstStyle/>
          <a:p>
            <a:pPr algn="ctr"/>
            <a:r>
              <a:rPr lang="en-US" sz="1000" kern="1200">
                <a:solidFill>
                  <a:srgbClr val="C41300"/>
                </a:solidFill>
                <a:latin typeface="+mn-lt"/>
                <a:ea typeface="+mn-ea"/>
                <a:cs typeface="+mn-cs"/>
              </a:rPr>
              <a:t>COMPANY CONFIDENTIAL</a:t>
            </a:r>
            <a:endParaRPr lang="en-US" sz="1000">
              <a:solidFill>
                <a:srgbClr val="C41300"/>
              </a:solidFill>
            </a:endParaRPr>
          </a:p>
        </p:txBody>
      </p:sp>
    </p:spTree>
    <p:extLst>
      <p:ext uri="{BB962C8B-B14F-4D97-AF65-F5344CB8AC3E}">
        <p14:creationId xmlns:p14="http://schemas.microsoft.com/office/powerpoint/2010/main" val="367944893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hf hdr="0" ftr="0" dt="0"/>
  <p:txStyles>
    <p:titleStyle>
      <a:lvl1pPr algn="l" defTabSz="914400" rtl="0" eaLnBrk="1" latinLnBrk="0" hangingPunct="1">
        <a:spcBef>
          <a:spcPct val="0"/>
        </a:spcBef>
        <a:buNone/>
        <a:defRPr sz="2800" b="0" kern="1200">
          <a:solidFill>
            <a:srgbClr val="3F000B"/>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00000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00000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00000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00000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AB07401-EB62-5B7D-731F-C337A6EFAA42}"/>
              </a:ext>
            </a:extLst>
          </p:cNvPr>
          <p:cNvGraphicFramePr>
            <a:graphicFrameLocks noChangeAspect="1"/>
          </p:cNvGraphicFramePr>
          <p:nvPr userDrawn="1">
            <p:custDataLst>
              <p:tags r:id="rId57"/>
            </p:custDataLst>
            <p:extLst>
              <p:ext uri="{D42A27DB-BD31-4B8C-83A1-F6EECF244321}">
                <p14:modId xmlns:p14="http://schemas.microsoft.com/office/powerpoint/2010/main" val="215334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16" imgH="416" progId="TCLayout.ActiveDocument.1">
                  <p:embed/>
                </p:oleObj>
              </mc:Choice>
              <mc:Fallback>
                <p:oleObj name="think-cell Slide" r:id="rId58" imgW="416" imgH="416" progId="TCLayout.ActiveDocument.1">
                  <p:embed/>
                  <p:pic>
                    <p:nvPicPr>
                      <p:cNvPr id="6" name="Object 5" hidden="1">
                        <a:extLst>
                          <a:ext uri="{FF2B5EF4-FFF2-40B4-BE49-F238E27FC236}">
                            <a16:creationId xmlns:a16="http://schemas.microsoft.com/office/drawing/2014/main" id="{AAB07401-EB62-5B7D-731F-C337A6EFAA42}"/>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8607" y="112891"/>
            <a:ext cx="11402239" cy="965603"/>
          </a:xfrm>
          <a:prstGeom prst="rect">
            <a:avLst/>
          </a:prstGeom>
        </p:spPr>
        <p:txBody>
          <a:bodyPr vert="horz" lIns="91440" tIns="45720" rIns="91440" bIns="45720" rtlCol="0" anchor="b" anchorCtr="0">
            <a:noAutofit/>
          </a:bodyPr>
          <a:lstStyle/>
          <a:p>
            <a:r>
              <a:rPr lang="en-US" altLang="zh-CN"/>
              <a:t>Click to edit Master title style</a:t>
            </a:r>
            <a:endParaRPr lang="en-US"/>
          </a:p>
        </p:txBody>
      </p:sp>
      <p:sp>
        <p:nvSpPr>
          <p:cNvPr id="3" name="Text Placeholder 2"/>
          <p:cNvSpPr>
            <a:spLocks noGrp="1"/>
          </p:cNvSpPr>
          <p:nvPr>
            <p:ph type="body" idx="1"/>
          </p:nvPr>
        </p:nvSpPr>
        <p:spPr>
          <a:xfrm>
            <a:off x="448607" y="1481671"/>
            <a:ext cx="11403525" cy="4521601"/>
          </a:xfrm>
          <a:prstGeom prst="rect">
            <a:avLst/>
          </a:prstGeom>
        </p:spPr>
        <p:txBody>
          <a:bodyPr vert="horz" lIns="91440" tIns="45720" rIns="91440" bIns="45720" rtlCol="0">
            <a:no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en-US"/>
          </a:p>
        </p:txBody>
      </p:sp>
      <p:cxnSp>
        <p:nvCxnSpPr>
          <p:cNvPr id="5" name="Straight Connector 4"/>
          <p:cNvCxnSpPr/>
          <p:nvPr/>
        </p:nvCxnSpPr>
        <p:spPr>
          <a:xfrm>
            <a:off x="448607" y="1131500"/>
            <a:ext cx="11402239" cy="0"/>
          </a:xfrm>
          <a:prstGeom prst="line">
            <a:avLst/>
          </a:prstGeom>
          <a:ln>
            <a:solidFill>
              <a:srgbClr val="3F000B"/>
            </a:solidFill>
          </a:ln>
          <a:effectLst/>
        </p:spPr>
        <p:style>
          <a:lnRef idx="2">
            <a:schemeClr val="accent1"/>
          </a:lnRef>
          <a:fillRef idx="0">
            <a:schemeClr val="accent1"/>
          </a:fillRef>
          <a:effectRef idx="1">
            <a:schemeClr val="accent1"/>
          </a:effectRef>
          <a:fontRef idx="minor">
            <a:schemeClr val="tx1"/>
          </a:fontRef>
        </p:style>
      </p:cxnSp>
      <p:sp>
        <p:nvSpPr>
          <p:cNvPr id="9" name="Slide Number Placeholder 8"/>
          <p:cNvSpPr>
            <a:spLocks noGrp="1"/>
          </p:cNvSpPr>
          <p:nvPr>
            <p:ph type="sldNum" sz="quarter" idx="4"/>
          </p:nvPr>
        </p:nvSpPr>
        <p:spPr>
          <a:xfrm>
            <a:off x="338666" y="6356353"/>
            <a:ext cx="526815" cy="365125"/>
          </a:xfrm>
          <a:prstGeom prst="rect">
            <a:avLst/>
          </a:prstGeom>
        </p:spPr>
        <p:txBody>
          <a:bodyPr vert="horz" lIns="91440" tIns="45720" rIns="91440" bIns="45720" rtlCol="0" anchor="b" anchorCtr="0"/>
          <a:lstStyle>
            <a:lvl1pPr algn="l">
              <a:defRPr sz="1050">
                <a:solidFill>
                  <a:schemeClr val="tx1">
                    <a:tint val="75000"/>
                  </a:schemeClr>
                </a:solidFill>
              </a:defRPr>
            </a:lvl1pPr>
          </a:lstStyle>
          <a:p>
            <a:fld id="{8334361B-0D38-BE4A-AA1D-01A86672D338}" type="slidenum">
              <a:rPr lang="en-US" smtClean="0"/>
              <a:pPr/>
              <a:t>‹#›</a:t>
            </a:fld>
            <a:endParaRPr lang="en-US"/>
          </a:p>
        </p:txBody>
      </p:sp>
      <p:grpSp>
        <p:nvGrpSpPr>
          <p:cNvPr id="13" name="Group 12"/>
          <p:cNvGrpSpPr>
            <a:grpSpLocks noChangeAspect="1"/>
          </p:cNvGrpSpPr>
          <p:nvPr/>
        </p:nvGrpSpPr>
        <p:grpSpPr>
          <a:xfrm>
            <a:off x="11463343" y="6245988"/>
            <a:ext cx="384869" cy="475488"/>
            <a:chOff x="927372" y="-6359195"/>
            <a:chExt cx="9019933" cy="11143740"/>
          </a:xfrm>
        </p:grpSpPr>
        <p:sp>
          <p:nvSpPr>
            <p:cNvPr id="14" name="bk object 16"/>
            <p:cNvSpPr/>
            <p:nvPr/>
          </p:nvSpPr>
          <p:spPr>
            <a:xfrm>
              <a:off x="4020176" y="-6359195"/>
              <a:ext cx="5927129" cy="4294574"/>
            </a:xfrm>
            <a:custGeom>
              <a:avLst/>
              <a:gdLst/>
              <a:ahLst/>
              <a:cxnLst/>
              <a:rect l="l" t="t" r="r" b="b"/>
              <a:pathLst>
                <a:path w="5005070" h="3626485">
                  <a:moveTo>
                    <a:pt x="5004993" y="0"/>
                  </a:moveTo>
                  <a:lnTo>
                    <a:pt x="4978633" y="32052"/>
                  </a:lnTo>
                  <a:lnTo>
                    <a:pt x="4951061" y="63454"/>
                  </a:lnTo>
                  <a:lnTo>
                    <a:pt x="4922306" y="94214"/>
                  </a:lnTo>
                  <a:lnTo>
                    <a:pt x="4892395" y="124342"/>
                  </a:lnTo>
                  <a:lnTo>
                    <a:pt x="4861356" y="153848"/>
                  </a:lnTo>
                  <a:lnTo>
                    <a:pt x="4829216" y="182742"/>
                  </a:lnTo>
                  <a:lnTo>
                    <a:pt x="4796005" y="211033"/>
                  </a:lnTo>
                  <a:lnTo>
                    <a:pt x="4761749" y="238731"/>
                  </a:lnTo>
                  <a:lnTo>
                    <a:pt x="4726476" y="265846"/>
                  </a:lnTo>
                  <a:lnTo>
                    <a:pt x="4690214" y="292387"/>
                  </a:lnTo>
                  <a:lnTo>
                    <a:pt x="4652991" y="318365"/>
                  </a:lnTo>
                  <a:lnTo>
                    <a:pt x="4614835" y="343788"/>
                  </a:lnTo>
                  <a:lnTo>
                    <a:pt x="4575774" y="368667"/>
                  </a:lnTo>
                  <a:lnTo>
                    <a:pt x="4535835" y="393010"/>
                  </a:lnTo>
                  <a:lnTo>
                    <a:pt x="4495046" y="416829"/>
                  </a:lnTo>
                  <a:lnTo>
                    <a:pt x="4453436" y="440132"/>
                  </a:lnTo>
                  <a:lnTo>
                    <a:pt x="4411032" y="462930"/>
                  </a:lnTo>
                  <a:lnTo>
                    <a:pt x="4367861" y="485231"/>
                  </a:lnTo>
                  <a:lnTo>
                    <a:pt x="4323952" y="507046"/>
                  </a:lnTo>
                  <a:lnTo>
                    <a:pt x="4279332" y="528384"/>
                  </a:lnTo>
                  <a:lnTo>
                    <a:pt x="4234030" y="549256"/>
                  </a:lnTo>
                  <a:lnTo>
                    <a:pt x="4188072" y="569670"/>
                  </a:lnTo>
                  <a:lnTo>
                    <a:pt x="4141488" y="589636"/>
                  </a:lnTo>
                  <a:lnTo>
                    <a:pt x="4094304" y="609165"/>
                  </a:lnTo>
                  <a:lnTo>
                    <a:pt x="4046549" y="628265"/>
                  </a:lnTo>
                  <a:lnTo>
                    <a:pt x="3998251" y="646946"/>
                  </a:lnTo>
                  <a:lnTo>
                    <a:pt x="3949436" y="665219"/>
                  </a:lnTo>
                  <a:lnTo>
                    <a:pt x="3900134" y="683093"/>
                  </a:lnTo>
                  <a:lnTo>
                    <a:pt x="3850372" y="700577"/>
                  </a:lnTo>
                  <a:lnTo>
                    <a:pt x="3800177" y="717682"/>
                  </a:lnTo>
                  <a:lnTo>
                    <a:pt x="3698602" y="750790"/>
                  </a:lnTo>
                  <a:lnTo>
                    <a:pt x="3595633" y="782496"/>
                  </a:lnTo>
                  <a:lnTo>
                    <a:pt x="3491490" y="812876"/>
                  </a:lnTo>
                  <a:lnTo>
                    <a:pt x="3386398" y="842008"/>
                  </a:lnTo>
                  <a:lnTo>
                    <a:pt x="3227466" y="883537"/>
                  </a:lnTo>
                  <a:lnTo>
                    <a:pt x="3014310" y="935265"/>
                  </a:lnTo>
                  <a:lnTo>
                    <a:pt x="2748366" y="994942"/>
                  </a:lnTo>
                  <a:lnTo>
                    <a:pt x="1940052" y="1162267"/>
                  </a:lnTo>
                  <a:lnTo>
                    <a:pt x="1670241" y="1221482"/>
                  </a:lnTo>
                  <a:lnTo>
                    <a:pt x="1545280" y="1251458"/>
                  </a:lnTo>
                  <a:lnTo>
                    <a:pt x="1466165" y="1271755"/>
                  </a:lnTo>
                  <a:lnTo>
                    <a:pt x="1390665" y="1292395"/>
                  </a:lnTo>
                  <a:lnTo>
                    <a:pt x="1319001" y="1313453"/>
                  </a:lnTo>
                  <a:lnTo>
                    <a:pt x="1251397" y="1335008"/>
                  </a:lnTo>
                  <a:lnTo>
                    <a:pt x="1167123" y="1365069"/>
                  </a:lnTo>
                  <a:lnTo>
                    <a:pt x="1116003" y="1385008"/>
                  </a:lnTo>
                  <a:lnTo>
                    <a:pt x="1065841" y="1405801"/>
                  </a:lnTo>
                  <a:lnTo>
                    <a:pt x="1016650" y="1427436"/>
                  </a:lnTo>
                  <a:lnTo>
                    <a:pt x="968443" y="1449902"/>
                  </a:lnTo>
                  <a:lnTo>
                    <a:pt x="921235" y="1473189"/>
                  </a:lnTo>
                  <a:lnTo>
                    <a:pt x="875038" y="1497283"/>
                  </a:lnTo>
                  <a:lnTo>
                    <a:pt x="829866" y="1522174"/>
                  </a:lnTo>
                  <a:lnTo>
                    <a:pt x="785733" y="1547850"/>
                  </a:lnTo>
                  <a:lnTo>
                    <a:pt x="742652" y="1574300"/>
                  </a:lnTo>
                  <a:lnTo>
                    <a:pt x="700637" y="1601512"/>
                  </a:lnTo>
                  <a:lnTo>
                    <a:pt x="659702" y="1629474"/>
                  </a:lnTo>
                  <a:lnTo>
                    <a:pt x="619859" y="1658176"/>
                  </a:lnTo>
                  <a:lnTo>
                    <a:pt x="581123" y="1687605"/>
                  </a:lnTo>
                  <a:lnTo>
                    <a:pt x="543507" y="1717750"/>
                  </a:lnTo>
                  <a:lnTo>
                    <a:pt x="507024" y="1748600"/>
                  </a:lnTo>
                  <a:lnTo>
                    <a:pt x="471689" y="1780143"/>
                  </a:lnTo>
                  <a:lnTo>
                    <a:pt x="437514" y="1812368"/>
                  </a:lnTo>
                  <a:lnTo>
                    <a:pt x="404514" y="1845263"/>
                  </a:lnTo>
                  <a:lnTo>
                    <a:pt x="372701" y="1878816"/>
                  </a:lnTo>
                  <a:lnTo>
                    <a:pt x="342090" y="1913016"/>
                  </a:lnTo>
                  <a:lnTo>
                    <a:pt x="312693" y="1947852"/>
                  </a:lnTo>
                  <a:lnTo>
                    <a:pt x="284525" y="1983311"/>
                  </a:lnTo>
                  <a:lnTo>
                    <a:pt x="257599" y="2019384"/>
                  </a:lnTo>
                  <a:lnTo>
                    <a:pt x="231929" y="2056057"/>
                  </a:lnTo>
                  <a:lnTo>
                    <a:pt x="207527" y="2093320"/>
                  </a:lnTo>
                  <a:lnTo>
                    <a:pt x="184408" y="2131161"/>
                  </a:lnTo>
                  <a:lnTo>
                    <a:pt x="162586" y="2169568"/>
                  </a:lnTo>
                  <a:lnTo>
                    <a:pt x="142073" y="2208531"/>
                  </a:lnTo>
                  <a:lnTo>
                    <a:pt x="122883" y="2248037"/>
                  </a:lnTo>
                  <a:lnTo>
                    <a:pt x="105030" y="2288075"/>
                  </a:lnTo>
                  <a:lnTo>
                    <a:pt x="88528" y="2328633"/>
                  </a:lnTo>
                  <a:lnTo>
                    <a:pt x="73389" y="2369700"/>
                  </a:lnTo>
                  <a:lnTo>
                    <a:pt x="59628" y="2411265"/>
                  </a:lnTo>
                  <a:lnTo>
                    <a:pt x="47258" y="2453316"/>
                  </a:lnTo>
                  <a:lnTo>
                    <a:pt x="36292" y="2495841"/>
                  </a:lnTo>
                  <a:lnTo>
                    <a:pt x="26745" y="2538829"/>
                  </a:lnTo>
                  <a:lnTo>
                    <a:pt x="18629" y="2582269"/>
                  </a:lnTo>
                  <a:lnTo>
                    <a:pt x="11959" y="2626148"/>
                  </a:lnTo>
                  <a:lnTo>
                    <a:pt x="6747" y="2670456"/>
                  </a:lnTo>
                  <a:lnTo>
                    <a:pt x="3007" y="2715181"/>
                  </a:lnTo>
                  <a:lnTo>
                    <a:pt x="754" y="2760312"/>
                  </a:lnTo>
                  <a:lnTo>
                    <a:pt x="0" y="2805836"/>
                  </a:lnTo>
                  <a:lnTo>
                    <a:pt x="0" y="3570960"/>
                  </a:lnTo>
                  <a:lnTo>
                    <a:pt x="2284" y="3591170"/>
                  </a:lnTo>
                  <a:lnTo>
                    <a:pt x="9620" y="3608897"/>
                  </a:lnTo>
                  <a:lnTo>
                    <a:pt x="22727" y="3621482"/>
                  </a:lnTo>
                  <a:lnTo>
                    <a:pt x="42329" y="3626269"/>
                  </a:lnTo>
                  <a:lnTo>
                    <a:pt x="65878" y="3622420"/>
                  </a:lnTo>
                  <a:lnTo>
                    <a:pt x="87383" y="3607508"/>
                  </a:lnTo>
                  <a:lnTo>
                    <a:pt x="113939" y="3576484"/>
                  </a:lnTo>
                  <a:lnTo>
                    <a:pt x="152641" y="3524300"/>
                  </a:lnTo>
                  <a:lnTo>
                    <a:pt x="202386" y="3453406"/>
                  </a:lnTo>
                  <a:lnTo>
                    <a:pt x="221093" y="3427186"/>
                  </a:lnTo>
                  <a:lnTo>
                    <a:pt x="262191" y="3371459"/>
                  </a:lnTo>
                  <a:lnTo>
                    <a:pt x="308746" y="3312013"/>
                  </a:lnTo>
                  <a:lnTo>
                    <a:pt x="334276" y="3281144"/>
                  </a:lnTo>
                  <a:lnTo>
                    <a:pt x="361417" y="3249643"/>
                  </a:lnTo>
                  <a:lnTo>
                    <a:pt x="390251" y="3217611"/>
                  </a:lnTo>
                  <a:lnTo>
                    <a:pt x="420861" y="3185146"/>
                  </a:lnTo>
                  <a:lnTo>
                    <a:pt x="453329" y="3152347"/>
                  </a:lnTo>
                  <a:lnTo>
                    <a:pt x="487737" y="3119315"/>
                  </a:lnTo>
                  <a:lnTo>
                    <a:pt x="524167" y="3086148"/>
                  </a:lnTo>
                  <a:lnTo>
                    <a:pt x="562701" y="3052947"/>
                  </a:lnTo>
                  <a:lnTo>
                    <a:pt x="603422" y="3019809"/>
                  </a:lnTo>
                  <a:lnTo>
                    <a:pt x="646412" y="2986836"/>
                  </a:lnTo>
                  <a:lnTo>
                    <a:pt x="691753" y="2954126"/>
                  </a:lnTo>
                  <a:lnTo>
                    <a:pt x="739527" y="2921779"/>
                  </a:lnTo>
                  <a:lnTo>
                    <a:pt x="789817" y="2889894"/>
                  </a:lnTo>
                  <a:lnTo>
                    <a:pt x="842704" y="2858571"/>
                  </a:lnTo>
                  <a:lnTo>
                    <a:pt x="898272" y="2827909"/>
                  </a:lnTo>
                  <a:lnTo>
                    <a:pt x="956602" y="2798007"/>
                  </a:lnTo>
                  <a:lnTo>
                    <a:pt x="1017776" y="2768965"/>
                  </a:lnTo>
                  <a:lnTo>
                    <a:pt x="1081877" y="2740882"/>
                  </a:lnTo>
                  <a:lnTo>
                    <a:pt x="1148986" y="2713858"/>
                  </a:lnTo>
                  <a:lnTo>
                    <a:pt x="1219187" y="2687993"/>
                  </a:lnTo>
                  <a:lnTo>
                    <a:pt x="1284569" y="2666385"/>
                  </a:lnTo>
                  <a:lnTo>
                    <a:pt x="1354496" y="2645709"/>
                  </a:lnTo>
                  <a:lnTo>
                    <a:pt x="1428719" y="2625869"/>
                  </a:lnTo>
                  <a:lnTo>
                    <a:pt x="1467364" y="2616234"/>
                  </a:lnTo>
                  <a:lnTo>
                    <a:pt x="1547566" y="2597474"/>
                  </a:lnTo>
                  <a:lnTo>
                    <a:pt x="1631444" y="2579317"/>
                  </a:lnTo>
                  <a:lnTo>
                    <a:pt x="1763609" y="2553007"/>
                  </a:lnTo>
                  <a:lnTo>
                    <a:pt x="1998746" y="2510847"/>
                  </a:lnTo>
                  <a:lnTo>
                    <a:pt x="2888817" y="2365080"/>
                  </a:lnTo>
                  <a:lnTo>
                    <a:pt x="3161892" y="2315706"/>
                  </a:lnTo>
                  <a:lnTo>
                    <a:pt x="3325097" y="2283493"/>
                  </a:lnTo>
                  <a:lnTo>
                    <a:pt x="3486799" y="2248954"/>
                  </a:lnTo>
                  <a:lnTo>
                    <a:pt x="3593351" y="2224479"/>
                  </a:lnTo>
                  <a:lnTo>
                    <a:pt x="3698614" y="2198737"/>
                  </a:lnTo>
                  <a:lnTo>
                    <a:pt x="3802341" y="2171633"/>
                  </a:lnTo>
                  <a:lnTo>
                    <a:pt x="3904282" y="2143073"/>
                  </a:lnTo>
                  <a:lnTo>
                    <a:pt x="3954505" y="2128219"/>
                  </a:lnTo>
                  <a:lnTo>
                    <a:pt x="4004189" y="2112965"/>
                  </a:lnTo>
                  <a:lnTo>
                    <a:pt x="4053303" y="2097301"/>
                  </a:lnTo>
                  <a:lnTo>
                    <a:pt x="4101815" y="2081215"/>
                  </a:lnTo>
                  <a:lnTo>
                    <a:pt x="4149694" y="2064695"/>
                  </a:lnTo>
                  <a:lnTo>
                    <a:pt x="4196910" y="2047729"/>
                  </a:lnTo>
                  <a:lnTo>
                    <a:pt x="4243432" y="2030306"/>
                  </a:lnTo>
                  <a:lnTo>
                    <a:pt x="4289228" y="2012414"/>
                  </a:lnTo>
                  <a:lnTo>
                    <a:pt x="4334267" y="1994041"/>
                  </a:lnTo>
                  <a:lnTo>
                    <a:pt x="4378519" y="1975176"/>
                  </a:lnTo>
                  <a:lnTo>
                    <a:pt x="4421952" y="1955807"/>
                  </a:lnTo>
                  <a:lnTo>
                    <a:pt x="4464535" y="1935922"/>
                  </a:lnTo>
                  <a:lnTo>
                    <a:pt x="4506238" y="1915509"/>
                  </a:lnTo>
                  <a:lnTo>
                    <a:pt x="4547029" y="1894558"/>
                  </a:lnTo>
                  <a:lnTo>
                    <a:pt x="4586877" y="1873055"/>
                  </a:lnTo>
                  <a:lnTo>
                    <a:pt x="4625752" y="1850990"/>
                  </a:lnTo>
                  <a:lnTo>
                    <a:pt x="4663621" y="1828350"/>
                  </a:lnTo>
                  <a:lnTo>
                    <a:pt x="4700455" y="1805125"/>
                  </a:lnTo>
                  <a:lnTo>
                    <a:pt x="4736222" y="1781302"/>
                  </a:lnTo>
                  <a:lnTo>
                    <a:pt x="4770890" y="1756870"/>
                  </a:lnTo>
                  <a:lnTo>
                    <a:pt x="4804430" y="1731816"/>
                  </a:lnTo>
                  <a:lnTo>
                    <a:pt x="4836810" y="1706130"/>
                  </a:lnTo>
                  <a:lnTo>
                    <a:pt x="4867999" y="1679799"/>
                  </a:lnTo>
                  <a:lnTo>
                    <a:pt x="4897966" y="1652813"/>
                  </a:lnTo>
                  <a:lnTo>
                    <a:pt x="4926680" y="1625158"/>
                  </a:lnTo>
                  <a:lnTo>
                    <a:pt x="4954110" y="1596824"/>
                  </a:lnTo>
                  <a:lnTo>
                    <a:pt x="4980225" y="1567799"/>
                  </a:lnTo>
                  <a:lnTo>
                    <a:pt x="5004993" y="1538071"/>
                  </a:lnTo>
                  <a:lnTo>
                    <a:pt x="5004993" y="0"/>
                  </a:lnTo>
                  <a:close/>
                </a:path>
              </a:pathLst>
            </a:custGeom>
            <a:solidFill>
              <a:schemeClr val="bg2"/>
            </a:solidFill>
          </p:spPr>
          <p:txBody>
            <a:bodyPr wrap="square" lIns="0" tIns="0" rIns="0" bIns="0" rtlCol="0"/>
            <a:lstStyle/>
            <a:p>
              <a:endParaRPr sz="1800"/>
            </a:p>
          </p:txBody>
        </p:sp>
        <p:sp>
          <p:nvSpPr>
            <p:cNvPr id="15" name="Freeform 14"/>
            <p:cNvSpPr/>
            <p:nvPr/>
          </p:nvSpPr>
          <p:spPr>
            <a:xfrm>
              <a:off x="927372" y="-1562189"/>
              <a:ext cx="6305378" cy="6346734"/>
            </a:xfrm>
            <a:custGeom>
              <a:avLst/>
              <a:gdLst>
                <a:gd name="connsiteX0" fmla="*/ 3150555 w 6305378"/>
                <a:gd name="connsiteY0" fmla="*/ 0 h 6346734"/>
                <a:gd name="connsiteX1" fmla="*/ 3151814 w 6305378"/>
                <a:gd name="connsiteY1" fmla="*/ 260 h 6346734"/>
                <a:gd name="connsiteX2" fmla="*/ 3152417 w 6305378"/>
                <a:gd name="connsiteY2" fmla="*/ 0 h 6346734"/>
                <a:gd name="connsiteX3" fmla="*/ 3154102 w 6305378"/>
                <a:gd name="connsiteY3" fmla="*/ 733 h 6346734"/>
                <a:gd name="connsiteX4" fmla="*/ 3184589 w 6305378"/>
                <a:gd name="connsiteY4" fmla="*/ 7034 h 6346734"/>
                <a:gd name="connsiteX5" fmla="*/ 3231121 w 6305378"/>
                <a:gd name="connsiteY5" fmla="*/ 54673 h 6346734"/>
                <a:gd name="connsiteX6" fmla="*/ 3233953 w 6305378"/>
                <a:gd name="connsiteY6" fmla="*/ 69033 h 6346734"/>
                <a:gd name="connsiteX7" fmla="*/ 3237872 w 6305378"/>
                <a:gd name="connsiteY7" fmla="*/ 75198 h 6346734"/>
                <a:gd name="connsiteX8" fmla="*/ 3248564 w 6305378"/>
                <a:gd name="connsiteY8" fmla="*/ 120317 h 6346734"/>
                <a:gd name="connsiteX9" fmla="*/ 3259618 w 6305378"/>
                <a:gd name="connsiteY9" fmla="*/ 165435 h 6346734"/>
                <a:gd name="connsiteX10" fmla="*/ 3271070 w 6305378"/>
                <a:gd name="connsiteY10" fmla="*/ 210554 h 6346734"/>
                <a:gd name="connsiteX11" fmla="*/ 3282956 w 6305378"/>
                <a:gd name="connsiteY11" fmla="*/ 270713 h 6346734"/>
                <a:gd name="connsiteX12" fmla="*/ 3295314 w 6305378"/>
                <a:gd name="connsiteY12" fmla="*/ 315833 h 6346734"/>
                <a:gd name="connsiteX13" fmla="*/ 3308178 w 6305378"/>
                <a:gd name="connsiteY13" fmla="*/ 360952 h 6346734"/>
                <a:gd name="connsiteX14" fmla="*/ 3321585 w 6305378"/>
                <a:gd name="connsiteY14" fmla="*/ 406070 h 6346734"/>
                <a:gd name="connsiteX15" fmla="*/ 3335570 w 6305378"/>
                <a:gd name="connsiteY15" fmla="*/ 451189 h 6346734"/>
                <a:gd name="connsiteX16" fmla="*/ 3350173 w 6305378"/>
                <a:gd name="connsiteY16" fmla="*/ 496308 h 6346734"/>
                <a:gd name="connsiteX17" fmla="*/ 3365427 w 6305378"/>
                <a:gd name="connsiteY17" fmla="*/ 541427 h 6346734"/>
                <a:gd name="connsiteX18" fmla="*/ 3381368 w 6305378"/>
                <a:gd name="connsiteY18" fmla="*/ 586546 h 6346734"/>
                <a:gd name="connsiteX19" fmla="*/ 3398035 w 6305378"/>
                <a:gd name="connsiteY19" fmla="*/ 631665 h 6346734"/>
                <a:gd name="connsiteX20" fmla="*/ 3415462 w 6305378"/>
                <a:gd name="connsiteY20" fmla="*/ 676784 h 6346734"/>
                <a:gd name="connsiteX21" fmla="*/ 3433686 w 6305378"/>
                <a:gd name="connsiteY21" fmla="*/ 736942 h 6346734"/>
                <a:gd name="connsiteX22" fmla="*/ 3452742 w 6305378"/>
                <a:gd name="connsiteY22" fmla="*/ 782062 h 6346734"/>
                <a:gd name="connsiteX23" fmla="*/ 3472668 w 6305378"/>
                <a:gd name="connsiteY23" fmla="*/ 827180 h 6346734"/>
                <a:gd name="connsiteX24" fmla="*/ 3493500 w 6305378"/>
                <a:gd name="connsiteY24" fmla="*/ 872299 h 6346734"/>
                <a:gd name="connsiteX25" fmla="*/ 3515274 w 6305378"/>
                <a:gd name="connsiteY25" fmla="*/ 917418 h 6346734"/>
                <a:gd name="connsiteX26" fmla="*/ 3538025 w 6305378"/>
                <a:gd name="connsiteY26" fmla="*/ 977577 h 6346734"/>
                <a:gd name="connsiteX27" fmla="*/ 3561793 w 6305378"/>
                <a:gd name="connsiteY27" fmla="*/ 1022696 h 6346734"/>
                <a:gd name="connsiteX28" fmla="*/ 3586609 w 6305378"/>
                <a:gd name="connsiteY28" fmla="*/ 1067815 h 6346734"/>
                <a:gd name="connsiteX29" fmla="*/ 3612513 w 6305378"/>
                <a:gd name="connsiteY29" fmla="*/ 1127974 h 6346734"/>
                <a:gd name="connsiteX30" fmla="*/ 3639541 w 6305378"/>
                <a:gd name="connsiteY30" fmla="*/ 1173093 h 6346734"/>
                <a:gd name="connsiteX31" fmla="*/ 3667726 w 6305378"/>
                <a:gd name="connsiteY31" fmla="*/ 1218211 h 6346734"/>
                <a:gd name="connsiteX32" fmla="*/ 3697109 w 6305378"/>
                <a:gd name="connsiteY32" fmla="*/ 1278370 h 6346734"/>
                <a:gd name="connsiteX33" fmla="*/ 3727723 w 6305378"/>
                <a:gd name="connsiteY33" fmla="*/ 1323489 h 6346734"/>
                <a:gd name="connsiteX34" fmla="*/ 3759606 w 6305378"/>
                <a:gd name="connsiteY34" fmla="*/ 1383648 h 6346734"/>
                <a:gd name="connsiteX35" fmla="*/ 3792792 w 6305378"/>
                <a:gd name="connsiteY35" fmla="*/ 1428767 h 6346734"/>
                <a:gd name="connsiteX36" fmla="*/ 3827320 w 6305378"/>
                <a:gd name="connsiteY36" fmla="*/ 1488925 h 6346734"/>
                <a:gd name="connsiteX37" fmla="*/ 3863224 w 6305378"/>
                <a:gd name="connsiteY37" fmla="*/ 1534044 h 6346734"/>
                <a:gd name="connsiteX38" fmla="*/ 3900543 w 6305378"/>
                <a:gd name="connsiteY38" fmla="*/ 1594203 h 6346734"/>
                <a:gd name="connsiteX39" fmla="*/ 3939310 w 6305378"/>
                <a:gd name="connsiteY39" fmla="*/ 1654362 h 6346734"/>
                <a:gd name="connsiteX40" fmla="*/ 3979563 w 6305378"/>
                <a:gd name="connsiteY40" fmla="*/ 1699480 h 6346734"/>
                <a:gd name="connsiteX41" fmla="*/ 4021337 w 6305378"/>
                <a:gd name="connsiteY41" fmla="*/ 1759639 h 6346734"/>
                <a:gd name="connsiteX42" fmla="*/ 4064670 w 6305378"/>
                <a:gd name="connsiteY42" fmla="*/ 1819798 h 6346734"/>
                <a:gd name="connsiteX43" fmla="*/ 4109599 w 6305378"/>
                <a:gd name="connsiteY43" fmla="*/ 1879956 h 6346734"/>
                <a:gd name="connsiteX44" fmla="*/ 4156157 w 6305378"/>
                <a:gd name="connsiteY44" fmla="*/ 1925075 h 6346734"/>
                <a:gd name="connsiteX45" fmla="*/ 4204383 w 6305378"/>
                <a:gd name="connsiteY45" fmla="*/ 1985234 h 6346734"/>
                <a:gd name="connsiteX46" fmla="*/ 4254311 w 6305378"/>
                <a:gd name="connsiteY46" fmla="*/ 2045393 h 6346734"/>
                <a:gd name="connsiteX47" fmla="*/ 4305980 w 6305378"/>
                <a:gd name="connsiteY47" fmla="*/ 2105551 h 6346734"/>
                <a:gd name="connsiteX48" fmla="*/ 4359424 w 6305378"/>
                <a:gd name="connsiteY48" fmla="*/ 2165710 h 6346734"/>
                <a:gd name="connsiteX49" fmla="*/ 4414680 w 6305378"/>
                <a:gd name="connsiteY49" fmla="*/ 2225869 h 6346734"/>
                <a:gd name="connsiteX50" fmla="*/ 4454642 w 6305378"/>
                <a:gd name="connsiteY50" fmla="*/ 2270987 h 6346734"/>
                <a:gd name="connsiteX51" fmla="*/ 4535455 w 6305378"/>
                <a:gd name="connsiteY51" fmla="*/ 2361225 h 6346734"/>
                <a:gd name="connsiteX52" fmla="*/ 4576258 w 6305378"/>
                <a:gd name="connsiteY52" fmla="*/ 2391304 h 6346734"/>
                <a:gd name="connsiteX53" fmla="*/ 4617293 w 6305378"/>
                <a:gd name="connsiteY53" fmla="*/ 2436424 h 6346734"/>
                <a:gd name="connsiteX54" fmla="*/ 4783257 w 6305378"/>
                <a:gd name="connsiteY54" fmla="*/ 2616901 h 6346734"/>
                <a:gd name="connsiteX55" fmla="*/ 4825083 w 6305378"/>
                <a:gd name="connsiteY55" fmla="*/ 2646979 h 6346734"/>
                <a:gd name="connsiteX56" fmla="*/ 5034993 w 6305378"/>
                <a:gd name="connsiteY56" fmla="*/ 2872575 h 6346734"/>
                <a:gd name="connsiteX57" fmla="*/ 5076959 w 6305378"/>
                <a:gd name="connsiteY57" fmla="*/ 2902653 h 6346734"/>
                <a:gd name="connsiteX58" fmla="*/ 5326600 w 6305378"/>
                <a:gd name="connsiteY58" fmla="*/ 3173367 h 6346734"/>
                <a:gd name="connsiteX59" fmla="*/ 5367619 w 6305378"/>
                <a:gd name="connsiteY59" fmla="*/ 3203446 h 6346734"/>
                <a:gd name="connsiteX60" fmla="*/ 5408404 w 6305378"/>
                <a:gd name="connsiteY60" fmla="*/ 3248565 h 6346734"/>
                <a:gd name="connsiteX61" fmla="*/ 5489175 w 6305378"/>
                <a:gd name="connsiteY61" fmla="*/ 3338803 h 6346734"/>
                <a:gd name="connsiteX62" fmla="*/ 5568719 w 6305378"/>
                <a:gd name="connsiteY62" fmla="*/ 3429041 h 6346734"/>
                <a:gd name="connsiteX63" fmla="*/ 5607969 w 6305378"/>
                <a:gd name="connsiteY63" fmla="*/ 3474160 h 6346734"/>
                <a:gd name="connsiteX64" fmla="*/ 5646840 w 6305378"/>
                <a:gd name="connsiteY64" fmla="*/ 3519279 h 6346734"/>
                <a:gd name="connsiteX65" fmla="*/ 5685305 w 6305378"/>
                <a:gd name="connsiteY65" fmla="*/ 3564398 h 6346734"/>
                <a:gd name="connsiteX66" fmla="*/ 5732684 w 6305378"/>
                <a:gd name="connsiteY66" fmla="*/ 3624556 h 6346734"/>
                <a:gd name="connsiteX67" fmla="*/ 5777985 w 6305378"/>
                <a:gd name="connsiteY67" fmla="*/ 3684715 h 6346734"/>
                <a:gd name="connsiteX68" fmla="*/ 5821233 w 6305378"/>
                <a:gd name="connsiteY68" fmla="*/ 3744874 h 6346734"/>
                <a:gd name="connsiteX69" fmla="*/ 5862451 w 6305378"/>
                <a:gd name="connsiteY69" fmla="*/ 3789993 h 6346734"/>
                <a:gd name="connsiteX70" fmla="*/ 5901662 w 6305378"/>
                <a:gd name="connsiteY70" fmla="*/ 3850151 h 6346734"/>
                <a:gd name="connsiteX71" fmla="*/ 5938892 w 6305378"/>
                <a:gd name="connsiteY71" fmla="*/ 3910310 h 6346734"/>
                <a:gd name="connsiteX72" fmla="*/ 5974163 w 6305378"/>
                <a:gd name="connsiteY72" fmla="*/ 3970468 h 6346734"/>
                <a:gd name="connsiteX73" fmla="*/ 6007497 w 6305378"/>
                <a:gd name="connsiteY73" fmla="*/ 4030627 h 6346734"/>
                <a:gd name="connsiteX74" fmla="*/ 6038922 w 6305378"/>
                <a:gd name="connsiteY74" fmla="*/ 4075746 h 6346734"/>
                <a:gd name="connsiteX75" fmla="*/ 6068459 w 6305378"/>
                <a:gd name="connsiteY75" fmla="*/ 4135905 h 6346734"/>
                <a:gd name="connsiteX76" fmla="*/ 6096132 w 6305378"/>
                <a:gd name="connsiteY76" fmla="*/ 4196063 h 6346734"/>
                <a:gd name="connsiteX77" fmla="*/ 6121966 w 6305378"/>
                <a:gd name="connsiteY77" fmla="*/ 4256222 h 6346734"/>
                <a:gd name="connsiteX78" fmla="*/ 6145982 w 6305378"/>
                <a:gd name="connsiteY78" fmla="*/ 4301341 h 6346734"/>
                <a:gd name="connsiteX79" fmla="*/ 6168206 w 6305378"/>
                <a:gd name="connsiteY79" fmla="*/ 4361500 h 6346734"/>
                <a:gd name="connsiteX80" fmla="*/ 6188662 w 6305378"/>
                <a:gd name="connsiteY80" fmla="*/ 4421658 h 6346734"/>
                <a:gd name="connsiteX81" fmla="*/ 6207372 w 6305378"/>
                <a:gd name="connsiteY81" fmla="*/ 4466777 h 6346734"/>
                <a:gd name="connsiteX82" fmla="*/ 6224361 w 6305378"/>
                <a:gd name="connsiteY82" fmla="*/ 4526936 h 6346734"/>
                <a:gd name="connsiteX83" fmla="*/ 6239653 w 6305378"/>
                <a:gd name="connsiteY83" fmla="*/ 4587094 h 6346734"/>
                <a:gd name="connsiteX84" fmla="*/ 6253270 w 6305378"/>
                <a:gd name="connsiteY84" fmla="*/ 4632213 h 6346734"/>
                <a:gd name="connsiteX85" fmla="*/ 6265237 w 6305378"/>
                <a:gd name="connsiteY85" fmla="*/ 4692372 h 6346734"/>
                <a:gd name="connsiteX86" fmla="*/ 6275577 w 6305378"/>
                <a:gd name="connsiteY86" fmla="*/ 4737491 h 6346734"/>
                <a:gd name="connsiteX87" fmla="*/ 6284316 w 6305378"/>
                <a:gd name="connsiteY87" fmla="*/ 4797650 h 6346734"/>
                <a:gd name="connsiteX88" fmla="*/ 6291474 w 6305378"/>
                <a:gd name="connsiteY88" fmla="*/ 4842769 h 6346734"/>
                <a:gd name="connsiteX89" fmla="*/ 6297077 w 6305378"/>
                <a:gd name="connsiteY89" fmla="*/ 4902927 h 6346734"/>
                <a:gd name="connsiteX90" fmla="*/ 6301150 w 6305378"/>
                <a:gd name="connsiteY90" fmla="*/ 4948046 h 6346734"/>
                <a:gd name="connsiteX91" fmla="*/ 6303713 w 6305378"/>
                <a:gd name="connsiteY91" fmla="*/ 4993165 h 6346734"/>
                <a:gd name="connsiteX92" fmla="*/ 6304793 w 6305378"/>
                <a:gd name="connsiteY92" fmla="*/ 5053324 h 6346734"/>
                <a:gd name="connsiteX93" fmla="*/ 6304413 w 6305378"/>
                <a:gd name="connsiteY93" fmla="*/ 5098443 h 6346734"/>
                <a:gd name="connsiteX94" fmla="*/ 6303211 w 6305378"/>
                <a:gd name="connsiteY94" fmla="*/ 5128297 h 6346734"/>
                <a:gd name="connsiteX95" fmla="*/ 6305378 w 6305378"/>
                <a:gd name="connsiteY95" fmla="*/ 5172237 h 6346734"/>
                <a:gd name="connsiteX96" fmla="*/ 5158182 w 6305378"/>
                <a:gd name="connsiteY96" fmla="*/ 6346734 h 6346734"/>
                <a:gd name="connsiteX97" fmla="*/ 5158181 w 6305378"/>
                <a:gd name="connsiteY97" fmla="*/ 6346734 h 6346734"/>
                <a:gd name="connsiteX98" fmla="*/ 5158181 w 6305378"/>
                <a:gd name="connsiteY98" fmla="*/ 6346734 h 6346734"/>
                <a:gd name="connsiteX99" fmla="*/ 1149255 w 6305378"/>
                <a:gd name="connsiteY99" fmla="*/ 6346734 h 6346734"/>
                <a:gd name="connsiteX100" fmla="*/ 1149255 w 6305378"/>
                <a:gd name="connsiteY100" fmla="*/ 6346628 h 6346734"/>
                <a:gd name="connsiteX101" fmla="*/ 1147196 w 6305378"/>
                <a:gd name="connsiteY101" fmla="*/ 6346734 h 6346734"/>
                <a:gd name="connsiteX102" fmla="*/ 0 w 6305378"/>
                <a:gd name="connsiteY102" fmla="*/ 5172237 h 6346734"/>
                <a:gd name="connsiteX103" fmla="*/ 1843 w 6305378"/>
                <a:gd name="connsiteY103" fmla="*/ 5134874 h 6346734"/>
                <a:gd name="connsiteX104" fmla="*/ 378 w 6305378"/>
                <a:gd name="connsiteY104" fmla="*/ 5098443 h 6346734"/>
                <a:gd name="connsiteX105" fmla="*/ 0 w 6305378"/>
                <a:gd name="connsiteY105" fmla="*/ 5053324 h 6346734"/>
                <a:gd name="connsiteX106" fmla="*/ 1083 w 6305378"/>
                <a:gd name="connsiteY106" fmla="*/ 4993165 h 6346734"/>
                <a:gd name="connsiteX107" fmla="*/ 3651 w 6305378"/>
                <a:gd name="connsiteY107" fmla="*/ 4948046 h 6346734"/>
                <a:gd name="connsiteX108" fmla="*/ 7728 w 6305378"/>
                <a:gd name="connsiteY108" fmla="*/ 4902927 h 6346734"/>
                <a:gd name="connsiteX109" fmla="*/ 13338 w 6305378"/>
                <a:gd name="connsiteY109" fmla="*/ 4842769 h 6346734"/>
                <a:gd name="connsiteX110" fmla="*/ 20504 w 6305378"/>
                <a:gd name="connsiteY110" fmla="*/ 4797650 h 6346734"/>
                <a:gd name="connsiteX111" fmla="*/ 29249 w 6305378"/>
                <a:gd name="connsiteY111" fmla="*/ 4737491 h 6346734"/>
                <a:gd name="connsiteX112" fmla="*/ 39600 w 6305378"/>
                <a:gd name="connsiteY112" fmla="*/ 4692372 h 6346734"/>
                <a:gd name="connsiteX113" fmla="*/ 51577 w 6305378"/>
                <a:gd name="connsiteY113" fmla="*/ 4632213 h 6346734"/>
                <a:gd name="connsiteX114" fmla="*/ 65205 w 6305378"/>
                <a:gd name="connsiteY114" fmla="*/ 4587094 h 6346734"/>
                <a:gd name="connsiteX115" fmla="*/ 80507 w 6305378"/>
                <a:gd name="connsiteY115" fmla="*/ 4526936 h 6346734"/>
                <a:gd name="connsiteX116" fmla="*/ 97509 w 6305378"/>
                <a:gd name="connsiteY116" fmla="*/ 4466777 h 6346734"/>
                <a:gd name="connsiteX117" fmla="*/ 116233 w 6305378"/>
                <a:gd name="connsiteY117" fmla="*/ 4421658 h 6346734"/>
                <a:gd name="connsiteX118" fmla="*/ 136704 w 6305378"/>
                <a:gd name="connsiteY118" fmla="*/ 4361500 h 6346734"/>
                <a:gd name="connsiteX119" fmla="*/ 158943 w 6305378"/>
                <a:gd name="connsiteY119" fmla="*/ 4301341 h 6346734"/>
                <a:gd name="connsiteX120" fmla="*/ 182977 w 6305378"/>
                <a:gd name="connsiteY120" fmla="*/ 4256222 h 6346734"/>
                <a:gd name="connsiteX121" fmla="*/ 208829 w 6305378"/>
                <a:gd name="connsiteY121" fmla="*/ 4196063 h 6346734"/>
                <a:gd name="connsiteX122" fmla="*/ 236522 w 6305378"/>
                <a:gd name="connsiteY122" fmla="*/ 4135905 h 6346734"/>
                <a:gd name="connsiteX123" fmla="*/ 266079 w 6305378"/>
                <a:gd name="connsiteY123" fmla="*/ 4075746 h 6346734"/>
                <a:gd name="connsiteX124" fmla="*/ 297525 w 6305378"/>
                <a:gd name="connsiteY124" fmla="*/ 4030627 h 6346734"/>
                <a:gd name="connsiteX125" fmla="*/ 330883 w 6305378"/>
                <a:gd name="connsiteY125" fmla="*/ 3970468 h 6346734"/>
                <a:gd name="connsiteX126" fmla="*/ 366178 w 6305378"/>
                <a:gd name="connsiteY126" fmla="*/ 3910310 h 6346734"/>
                <a:gd name="connsiteX127" fmla="*/ 403432 w 6305378"/>
                <a:gd name="connsiteY127" fmla="*/ 3850151 h 6346734"/>
                <a:gd name="connsiteX128" fmla="*/ 442671 w 6305378"/>
                <a:gd name="connsiteY128" fmla="*/ 3789993 h 6346734"/>
                <a:gd name="connsiteX129" fmla="*/ 483916 w 6305378"/>
                <a:gd name="connsiteY129" fmla="*/ 3744874 h 6346734"/>
                <a:gd name="connsiteX130" fmla="*/ 527192 w 6305378"/>
                <a:gd name="connsiteY130" fmla="*/ 3684715 h 6346734"/>
                <a:gd name="connsiteX131" fmla="*/ 572523 w 6305378"/>
                <a:gd name="connsiteY131" fmla="*/ 3624556 h 6346734"/>
                <a:gd name="connsiteX132" fmla="*/ 619934 w 6305378"/>
                <a:gd name="connsiteY132" fmla="*/ 3564398 h 6346734"/>
                <a:gd name="connsiteX133" fmla="*/ 658360 w 6305378"/>
                <a:gd name="connsiteY133" fmla="*/ 3519279 h 6346734"/>
                <a:gd name="connsiteX134" fmla="*/ 697189 w 6305378"/>
                <a:gd name="connsiteY134" fmla="*/ 3474160 h 6346734"/>
                <a:gd name="connsiteX135" fmla="*/ 736396 w 6305378"/>
                <a:gd name="connsiteY135" fmla="*/ 3429041 h 6346734"/>
                <a:gd name="connsiteX136" fmla="*/ 815850 w 6305378"/>
                <a:gd name="connsiteY136" fmla="*/ 3338803 h 6346734"/>
                <a:gd name="connsiteX137" fmla="*/ 896526 w 6305378"/>
                <a:gd name="connsiteY137" fmla="*/ 3248565 h 6346734"/>
                <a:gd name="connsiteX138" fmla="*/ 937262 w 6305378"/>
                <a:gd name="connsiteY138" fmla="*/ 3203446 h 6346734"/>
                <a:gd name="connsiteX139" fmla="*/ 978231 w 6305378"/>
                <a:gd name="connsiteY139" fmla="*/ 3173367 h 6346734"/>
                <a:gd name="connsiteX140" fmla="*/ 1227575 w 6305378"/>
                <a:gd name="connsiteY140" fmla="*/ 2902653 h 6346734"/>
                <a:gd name="connsiteX141" fmla="*/ 1269496 w 6305378"/>
                <a:gd name="connsiteY141" fmla="*/ 2872575 h 6346734"/>
                <a:gd name="connsiteX142" fmla="*/ 1479194 w 6305378"/>
                <a:gd name="connsiteY142" fmla="*/ 2646979 h 6346734"/>
                <a:gd name="connsiteX143" fmla="*/ 1520984 w 6305378"/>
                <a:gd name="connsiteY143" fmla="*/ 2616901 h 6346734"/>
                <a:gd name="connsiteX144" fmla="*/ 1686834 w 6305378"/>
                <a:gd name="connsiteY144" fmla="*/ 2436424 h 6346734"/>
                <a:gd name="connsiteX145" fmla="*/ 1727849 w 6305378"/>
                <a:gd name="connsiteY145" fmla="*/ 2391304 h 6346734"/>
                <a:gd name="connsiteX146" fmla="*/ 1768636 w 6305378"/>
                <a:gd name="connsiteY146" fmla="*/ 2361225 h 6346734"/>
                <a:gd name="connsiteX147" fmla="*/ 1849428 w 6305378"/>
                <a:gd name="connsiteY147" fmla="*/ 2270987 h 6346734"/>
                <a:gd name="connsiteX148" fmla="*/ 1889386 w 6305378"/>
                <a:gd name="connsiteY148" fmla="*/ 2225869 h 6346734"/>
                <a:gd name="connsiteX149" fmla="*/ 1944722 w 6305378"/>
                <a:gd name="connsiteY149" fmla="*/ 2165710 h 6346734"/>
                <a:gd name="connsiteX150" fmla="*/ 1998242 w 6305378"/>
                <a:gd name="connsiteY150" fmla="*/ 2105551 h 6346734"/>
                <a:gd name="connsiteX151" fmla="*/ 2049979 w 6305378"/>
                <a:gd name="connsiteY151" fmla="*/ 2045393 h 6346734"/>
                <a:gd name="connsiteX152" fmla="*/ 2099973 w 6305378"/>
                <a:gd name="connsiteY152" fmla="*/ 1985234 h 6346734"/>
                <a:gd name="connsiteX153" fmla="*/ 2148259 w 6305378"/>
                <a:gd name="connsiteY153" fmla="*/ 1925075 h 6346734"/>
                <a:gd name="connsiteX154" fmla="*/ 2194873 w 6305378"/>
                <a:gd name="connsiteY154" fmla="*/ 1879956 h 6346734"/>
                <a:gd name="connsiteX155" fmla="*/ 2239851 w 6305378"/>
                <a:gd name="connsiteY155" fmla="*/ 1819798 h 6346734"/>
                <a:gd name="connsiteX156" fmla="*/ 2283231 w 6305378"/>
                <a:gd name="connsiteY156" fmla="*/ 1759639 h 6346734"/>
                <a:gd name="connsiteX157" fmla="*/ 2325048 w 6305378"/>
                <a:gd name="connsiteY157" fmla="*/ 1699480 h 6346734"/>
                <a:gd name="connsiteX158" fmla="*/ 2365338 w 6305378"/>
                <a:gd name="connsiteY158" fmla="*/ 1654362 h 6346734"/>
                <a:gd name="connsiteX159" fmla="*/ 2404138 w 6305378"/>
                <a:gd name="connsiteY159" fmla="*/ 1594203 h 6346734"/>
                <a:gd name="connsiteX160" fmla="*/ 2441485 w 6305378"/>
                <a:gd name="connsiteY160" fmla="*/ 1534044 h 6346734"/>
                <a:gd name="connsiteX161" fmla="*/ 2477415 w 6305378"/>
                <a:gd name="connsiteY161" fmla="*/ 1488925 h 6346734"/>
                <a:gd name="connsiteX162" fmla="*/ 2511962 w 6305378"/>
                <a:gd name="connsiteY162" fmla="*/ 1428767 h 6346734"/>
                <a:gd name="connsiteX163" fmla="*/ 2545166 w 6305378"/>
                <a:gd name="connsiteY163" fmla="*/ 1383648 h 6346734"/>
                <a:gd name="connsiteX164" fmla="*/ 2577062 w 6305378"/>
                <a:gd name="connsiteY164" fmla="*/ 1323489 h 6346734"/>
                <a:gd name="connsiteX165" fmla="*/ 2607685 w 6305378"/>
                <a:gd name="connsiteY165" fmla="*/ 1278370 h 6346734"/>
                <a:gd name="connsiteX166" fmla="*/ 2637073 w 6305378"/>
                <a:gd name="connsiteY166" fmla="*/ 1218211 h 6346734"/>
                <a:gd name="connsiteX167" fmla="*/ 2665262 w 6305378"/>
                <a:gd name="connsiteY167" fmla="*/ 1173093 h 6346734"/>
                <a:gd name="connsiteX168" fmla="*/ 2692289 w 6305378"/>
                <a:gd name="connsiteY168" fmla="*/ 1127974 h 6346734"/>
                <a:gd name="connsiteX169" fmla="*/ 2718188 w 6305378"/>
                <a:gd name="connsiteY169" fmla="*/ 1067815 h 6346734"/>
                <a:gd name="connsiteX170" fmla="*/ 2742997 w 6305378"/>
                <a:gd name="connsiteY170" fmla="*/ 1022696 h 6346734"/>
                <a:gd name="connsiteX171" fmla="*/ 2766753 w 6305378"/>
                <a:gd name="connsiteY171" fmla="*/ 977577 h 6346734"/>
                <a:gd name="connsiteX172" fmla="*/ 2789490 w 6305378"/>
                <a:gd name="connsiteY172" fmla="*/ 917418 h 6346734"/>
                <a:gd name="connsiteX173" fmla="*/ 2811247 w 6305378"/>
                <a:gd name="connsiteY173" fmla="*/ 872299 h 6346734"/>
                <a:gd name="connsiteX174" fmla="*/ 2832059 w 6305378"/>
                <a:gd name="connsiteY174" fmla="*/ 827180 h 6346734"/>
                <a:gd name="connsiteX175" fmla="*/ 2851962 w 6305378"/>
                <a:gd name="connsiteY175" fmla="*/ 782062 h 6346734"/>
                <a:gd name="connsiteX176" fmla="*/ 2870994 w 6305378"/>
                <a:gd name="connsiteY176" fmla="*/ 736942 h 6346734"/>
                <a:gd name="connsiteX177" fmla="*/ 2889190 w 6305378"/>
                <a:gd name="connsiteY177" fmla="*/ 676784 h 6346734"/>
                <a:gd name="connsiteX178" fmla="*/ 2906586 w 6305378"/>
                <a:gd name="connsiteY178" fmla="*/ 631665 h 6346734"/>
                <a:gd name="connsiteX179" fmla="*/ 2923220 w 6305378"/>
                <a:gd name="connsiteY179" fmla="*/ 586546 h 6346734"/>
                <a:gd name="connsiteX180" fmla="*/ 2939126 w 6305378"/>
                <a:gd name="connsiteY180" fmla="*/ 541427 h 6346734"/>
                <a:gd name="connsiteX181" fmla="*/ 2954344 w 6305378"/>
                <a:gd name="connsiteY181" fmla="*/ 496308 h 6346734"/>
                <a:gd name="connsiteX182" fmla="*/ 2968906 w 6305378"/>
                <a:gd name="connsiteY182" fmla="*/ 451189 h 6346734"/>
                <a:gd name="connsiteX183" fmla="*/ 2982850 w 6305378"/>
                <a:gd name="connsiteY183" fmla="*/ 406070 h 6346734"/>
                <a:gd name="connsiteX184" fmla="*/ 2996214 w 6305378"/>
                <a:gd name="connsiteY184" fmla="*/ 360952 h 6346734"/>
                <a:gd name="connsiteX185" fmla="*/ 3009032 w 6305378"/>
                <a:gd name="connsiteY185" fmla="*/ 315833 h 6346734"/>
                <a:gd name="connsiteX186" fmla="*/ 3021342 w 6305378"/>
                <a:gd name="connsiteY186" fmla="*/ 270713 h 6346734"/>
                <a:gd name="connsiteX187" fmla="*/ 3033181 w 6305378"/>
                <a:gd name="connsiteY187" fmla="*/ 210554 h 6346734"/>
                <a:gd name="connsiteX188" fmla="*/ 3044582 w 6305378"/>
                <a:gd name="connsiteY188" fmla="*/ 165435 h 6346734"/>
                <a:gd name="connsiteX189" fmla="*/ 3055585 w 6305378"/>
                <a:gd name="connsiteY189" fmla="*/ 120317 h 6346734"/>
                <a:gd name="connsiteX190" fmla="*/ 3064488 w 6305378"/>
                <a:gd name="connsiteY190" fmla="*/ 82562 h 6346734"/>
                <a:gd name="connsiteX191" fmla="*/ 3069987 w 6305378"/>
                <a:gd name="connsiteY191" fmla="*/ 54673 h 6346734"/>
                <a:gd name="connsiteX192" fmla="*/ 3150555 w 6305378"/>
                <a:gd name="connsiteY192" fmla="*/ 0 h 634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6305378" h="6346734">
                  <a:moveTo>
                    <a:pt x="3150555" y="0"/>
                  </a:moveTo>
                  <a:lnTo>
                    <a:pt x="3151814" y="260"/>
                  </a:lnTo>
                  <a:lnTo>
                    <a:pt x="3152417" y="0"/>
                  </a:lnTo>
                  <a:lnTo>
                    <a:pt x="3154102" y="733"/>
                  </a:lnTo>
                  <a:lnTo>
                    <a:pt x="3184589" y="7034"/>
                  </a:lnTo>
                  <a:cubicBezTo>
                    <a:pt x="3205511" y="16094"/>
                    <a:pt x="3222272" y="33254"/>
                    <a:pt x="3231121" y="54673"/>
                  </a:cubicBezTo>
                  <a:lnTo>
                    <a:pt x="3233953" y="69033"/>
                  </a:lnTo>
                  <a:lnTo>
                    <a:pt x="3237872" y="75198"/>
                  </a:lnTo>
                  <a:lnTo>
                    <a:pt x="3248564" y="120317"/>
                  </a:lnTo>
                  <a:lnTo>
                    <a:pt x="3259618" y="165435"/>
                  </a:lnTo>
                  <a:lnTo>
                    <a:pt x="3271070" y="210554"/>
                  </a:lnTo>
                  <a:lnTo>
                    <a:pt x="3282956" y="270713"/>
                  </a:lnTo>
                  <a:lnTo>
                    <a:pt x="3295314" y="315833"/>
                  </a:lnTo>
                  <a:lnTo>
                    <a:pt x="3308178" y="360952"/>
                  </a:lnTo>
                  <a:lnTo>
                    <a:pt x="3321585" y="406070"/>
                  </a:lnTo>
                  <a:lnTo>
                    <a:pt x="3335570" y="451189"/>
                  </a:lnTo>
                  <a:lnTo>
                    <a:pt x="3350173" y="496308"/>
                  </a:lnTo>
                  <a:lnTo>
                    <a:pt x="3365427" y="541427"/>
                  </a:lnTo>
                  <a:lnTo>
                    <a:pt x="3381368" y="586546"/>
                  </a:lnTo>
                  <a:lnTo>
                    <a:pt x="3398035" y="631665"/>
                  </a:lnTo>
                  <a:lnTo>
                    <a:pt x="3415462" y="676784"/>
                  </a:lnTo>
                  <a:lnTo>
                    <a:pt x="3433686" y="736942"/>
                  </a:lnTo>
                  <a:lnTo>
                    <a:pt x="3452742" y="782062"/>
                  </a:lnTo>
                  <a:lnTo>
                    <a:pt x="3472668" y="827180"/>
                  </a:lnTo>
                  <a:lnTo>
                    <a:pt x="3493500" y="872299"/>
                  </a:lnTo>
                  <a:lnTo>
                    <a:pt x="3515274" y="917418"/>
                  </a:lnTo>
                  <a:lnTo>
                    <a:pt x="3538025" y="977577"/>
                  </a:lnTo>
                  <a:lnTo>
                    <a:pt x="3561793" y="1022696"/>
                  </a:lnTo>
                  <a:lnTo>
                    <a:pt x="3586609" y="1067815"/>
                  </a:lnTo>
                  <a:lnTo>
                    <a:pt x="3612513" y="1127974"/>
                  </a:lnTo>
                  <a:lnTo>
                    <a:pt x="3639541" y="1173093"/>
                  </a:lnTo>
                  <a:lnTo>
                    <a:pt x="3667726" y="1218211"/>
                  </a:lnTo>
                  <a:lnTo>
                    <a:pt x="3697109" y="1278370"/>
                  </a:lnTo>
                  <a:lnTo>
                    <a:pt x="3727723" y="1323489"/>
                  </a:lnTo>
                  <a:lnTo>
                    <a:pt x="3759606" y="1383648"/>
                  </a:lnTo>
                  <a:lnTo>
                    <a:pt x="3792792" y="1428767"/>
                  </a:lnTo>
                  <a:lnTo>
                    <a:pt x="3827320" y="1488925"/>
                  </a:lnTo>
                  <a:lnTo>
                    <a:pt x="3863224" y="1534044"/>
                  </a:lnTo>
                  <a:lnTo>
                    <a:pt x="3900543" y="1594203"/>
                  </a:lnTo>
                  <a:lnTo>
                    <a:pt x="3939310" y="1654362"/>
                  </a:lnTo>
                  <a:lnTo>
                    <a:pt x="3979563" y="1699480"/>
                  </a:lnTo>
                  <a:lnTo>
                    <a:pt x="4021337" y="1759639"/>
                  </a:lnTo>
                  <a:lnTo>
                    <a:pt x="4064670" y="1819798"/>
                  </a:lnTo>
                  <a:lnTo>
                    <a:pt x="4109599" y="1879956"/>
                  </a:lnTo>
                  <a:lnTo>
                    <a:pt x="4156157" y="1925075"/>
                  </a:lnTo>
                  <a:lnTo>
                    <a:pt x="4204383" y="1985234"/>
                  </a:lnTo>
                  <a:lnTo>
                    <a:pt x="4254311" y="2045393"/>
                  </a:lnTo>
                  <a:lnTo>
                    <a:pt x="4305980" y="2105551"/>
                  </a:lnTo>
                  <a:lnTo>
                    <a:pt x="4359424" y="2165710"/>
                  </a:lnTo>
                  <a:lnTo>
                    <a:pt x="4414680" y="2225869"/>
                  </a:lnTo>
                  <a:lnTo>
                    <a:pt x="4454642" y="2270987"/>
                  </a:lnTo>
                  <a:lnTo>
                    <a:pt x="4535455" y="2361225"/>
                  </a:lnTo>
                  <a:lnTo>
                    <a:pt x="4576258" y="2391304"/>
                  </a:lnTo>
                  <a:lnTo>
                    <a:pt x="4617293" y="2436424"/>
                  </a:lnTo>
                  <a:lnTo>
                    <a:pt x="4783257" y="2616901"/>
                  </a:lnTo>
                  <a:lnTo>
                    <a:pt x="4825083" y="2646979"/>
                  </a:lnTo>
                  <a:lnTo>
                    <a:pt x="5034993" y="2872575"/>
                  </a:lnTo>
                  <a:lnTo>
                    <a:pt x="5076959" y="2902653"/>
                  </a:lnTo>
                  <a:lnTo>
                    <a:pt x="5326600" y="3173367"/>
                  </a:lnTo>
                  <a:lnTo>
                    <a:pt x="5367619" y="3203446"/>
                  </a:lnTo>
                  <a:lnTo>
                    <a:pt x="5408404" y="3248565"/>
                  </a:lnTo>
                  <a:lnTo>
                    <a:pt x="5489175" y="3338803"/>
                  </a:lnTo>
                  <a:lnTo>
                    <a:pt x="5568719" y="3429041"/>
                  </a:lnTo>
                  <a:lnTo>
                    <a:pt x="5607969" y="3474160"/>
                  </a:lnTo>
                  <a:lnTo>
                    <a:pt x="5646840" y="3519279"/>
                  </a:lnTo>
                  <a:lnTo>
                    <a:pt x="5685305" y="3564398"/>
                  </a:lnTo>
                  <a:lnTo>
                    <a:pt x="5732684" y="3624556"/>
                  </a:lnTo>
                  <a:lnTo>
                    <a:pt x="5777985" y="3684715"/>
                  </a:lnTo>
                  <a:lnTo>
                    <a:pt x="5821233" y="3744874"/>
                  </a:lnTo>
                  <a:lnTo>
                    <a:pt x="5862451" y="3789993"/>
                  </a:lnTo>
                  <a:lnTo>
                    <a:pt x="5901662" y="3850151"/>
                  </a:lnTo>
                  <a:lnTo>
                    <a:pt x="5938892" y="3910310"/>
                  </a:lnTo>
                  <a:lnTo>
                    <a:pt x="5974163" y="3970468"/>
                  </a:lnTo>
                  <a:lnTo>
                    <a:pt x="6007497" y="4030627"/>
                  </a:lnTo>
                  <a:lnTo>
                    <a:pt x="6038922" y="4075746"/>
                  </a:lnTo>
                  <a:lnTo>
                    <a:pt x="6068459" y="4135905"/>
                  </a:lnTo>
                  <a:lnTo>
                    <a:pt x="6096132" y="4196063"/>
                  </a:lnTo>
                  <a:lnTo>
                    <a:pt x="6121966" y="4256222"/>
                  </a:lnTo>
                  <a:lnTo>
                    <a:pt x="6145982" y="4301341"/>
                  </a:lnTo>
                  <a:lnTo>
                    <a:pt x="6168206" y="4361500"/>
                  </a:lnTo>
                  <a:lnTo>
                    <a:pt x="6188662" y="4421658"/>
                  </a:lnTo>
                  <a:lnTo>
                    <a:pt x="6207372" y="4466777"/>
                  </a:lnTo>
                  <a:lnTo>
                    <a:pt x="6224361" y="4526936"/>
                  </a:lnTo>
                  <a:lnTo>
                    <a:pt x="6239653" y="4587094"/>
                  </a:lnTo>
                  <a:lnTo>
                    <a:pt x="6253270" y="4632213"/>
                  </a:lnTo>
                  <a:lnTo>
                    <a:pt x="6265237" y="4692372"/>
                  </a:lnTo>
                  <a:lnTo>
                    <a:pt x="6275577" y="4737491"/>
                  </a:lnTo>
                  <a:lnTo>
                    <a:pt x="6284316" y="4797650"/>
                  </a:lnTo>
                  <a:lnTo>
                    <a:pt x="6291474" y="4842769"/>
                  </a:lnTo>
                  <a:lnTo>
                    <a:pt x="6297077" y="4902927"/>
                  </a:lnTo>
                  <a:lnTo>
                    <a:pt x="6301150" y="4948046"/>
                  </a:lnTo>
                  <a:lnTo>
                    <a:pt x="6303713" y="4993165"/>
                  </a:lnTo>
                  <a:lnTo>
                    <a:pt x="6304793" y="5053324"/>
                  </a:lnTo>
                  <a:lnTo>
                    <a:pt x="6304413" y="5098443"/>
                  </a:lnTo>
                  <a:lnTo>
                    <a:pt x="6303211" y="5128297"/>
                  </a:lnTo>
                  <a:lnTo>
                    <a:pt x="6305378" y="5172237"/>
                  </a:lnTo>
                  <a:cubicBezTo>
                    <a:pt x="6305378" y="5820894"/>
                    <a:pt x="5791761" y="6346734"/>
                    <a:pt x="5158182" y="6346734"/>
                  </a:cubicBezTo>
                  <a:lnTo>
                    <a:pt x="5158181" y="6346734"/>
                  </a:lnTo>
                  <a:lnTo>
                    <a:pt x="5158181" y="6346734"/>
                  </a:lnTo>
                  <a:lnTo>
                    <a:pt x="1149255" y="6346734"/>
                  </a:lnTo>
                  <a:lnTo>
                    <a:pt x="1149255" y="6346628"/>
                  </a:lnTo>
                  <a:lnTo>
                    <a:pt x="1147196" y="6346734"/>
                  </a:lnTo>
                  <a:cubicBezTo>
                    <a:pt x="513617" y="6346734"/>
                    <a:pt x="0" y="5820894"/>
                    <a:pt x="0" y="5172237"/>
                  </a:cubicBezTo>
                  <a:lnTo>
                    <a:pt x="1843" y="5134874"/>
                  </a:lnTo>
                  <a:lnTo>
                    <a:pt x="378" y="5098443"/>
                  </a:lnTo>
                  <a:lnTo>
                    <a:pt x="0" y="5053324"/>
                  </a:lnTo>
                  <a:lnTo>
                    <a:pt x="1083" y="4993165"/>
                  </a:lnTo>
                  <a:lnTo>
                    <a:pt x="3651" y="4948046"/>
                  </a:lnTo>
                  <a:lnTo>
                    <a:pt x="7728" y="4902927"/>
                  </a:lnTo>
                  <a:lnTo>
                    <a:pt x="13338" y="4842769"/>
                  </a:lnTo>
                  <a:lnTo>
                    <a:pt x="20504" y="4797650"/>
                  </a:lnTo>
                  <a:lnTo>
                    <a:pt x="29249" y="4737491"/>
                  </a:lnTo>
                  <a:lnTo>
                    <a:pt x="39600" y="4692372"/>
                  </a:lnTo>
                  <a:lnTo>
                    <a:pt x="51577" y="4632213"/>
                  </a:lnTo>
                  <a:lnTo>
                    <a:pt x="65205" y="4587094"/>
                  </a:lnTo>
                  <a:lnTo>
                    <a:pt x="80507" y="4526936"/>
                  </a:lnTo>
                  <a:lnTo>
                    <a:pt x="97509" y="4466777"/>
                  </a:lnTo>
                  <a:lnTo>
                    <a:pt x="116233" y="4421658"/>
                  </a:lnTo>
                  <a:lnTo>
                    <a:pt x="136704" y="4361500"/>
                  </a:lnTo>
                  <a:lnTo>
                    <a:pt x="158943" y="4301341"/>
                  </a:lnTo>
                  <a:lnTo>
                    <a:pt x="182977" y="4256222"/>
                  </a:lnTo>
                  <a:lnTo>
                    <a:pt x="208829" y="4196063"/>
                  </a:lnTo>
                  <a:lnTo>
                    <a:pt x="236522" y="4135905"/>
                  </a:lnTo>
                  <a:lnTo>
                    <a:pt x="266079" y="4075746"/>
                  </a:lnTo>
                  <a:lnTo>
                    <a:pt x="297525" y="4030627"/>
                  </a:lnTo>
                  <a:lnTo>
                    <a:pt x="330883" y="3970468"/>
                  </a:lnTo>
                  <a:lnTo>
                    <a:pt x="366178" y="3910310"/>
                  </a:lnTo>
                  <a:lnTo>
                    <a:pt x="403432" y="3850151"/>
                  </a:lnTo>
                  <a:lnTo>
                    <a:pt x="442671" y="3789993"/>
                  </a:lnTo>
                  <a:lnTo>
                    <a:pt x="483916" y="3744874"/>
                  </a:lnTo>
                  <a:lnTo>
                    <a:pt x="527192" y="3684715"/>
                  </a:lnTo>
                  <a:lnTo>
                    <a:pt x="572523" y="3624556"/>
                  </a:lnTo>
                  <a:lnTo>
                    <a:pt x="619934" y="3564398"/>
                  </a:lnTo>
                  <a:lnTo>
                    <a:pt x="658360" y="3519279"/>
                  </a:lnTo>
                  <a:lnTo>
                    <a:pt x="697189" y="3474160"/>
                  </a:lnTo>
                  <a:lnTo>
                    <a:pt x="736396" y="3429041"/>
                  </a:lnTo>
                  <a:lnTo>
                    <a:pt x="815850" y="3338803"/>
                  </a:lnTo>
                  <a:lnTo>
                    <a:pt x="896526" y="3248565"/>
                  </a:lnTo>
                  <a:lnTo>
                    <a:pt x="937262" y="3203446"/>
                  </a:lnTo>
                  <a:lnTo>
                    <a:pt x="978231" y="3173367"/>
                  </a:lnTo>
                  <a:lnTo>
                    <a:pt x="1227575" y="2902653"/>
                  </a:lnTo>
                  <a:lnTo>
                    <a:pt x="1269496" y="2872575"/>
                  </a:lnTo>
                  <a:lnTo>
                    <a:pt x="1479194" y="2646979"/>
                  </a:lnTo>
                  <a:lnTo>
                    <a:pt x="1520984" y="2616901"/>
                  </a:lnTo>
                  <a:lnTo>
                    <a:pt x="1686834" y="2436424"/>
                  </a:lnTo>
                  <a:lnTo>
                    <a:pt x="1727849" y="2391304"/>
                  </a:lnTo>
                  <a:lnTo>
                    <a:pt x="1768636" y="2361225"/>
                  </a:lnTo>
                  <a:lnTo>
                    <a:pt x="1849428" y="2270987"/>
                  </a:lnTo>
                  <a:lnTo>
                    <a:pt x="1889386" y="2225869"/>
                  </a:lnTo>
                  <a:lnTo>
                    <a:pt x="1944722" y="2165710"/>
                  </a:lnTo>
                  <a:lnTo>
                    <a:pt x="1998242" y="2105551"/>
                  </a:lnTo>
                  <a:lnTo>
                    <a:pt x="2049979" y="2045393"/>
                  </a:lnTo>
                  <a:lnTo>
                    <a:pt x="2099973" y="1985234"/>
                  </a:lnTo>
                  <a:lnTo>
                    <a:pt x="2148259" y="1925075"/>
                  </a:lnTo>
                  <a:lnTo>
                    <a:pt x="2194873" y="1879956"/>
                  </a:lnTo>
                  <a:lnTo>
                    <a:pt x="2239851" y="1819798"/>
                  </a:lnTo>
                  <a:lnTo>
                    <a:pt x="2283231" y="1759639"/>
                  </a:lnTo>
                  <a:lnTo>
                    <a:pt x="2325048" y="1699480"/>
                  </a:lnTo>
                  <a:lnTo>
                    <a:pt x="2365338" y="1654362"/>
                  </a:lnTo>
                  <a:lnTo>
                    <a:pt x="2404138" y="1594203"/>
                  </a:lnTo>
                  <a:lnTo>
                    <a:pt x="2441485" y="1534044"/>
                  </a:lnTo>
                  <a:lnTo>
                    <a:pt x="2477415" y="1488925"/>
                  </a:lnTo>
                  <a:lnTo>
                    <a:pt x="2511962" y="1428767"/>
                  </a:lnTo>
                  <a:lnTo>
                    <a:pt x="2545166" y="1383648"/>
                  </a:lnTo>
                  <a:lnTo>
                    <a:pt x="2577062" y="1323489"/>
                  </a:lnTo>
                  <a:lnTo>
                    <a:pt x="2607685" y="1278370"/>
                  </a:lnTo>
                  <a:lnTo>
                    <a:pt x="2637073" y="1218211"/>
                  </a:lnTo>
                  <a:lnTo>
                    <a:pt x="2665262" y="1173093"/>
                  </a:lnTo>
                  <a:lnTo>
                    <a:pt x="2692289" y="1127974"/>
                  </a:lnTo>
                  <a:lnTo>
                    <a:pt x="2718188" y="1067815"/>
                  </a:lnTo>
                  <a:lnTo>
                    <a:pt x="2742997" y="1022696"/>
                  </a:lnTo>
                  <a:lnTo>
                    <a:pt x="2766753" y="977577"/>
                  </a:lnTo>
                  <a:lnTo>
                    <a:pt x="2789490" y="917418"/>
                  </a:lnTo>
                  <a:lnTo>
                    <a:pt x="2811247" y="872299"/>
                  </a:lnTo>
                  <a:lnTo>
                    <a:pt x="2832059" y="827180"/>
                  </a:lnTo>
                  <a:lnTo>
                    <a:pt x="2851962" y="782062"/>
                  </a:lnTo>
                  <a:lnTo>
                    <a:pt x="2870994" y="736942"/>
                  </a:lnTo>
                  <a:lnTo>
                    <a:pt x="2889190" y="676784"/>
                  </a:lnTo>
                  <a:lnTo>
                    <a:pt x="2906586" y="631665"/>
                  </a:lnTo>
                  <a:lnTo>
                    <a:pt x="2923220" y="586546"/>
                  </a:lnTo>
                  <a:lnTo>
                    <a:pt x="2939126" y="541427"/>
                  </a:lnTo>
                  <a:lnTo>
                    <a:pt x="2954344" y="496308"/>
                  </a:lnTo>
                  <a:lnTo>
                    <a:pt x="2968906" y="451189"/>
                  </a:lnTo>
                  <a:lnTo>
                    <a:pt x="2982850" y="406070"/>
                  </a:lnTo>
                  <a:lnTo>
                    <a:pt x="2996214" y="360952"/>
                  </a:lnTo>
                  <a:lnTo>
                    <a:pt x="3009032" y="315833"/>
                  </a:lnTo>
                  <a:lnTo>
                    <a:pt x="3021342" y="270713"/>
                  </a:lnTo>
                  <a:lnTo>
                    <a:pt x="3033181" y="210554"/>
                  </a:lnTo>
                  <a:lnTo>
                    <a:pt x="3044582" y="165435"/>
                  </a:lnTo>
                  <a:lnTo>
                    <a:pt x="3055585" y="120317"/>
                  </a:lnTo>
                  <a:lnTo>
                    <a:pt x="3064488" y="82562"/>
                  </a:lnTo>
                  <a:lnTo>
                    <a:pt x="3069987" y="54673"/>
                  </a:lnTo>
                  <a:cubicBezTo>
                    <a:pt x="3083261" y="22544"/>
                    <a:pt x="3114336" y="0"/>
                    <a:pt x="3150555" y="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362786648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06" r:id="rId38"/>
    <p:sldLayoutId id="2147483707" r:id="rId39"/>
    <p:sldLayoutId id="2147483708" r:id="rId40"/>
    <p:sldLayoutId id="2147483709" r:id="rId41"/>
    <p:sldLayoutId id="2147483710" r:id="rId42"/>
    <p:sldLayoutId id="2147483711" r:id="rId43"/>
    <p:sldLayoutId id="2147483712" r:id="rId44"/>
    <p:sldLayoutId id="2147483713" r:id="rId45"/>
    <p:sldLayoutId id="2147483714" r:id="rId46"/>
    <p:sldLayoutId id="2147483715" r:id="rId47"/>
    <p:sldLayoutId id="2147483716" r:id="rId48"/>
    <p:sldLayoutId id="2147483717" r:id="rId49"/>
    <p:sldLayoutId id="2147483718" r:id="rId50"/>
    <p:sldLayoutId id="2147483719" r:id="rId51"/>
    <p:sldLayoutId id="2147483720" r:id="rId52"/>
    <p:sldLayoutId id="2147483721" r:id="rId53"/>
    <p:sldLayoutId id="2147483722" r:id="rId54"/>
    <p:sldLayoutId id="2147483724" r:id="rId55"/>
  </p:sldLayoutIdLst>
  <p:hf hdr="0" dt="0"/>
  <p:txStyles>
    <p:titleStyle>
      <a:lvl1pPr algn="l" defTabSz="457189" rtl="0" eaLnBrk="1" latinLnBrk="0" hangingPunct="1">
        <a:spcBef>
          <a:spcPct val="0"/>
        </a:spcBef>
        <a:buNone/>
        <a:defRPr sz="2800" b="1" kern="1200">
          <a:solidFill>
            <a:schemeClr val="tx2"/>
          </a:solidFill>
          <a:latin typeface="+mj-lt"/>
          <a:ea typeface="+mj-ea"/>
          <a:cs typeface="Arial"/>
        </a:defRPr>
      </a:lvl1pPr>
    </p:titleStyle>
    <p:bodyStyle>
      <a:lvl1pPr marL="228594" indent="-228594" algn="l" defTabSz="457189" rtl="0" eaLnBrk="1" latinLnBrk="0" hangingPunct="1">
        <a:spcBef>
          <a:spcPts val="0"/>
        </a:spcBef>
        <a:spcAft>
          <a:spcPts val="600"/>
        </a:spcAft>
        <a:buClr>
          <a:schemeClr val="bg2"/>
        </a:buClr>
        <a:buSzPct val="100000"/>
        <a:buFont typeface="Arial"/>
        <a:buChar char="•"/>
        <a:defRPr sz="2200" kern="1200" baseline="0">
          <a:solidFill>
            <a:srgbClr val="000000"/>
          </a:solidFill>
          <a:latin typeface="+mn-lt"/>
          <a:ea typeface="+mn-ea"/>
          <a:cs typeface="Arial"/>
        </a:defRPr>
      </a:lvl1pPr>
      <a:lvl2pPr marL="457189" indent="-228594" algn="l" defTabSz="457189" rtl="0" eaLnBrk="1" latinLnBrk="0" hangingPunct="1">
        <a:spcBef>
          <a:spcPts val="0"/>
        </a:spcBef>
        <a:spcAft>
          <a:spcPts val="600"/>
        </a:spcAft>
        <a:buClr>
          <a:schemeClr val="bg2"/>
        </a:buClr>
        <a:buSzPct val="100000"/>
        <a:buFont typeface=".AppleSystemUIFont" charset="-120"/>
        <a:buChar char="-"/>
        <a:defRPr sz="2000" kern="1200" baseline="0">
          <a:solidFill>
            <a:srgbClr val="000000"/>
          </a:solidFill>
          <a:latin typeface="+mn-lt"/>
          <a:ea typeface="+mn-ea"/>
          <a:cs typeface="Arial"/>
        </a:defRPr>
      </a:lvl2pPr>
      <a:lvl3pPr marL="685783" indent="-228594" algn="l" defTabSz="457189" rtl="0" eaLnBrk="1" latinLnBrk="0" hangingPunct="1">
        <a:spcBef>
          <a:spcPts val="0"/>
        </a:spcBef>
        <a:spcAft>
          <a:spcPts val="600"/>
        </a:spcAft>
        <a:buClr>
          <a:schemeClr val="bg2"/>
        </a:buClr>
        <a:buSzPct val="100000"/>
        <a:buFont typeface="Arial"/>
        <a:buChar char="•"/>
        <a:defRPr sz="1800" kern="1200" baseline="0">
          <a:solidFill>
            <a:srgbClr val="000000"/>
          </a:solidFill>
          <a:latin typeface="+mn-lt"/>
          <a:ea typeface="+mn-ea"/>
          <a:cs typeface="Arial"/>
        </a:defRPr>
      </a:lvl3pPr>
      <a:lvl4pPr marL="914378" indent="-228594" algn="l" defTabSz="457189" rtl="0" eaLnBrk="1" latinLnBrk="0" hangingPunct="1">
        <a:spcBef>
          <a:spcPts val="0"/>
        </a:spcBef>
        <a:spcAft>
          <a:spcPts val="600"/>
        </a:spcAft>
        <a:buClr>
          <a:schemeClr val="bg2"/>
        </a:buClr>
        <a:buSzPct val="100000"/>
        <a:buFont typeface=".AppleSystemUIFont" charset="-120"/>
        <a:buChar char="-"/>
        <a:defRPr sz="1800" kern="1200" baseline="0">
          <a:solidFill>
            <a:srgbClr val="000000"/>
          </a:solidFill>
          <a:latin typeface="+mn-lt"/>
          <a:ea typeface="+mn-ea"/>
          <a:cs typeface="Arial"/>
        </a:defRPr>
      </a:lvl4pPr>
      <a:lvl5pPr marL="1142972" indent="-228594" algn="l" defTabSz="457189" rtl="0" eaLnBrk="1" latinLnBrk="0" hangingPunct="1">
        <a:spcBef>
          <a:spcPts val="0"/>
        </a:spcBef>
        <a:spcAft>
          <a:spcPts val="600"/>
        </a:spcAft>
        <a:buClr>
          <a:schemeClr val="bg2"/>
        </a:buClr>
        <a:buSzPct val="100000"/>
        <a:buFont typeface="Arial"/>
        <a:buChar char="•"/>
        <a:defRPr sz="1800" kern="1200" baseline="0">
          <a:solidFill>
            <a:srgbClr val="000000"/>
          </a:solidFill>
          <a:latin typeface="+mn-lt"/>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EC1529-7781-EBA5-0191-75F731A7FD25}"/>
              </a:ext>
            </a:extLst>
          </p:cNvPr>
          <p:cNvGraphicFramePr>
            <a:graphicFrameLocks noChangeAspect="1"/>
          </p:cNvGraphicFramePr>
          <p:nvPr>
            <p:custDataLst>
              <p:tags r:id="rId22"/>
            </p:custDataLst>
            <p:extLst>
              <p:ext uri="{D42A27DB-BD31-4B8C-83A1-F6EECF244321}">
                <p14:modId xmlns:p14="http://schemas.microsoft.com/office/powerpoint/2010/main" val="403153229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3" imgW="498" imgH="499" progId="TCLayout.ActiveDocument.1">
                  <p:embed/>
                </p:oleObj>
              </mc:Choice>
              <mc:Fallback>
                <p:oleObj name="think-cell Slide" r:id="rId23" imgW="498" imgH="499" progId="TCLayout.ActiveDocument.1">
                  <p:embed/>
                  <p:pic>
                    <p:nvPicPr>
                      <p:cNvPr id="5" name="Object 4" hidden="1">
                        <a:extLst>
                          <a:ext uri="{FF2B5EF4-FFF2-40B4-BE49-F238E27FC236}">
                            <a16:creationId xmlns:a16="http://schemas.microsoft.com/office/drawing/2014/main" id="{8CEC1529-7781-EBA5-0191-75F731A7FD25}"/>
                          </a:ext>
                        </a:extLst>
                      </p:cNvPr>
                      <p:cNvPicPr/>
                      <p:nvPr/>
                    </p:nvPicPr>
                    <p:blipFill>
                      <a:blip r:embed="rId24"/>
                      <a:stretch>
                        <a:fillRect/>
                      </a:stretch>
                    </p:blipFill>
                    <p:spPr>
                      <a:xfrm>
                        <a:off x="1587" y="1588"/>
                        <a:ext cx="158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FFD36EB-AF2A-4899-83FB-0AB17F603DC1}"/>
              </a:ext>
            </a:extLst>
          </p:cNvPr>
          <p:cNvSpPr>
            <a:spLocks noGrp="1"/>
          </p:cNvSpPr>
          <p:nvPr>
            <p:ph type="title"/>
          </p:nvPr>
        </p:nvSpPr>
        <p:spPr>
          <a:xfrm>
            <a:off x="365126" y="365125"/>
            <a:ext cx="11460162" cy="455189"/>
          </a:xfrm>
          <a:prstGeom prst="rect">
            <a:avLst/>
          </a:prstGeom>
        </p:spPr>
        <p:txBody>
          <a:bodyPr vert="horz" wrap="square" lIns="0" tIns="0" rIns="0" bIns="0" rtlCol="0" anchor="t">
            <a:no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46A07007-0373-461F-99FD-D8D6BFCA0AB9}"/>
              </a:ext>
            </a:extLst>
          </p:cNvPr>
          <p:cNvSpPr>
            <a:spLocks noGrp="1"/>
          </p:cNvSpPr>
          <p:nvPr>
            <p:ph type="body" idx="1"/>
          </p:nvPr>
        </p:nvSpPr>
        <p:spPr>
          <a:xfrm>
            <a:off x="365125" y="1120775"/>
            <a:ext cx="11460163" cy="48627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pic>
        <p:nvPicPr>
          <p:cNvPr id="4" name="Graphic 3">
            <a:extLst>
              <a:ext uri="{FF2B5EF4-FFF2-40B4-BE49-F238E27FC236}">
                <a16:creationId xmlns:a16="http://schemas.microsoft.com/office/drawing/2014/main" id="{68EA12A5-68A2-7DF8-E9F2-40DD3A79C827}"/>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65125" y="6116638"/>
            <a:ext cx="1349375" cy="381000"/>
          </a:xfrm>
          <a:prstGeom prst="rect">
            <a:avLst/>
          </a:prstGeom>
        </p:spPr>
      </p:pic>
      <p:sp>
        <p:nvSpPr>
          <p:cNvPr id="8" name="Slide Number Placeholder 5">
            <a:extLst>
              <a:ext uri="{FF2B5EF4-FFF2-40B4-BE49-F238E27FC236}">
                <a16:creationId xmlns:a16="http://schemas.microsoft.com/office/drawing/2014/main" id="{D0A62466-A8CC-6B33-1F6D-D147C21FFF77}"/>
              </a:ext>
            </a:extLst>
          </p:cNvPr>
          <p:cNvSpPr>
            <a:spLocks noGrp="1"/>
          </p:cNvSpPr>
          <p:nvPr>
            <p:ph type="sldNum" sz="quarter" idx="4"/>
          </p:nvPr>
        </p:nvSpPr>
        <p:spPr>
          <a:xfrm>
            <a:off x="11195050" y="6328076"/>
            <a:ext cx="630238" cy="169277"/>
          </a:xfrm>
          <a:prstGeom prst="rect">
            <a:avLst/>
          </a:prstGeom>
        </p:spPr>
        <p:txBody>
          <a:bodyPr vert="horz" wrap="square" lIns="0" tIns="0" rIns="0" bIns="0" rtlCol="0" anchor="ctr">
            <a:spAutoFit/>
          </a:bodyPr>
          <a:lstStyle>
            <a:lvl1pPr algn="r">
              <a:defRPr sz="1098" b="1" i="0">
                <a:solidFill>
                  <a:schemeClr val="tx1"/>
                </a:solidFill>
                <a:latin typeface="Gazpacho Light" pitchFamily="2" charset="77"/>
              </a:defRPr>
            </a:lvl1pPr>
          </a:lstStyle>
          <a:p>
            <a:fld id="{1C897F9F-178E-40FE-BBF0-CD11DAF3CBDC}" type="slidenum">
              <a:rPr lang="en-IN" smtClean="0"/>
              <a:pPr/>
              <a:t>‹#›</a:t>
            </a:fld>
            <a:endParaRPr lang="en-IN"/>
          </a:p>
        </p:txBody>
      </p:sp>
      <p:sp>
        <p:nvSpPr>
          <p:cNvPr id="6" name="Footer Placeholder 5">
            <a:extLst>
              <a:ext uri="{FF2B5EF4-FFF2-40B4-BE49-F238E27FC236}">
                <a16:creationId xmlns:a16="http://schemas.microsoft.com/office/drawing/2014/main" id="{47A602C3-4712-28EF-A68E-D0EB5906FD37}"/>
              </a:ext>
            </a:extLst>
          </p:cNvPr>
          <p:cNvSpPr>
            <a:spLocks noGrp="1"/>
          </p:cNvSpPr>
          <p:nvPr>
            <p:ph type="ftr" sz="quarter" idx="3"/>
          </p:nvPr>
        </p:nvSpPr>
        <p:spPr>
          <a:xfrm>
            <a:off x="1871596" y="6328076"/>
            <a:ext cx="9188885" cy="169277"/>
          </a:xfrm>
          <a:prstGeom prst="rect">
            <a:avLst/>
          </a:prstGeom>
        </p:spPr>
        <p:txBody>
          <a:bodyPr vert="horz" lIns="0" tIns="0" rIns="0" bIns="0" rtlCol="0" anchor="ctr"/>
          <a:lstStyle>
            <a:lvl1pPr algn="l">
              <a:defRPr sz="1000">
                <a:solidFill>
                  <a:schemeClr val="tx1">
                    <a:tint val="75000"/>
                  </a:schemeClr>
                </a:solidFill>
              </a:defRPr>
            </a:lvl1pPr>
          </a:lstStyle>
          <a:p>
            <a:r>
              <a:rPr lang="en-US"/>
              <a:t>To add a footer: Insert tab &gt; Header &amp; Footer &gt; Select Footer &gt; Apply</a:t>
            </a:r>
          </a:p>
        </p:txBody>
      </p:sp>
      <p:pic>
        <p:nvPicPr>
          <p:cNvPr id="7" name="Graphic 6">
            <a:extLst>
              <a:ext uri="{FF2B5EF4-FFF2-40B4-BE49-F238E27FC236}">
                <a16:creationId xmlns:a16="http://schemas.microsoft.com/office/drawing/2014/main" id="{F76D6AC4-8EE3-85A2-3606-B2E4A5C4909C}"/>
              </a:ext>
            </a:extLst>
          </p:cNvPr>
          <p:cNvPicPr>
            <a:picLocks noChangeAspect="1"/>
          </p:cNvPicPr>
          <p:nvPr userDrawn="1"/>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365125" y="6116638"/>
            <a:ext cx="1349375" cy="381000"/>
          </a:xfrm>
          <a:prstGeom prst="rect">
            <a:avLst/>
          </a:prstGeom>
        </p:spPr>
      </p:pic>
    </p:spTree>
    <p:extLst>
      <p:ext uri="{BB962C8B-B14F-4D97-AF65-F5344CB8AC3E}">
        <p14:creationId xmlns:p14="http://schemas.microsoft.com/office/powerpoint/2010/main" val="110289697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algn="l" defTabSz="913486" rtl="0" eaLnBrk="1" latinLnBrk="0" hangingPunct="1">
        <a:lnSpc>
          <a:spcPct val="90000"/>
        </a:lnSpc>
        <a:spcBef>
          <a:spcPct val="0"/>
        </a:spcBef>
        <a:buNone/>
        <a:defRPr lang="en-IN" sz="3196" b="1" i="0" kern="1200" dirty="0">
          <a:solidFill>
            <a:schemeClr val="tx1"/>
          </a:solidFill>
          <a:latin typeface="Gazpacho Light" pitchFamily="2" charset="77"/>
          <a:ea typeface="+mj-ea"/>
          <a:cs typeface="+mj-cs"/>
        </a:defRPr>
      </a:lvl1pPr>
    </p:titleStyle>
    <p:bodyStyle>
      <a:lvl1pPr marL="228372" indent="-228372" algn="l" defTabSz="913486" rtl="0" eaLnBrk="1" latinLnBrk="0" hangingPunct="1">
        <a:lnSpc>
          <a:spcPct val="90000"/>
        </a:lnSpc>
        <a:spcBef>
          <a:spcPts val="999"/>
        </a:spcBef>
        <a:buFont typeface="Arial" panose="020B0604020202020204" pitchFamily="34" charset="0"/>
        <a:buChar char="•"/>
        <a:defRPr sz="1999" b="0" i="0" kern="1200">
          <a:solidFill>
            <a:schemeClr val="tx1"/>
          </a:solidFill>
          <a:latin typeface="TT Norms Pro" panose="02000503030000020003" pitchFamily="2" charset="0"/>
          <a:ea typeface="+mn-ea"/>
          <a:cs typeface="+mn-cs"/>
        </a:defRPr>
      </a:lvl1pPr>
      <a:lvl2pPr marL="685114" indent="-228372" algn="l" defTabSz="913486" rtl="0" eaLnBrk="1" latinLnBrk="0" hangingPunct="1">
        <a:lnSpc>
          <a:spcPct val="90000"/>
        </a:lnSpc>
        <a:spcBef>
          <a:spcPts val="500"/>
        </a:spcBef>
        <a:buFont typeface="Arial" panose="020B0604020202020204" pitchFamily="34" charset="0"/>
        <a:buChar char="•"/>
        <a:defRPr sz="1799" b="0" i="0" kern="1200">
          <a:solidFill>
            <a:schemeClr val="tx1"/>
          </a:solidFill>
          <a:latin typeface="TT Norms Pro" panose="02000503030000020003" pitchFamily="2" charset="0"/>
          <a:ea typeface="+mn-ea"/>
          <a:cs typeface="+mn-cs"/>
        </a:defRPr>
      </a:lvl2pPr>
      <a:lvl3pPr marL="1141858" indent="-228372" algn="l" defTabSz="913486" rtl="0" eaLnBrk="1" latinLnBrk="0" hangingPunct="1">
        <a:lnSpc>
          <a:spcPct val="90000"/>
        </a:lnSpc>
        <a:spcBef>
          <a:spcPts val="500"/>
        </a:spcBef>
        <a:buFont typeface="Arial" panose="020B0604020202020204" pitchFamily="34" charset="0"/>
        <a:buChar char="•"/>
        <a:defRPr sz="1599" b="0" i="0" kern="1200">
          <a:solidFill>
            <a:schemeClr val="tx1"/>
          </a:solidFill>
          <a:latin typeface="TT Norms Pro" panose="02000503030000020003" pitchFamily="2" charset="0"/>
          <a:ea typeface="+mn-ea"/>
          <a:cs typeface="+mn-cs"/>
        </a:defRPr>
      </a:lvl3pPr>
      <a:lvl4pPr marL="1598600" indent="-228372" algn="l" defTabSz="913486" rtl="0" eaLnBrk="1" latinLnBrk="0" hangingPunct="1">
        <a:lnSpc>
          <a:spcPct val="90000"/>
        </a:lnSpc>
        <a:spcBef>
          <a:spcPts val="500"/>
        </a:spcBef>
        <a:buFont typeface="Arial" panose="020B0604020202020204" pitchFamily="34" charset="0"/>
        <a:buChar char="•"/>
        <a:defRPr sz="1399" b="0" i="0" kern="1200">
          <a:solidFill>
            <a:schemeClr val="tx1"/>
          </a:solidFill>
          <a:latin typeface="TT Norms Pro" panose="02000503030000020003" pitchFamily="2" charset="0"/>
          <a:ea typeface="+mn-ea"/>
          <a:cs typeface="+mn-cs"/>
        </a:defRPr>
      </a:lvl4pPr>
      <a:lvl5pPr marL="2055343" indent="-228372" algn="l" defTabSz="913486" rtl="0" eaLnBrk="1" latinLnBrk="0" hangingPunct="1">
        <a:lnSpc>
          <a:spcPct val="90000"/>
        </a:lnSpc>
        <a:spcBef>
          <a:spcPts val="500"/>
        </a:spcBef>
        <a:buFont typeface="Arial" panose="020B0604020202020204" pitchFamily="34" charset="0"/>
        <a:buChar char="•"/>
        <a:defRPr sz="1399" b="0" i="0" kern="1200">
          <a:solidFill>
            <a:schemeClr val="tx1"/>
          </a:solidFill>
          <a:latin typeface="TT Norms Pro" panose="02000503030000020003" pitchFamily="2" charset="0"/>
          <a:ea typeface="+mn-ea"/>
          <a:cs typeface="+mn-cs"/>
        </a:defRPr>
      </a:lvl5pPr>
      <a:lvl6pPr marL="2512086" indent="-228372"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8829" indent="-228372"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572" indent="-228372"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315" indent="-228372" algn="l" defTabSz="913486"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30">
          <p15:clr>
            <a:srgbClr val="F26BFA"/>
          </p15:clr>
        </p15:guide>
        <p15:guide id="4" pos="7449">
          <p15:clr>
            <a:srgbClr val="F26BFA"/>
          </p15:clr>
        </p15:guide>
        <p15:guide id="7" orient="horz" pos="230">
          <p15:clr>
            <a:srgbClr val="F26BFA"/>
          </p15:clr>
        </p15:guide>
        <p15:guide id="8" orient="horz" pos="4089">
          <p15:clr>
            <a:srgbClr val="F26BFA"/>
          </p15:clr>
        </p15:guide>
        <p15:guide id="11" orient="horz" pos="3768">
          <p15:clr>
            <a:srgbClr val="FDE53C"/>
          </p15:clr>
        </p15:guide>
        <p15:guide id="12" orient="horz" pos="696">
          <p15:clr>
            <a:srgbClr val="FDE53C"/>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6.gif"/><Relationship Id="rId3" Type="http://schemas.openxmlformats.org/officeDocument/2006/relationships/notesSlide" Target="../notesSlides/notesSlide1.xml"/><Relationship Id="rId7" Type="http://schemas.openxmlformats.org/officeDocument/2006/relationships/image" Target="../media/image75.png"/><Relationship Id="rId12" Type="http://schemas.openxmlformats.org/officeDocument/2006/relationships/image" Target="../media/image80.jpe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74.png"/><Relationship Id="rId11" Type="http://schemas.openxmlformats.org/officeDocument/2006/relationships/image" Target="../media/image79.png"/><Relationship Id="rId5" Type="http://schemas.openxmlformats.org/officeDocument/2006/relationships/image" Target="../media/image8.emf"/><Relationship Id="rId10" Type="http://schemas.openxmlformats.org/officeDocument/2006/relationships/image" Target="../media/image78.png"/><Relationship Id="rId4" Type="http://schemas.openxmlformats.org/officeDocument/2006/relationships/oleObject" Target="../embeddings/oleObject5.bin"/><Relationship Id="rId9" Type="http://schemas.openxmlformats.org/officeDocument/2006/relationships/image" Target="../media/image77.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80.xml"/><Relationship Id="rId1" Type="http://schemas.openxmlformats.org/officeDocument/2006/relationships/tags" Target="../tags/tag7.xml"/><Relationship Id="rId5" Type="http://schemas.openxmlformats.org/officeDocument/2006/relationships/image" Target="../media/image81.png"/><Relationship Id="rId4" Type="http://schemas.openxmlformats.org/officeDocument/2006/relationships/image" Target="../media/image7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7.xml"/><Relationship Id="rId1" Type="http://schemas.openxmlformats.org/officeDocument/2006/relationships/tags" Target="../tags/tag8.xml"/><Relationship Id="rId6" Type="http://schemas.openxmlformats.org/officeDocument/2006/relationships/image" Target="../media/image82.png"/><Relationship Id="rId5" Type="http://schemas.openxmlformats.org/officeDocument/2006/relationships/image" Target="../media/image73.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jpeg"/><Relationship Id="rId18" Type="http://schemas.openxmlformats.org/officeDocument/2006/relationships/image" Target="../media/image96.png"/><Relationship Id="rId26" Type="http://schemas.openxmlformats.org/officeDocument/2006/relationships/image" Target="../media/image104.jpeg"/><Relationship Id="rId3" Type="http://schemas.openxmlformats.org/officeDocument/2006/relationships/oleObject" Target="../embeddings/oleObject8.bin"/><Relationship Id="rId21" Type="http://schemas.openxmlformats.org/officeDocument/2006/relationships/image" Target="../media/image99.jpeg"/><Relationship Id="rId7" Type="http://schemas.openxmlformats.org/officeDocument/2006/relationships/image" Target="../media/image85.jpeg"/><Relationship Id="rId12" Type="http://schemas.openxmlformats.org/officeDocument/2006/relationships/image" Target="../media/image90.png"/><Relationship Id="rId17" Type="http://schemas.openxmlformats.org/officeDocument/2006/relationships/image" Target="../media/image95.png"/><Relationship Id="rId25" Type="http://schemas.openxmlformats.org/officeDocument/2006/relationships/image" Target="../media/image103.jpeg"/><Relationship Id="rId2" Type="http://schemas.openxmlformats.org/officeDocument/2006/relationships/slideLayout" Target="../slideLayouts/slideLayout80.xml"/><Relationship Id="rId16" Type="http://schemas.openxmlformats.org/officeDocument/2006/relationships/image" Target="../media/image94.png"/><Relationship Id="rId20" Type="http://schemas.openxmlformats.org/officeDocument/2006/relationships/image" Target="../media/image98.jpeg"/><Relationship Id="rId29" Type="http://schemas.openxmlformats.org/officeDocument/2006/relationships/image" Target="../media/image107.jpeg"/><Relationship Id="rId1" Type="http://schemas.openxmlformats.org/officeDocument/2006/relationships/tags" Target="../tags/tag9.xml"/><Relationship Id="rId6" Type="http://schemas.openxmlformats.org/officeDocument/2006/relationships/image" Target="../media/image84.png"/><Relationship Id="rId11" Type="http://schemas.openxmlformats.org/officeDocument/2006/relationships/image" Target="../media/image89.jpeg"/><Relationship Id="rId24" Type="http://schemas.openxmlformats.org/officeDocument/2006/relationships/image" Target="../media/image102.jpeg"/><Relationship Id="rId5" Type="http://schemas.openxmlformats.org/officeDocument/2006/relationships/image" Target="../media/image83.tiff"/><Relationship Id="rId15" Type="http://schemas.openxmlformats.org/officeDocument/2006/relationships/image" Target="../media/image93.png"/><Relationship Id="rId23" Type="http://schemas.openxmlformats.org/officeDocument/2006/relationships/image" Target="../media/image101.jpeg"/><Relationship Id="rId28" Type="http://schemas.openxmlformats.org/officeDocument/2006/relationships/image" Target="../media/image106.jpeg"/><Relationship Id="rId10" Type="http://schemas.openxmlformats.org/officeDocument/2006/relationships/image" Target="../media/image88.png"/><Relationship Id="rId19" Type="http://schemas.openxmlformats.org/officeDocument/2006/relationships/image" Target="../media/image97.png"/><Relationship Id="rId4" Type="http://schemas.openxmlformats.org/officeDocument/2006/relationships/image" Target="../media/image73.emf"/><Relationship Id="rId9" Type="http://schemas.openxmlformats.org/officeDocument/2006/relationships/image" Target="../media/image87.svg"/><Relationship Id="rId14" Type="http://schemas.openxmlformats.org/officeDocument/2006/relationships/image" Target="../media/image92.png"/><Relationship Id="rId22" Type="http://schemas.openxmlformats.org/officeDocument/2006/relationships/image" Target="../media/image100.jpeg"/><Relationship Id="rId27" Type="http://schemas.openxmlformats.org/officeDocument/2006/relationships/image" Target="../media/image105.jpeg"/><Relationship Id="rId30" Type="http://schemas.openxmlformats.org/officeDocument/2006/relationships/image" Target="../media/image108.jpeg"/></Relationships>
</file>

<file path=ppt/slides/_rels/slide5.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notesSlide" Target="../notesSlides/notesSlide3.xml"/><Relationship Id="rId7" Type="http://schemas.openxmlformats.org/officeDocument/2006/relationships/image" Target="../media/image110.jpeg"/><Relationship Id="rId2" Type="http://schemas.openxmlformats.org/officeDocument/2006/relationships/slideLayout" Target="../slideLayouts/slideLayout71.xml"/><Relationship Id="rId1" Type="http://schemas.openxmlformats.org/officeDocument/2006/relationships/tags" Target="../tags/tag10.xml"/><Relationship Id="rId6" Type="http://schemas.openxmlformats.org/officeDocument/2006/relationships/image" Target="../media/image109.png"/><Relationship Id="rId5" Type="http://schemas.openxmlformats.org/officeDocument/2006/relationships/image" Target="../media/image73.emf"/><Relationship Id="rId4" Type="http://schemas.openxmlformats.org/officeDocument/2006/relationships/oleObject" Target="../embeddings/oleObject9.bin"/><Relationship Id="rId9" Type="http://schemas.openxmlformats.org/officeDocument/2006/relationships/image" Target="../media/image112.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80.xml"/><Relationship Id="rId1" Type="http://schemas.openxmlformats.org/officeDocument/2006/relationships/tags" Target="../tags/tag11.xml"/><Relationship Id="rId6" Type="http://schemas.openxmlformats.org/officeDocument/2006/relationships/image" Target="../media/image114.jpeg"/><Relationship Id="rId5" Type="http://schemas.openxmlformats.org/officeDocument/2006/relationships/image" Target="../media/image113.jpeg"/><Relationship Id="rId4" Type="http://schemas.openxmlformats.org/officeDocument/2006/relationships/image" Target="../media/image73.emf"/></Relationships>
</file>

<file path=ppt/slides/_rels/slide7.xml.rels><?xml version="1.0" encoding="UTF-8" standalone="yes"?>
<Relationships xmlns="http://schemas.openxmlformats.org/package/2006/relationships"><Relationship Id="rId8" Type="http://schemas.openxmlformats.org/officeDocument/2006/relationships/image" Target="../media/image118.jpeg"/><Relationship Id="rId3" Type="http://schemas.openxmlformats.org/officeDocument/2006/relationships/oleObject" Target="../embeddings/oleObject11.bin"/><Relationship Id="rId7" Type="http://schemas.openxmlformats.org/officeDocument/2006/relationships/image" Target="../media/image117.png"/><Relationship Id="rId2" Type="http://schemas.openxmlformats.org/officeDocument/2006/relationships/slideLayout" Target="../slideLayouts/slideLayout80.xml"/><Relationship Id="rId1" Type="http://schemas.openxmlformats.org/officeDocument/2006/relationships/tags" Target="../tags/tag12.xml"/><Relationship Id="rId6" Type="http://schemas.openxmlformats.org/officeDocument/2006/relationships/image" Target="../media/image116.png"/><Relationship Id="rId5" Type="http://schemas.openxmlformats.org/officeDocument/2006/relationships/image" Target="../media/image115.png"/><Relationship Id="rId10" Type="http://schemas.openxmlformats.org/officeDocument/2006/relationships/image" Target="../media/image119.png"/><Relationship Id="rId4" Type="http://schemas.openxmlformats.org/officeDocument/2006/relationships/image" Target="../media/image73.emf"/><Relationship Id="rId9" Type="http://schemas.openxmlformats.org/officeDocument/2006/relationships/image" Target="../media/image110.jpeg"/></Relationships>
</file>

<file path=ppt/slides/_rels/slide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oleObject" Target="../embeddings/oleObject12.bin"/><Relationship Id="rId7" Type="http://schemas.openxmlformats.org/officeDocument/2006/relationships/image" Target="../media/image122.png"/><Relationship Id="rId2" Type="http://schemas.openxmlformats.org/officeDocument/2006/relationships/slideLayout" Target="../slideLayouts/slideLayout80.xml"/><Relationship Id="rId1" Type="http://schemas.openxmlformats.org/officeDocument/2006/relationships/tags" Target="../tags/tag13.xml"/><Relationship Id="rId6" Type="http://schemas.openxmlformats.org/officeDocument/2006/relationships/image" Target="../media/image121.png"/><Relationship Id="rId5" Type="http://schemas.openxmlformats.org/officeDocument/2006/relationships/image" Target="../media/image120.png"/><Relationship Id="rId10" Type="http://schemas.openxmlformats.org/officeDocument/2006/relationships/image" Target="../media/image81.png"/><Relationship Id="rId4" Type="http://schemas.openxmlformats.org/officeDocument/2006/relationships/image" Target="../media/image73.emf"/><Relationship Id="rId9" Type="http://schemas.openxmlformats.org/officeDocument/2006/relationships/image" Target="../media/image1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3D220D-D77C-2EFD-BF03-869FF7AA3BA8}"/>
              </a:ext>
            </a:extLst>
          </p:cNvPr>
          <p:cNvGraphicFramePr>
            <a:graphicFrameLocks noChangeAspect="1"/>
          </p:cNvGraphicFramePr>
          <p:nvPr>
            <p:custDataLst>
              <p:tags r:id="rId1"/>
            </p:custDataLst>
            <p:extLst>
              <p:ext uri="{D42A27DB-BD31-4B8C-83A1-F6EECF244321}">
                <p14:modId xmlns:p14="http://schemas.microsoft.com/office/powerpoint/2010/main" val="2420718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353D220D-D77C-2EFD-BF03-869FF7AA3B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8493452-43B1-B19B-C94C-1FEC2EFEB6B5}"/>
              </a:ext>
            </a:extLst>
          </p:cNvPr>
          <p:cNvSpPr/>
          <p:nvPr/>
        </p:nvSpPr>
        <p:spPr>
          <a:xfrm>
            <a:off x="0" y="0"/>
            <a:ext cx="12192000" cy="6858000"/>
          </a:xfrm>
          <a:prstGeom prst="rect">
            <a:avLst/>
          </a:prstGeom>
          <a:solidFill>
            <a:srgbClr val="FEF0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Rounded Corners 55">
            <a:extLst>
              <a:ext uri="{FF2B5EF4-FFF2-40B4-BE49-F238E27FC236}">
                <a16:creationId xmlns:a16="http://schemas.microsoft.com/office/drawing/2014/main" id="{D0D0E161-5B99-3307-4BE0-BE1DF43B938B}"/>
              </a:ext>
            </a:extLst>
          </p:cNvPr>
          <p:cNvSpPr/>
          <p:nvPr/>
        </p:nvSpPr>
        <p:spPr>
          <a:xfrm>
            <a:off x="11397941" y="6172200"/>
            <a:ext cx="540800" cy="569487"/>
          </a:xfrm>
          <a:prstGeom prst="roundRect">
            <a:avLst>
              <a:gd name="adj" fmla="val 14316"/>
            </a:avLst>
          </a:prstGeom>
          <a:solidFill>
            <a:srgbClr val="FEF0D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0" name="Table 10">
            <a:extLst>
              <a:ext uri="{FF2B5EF4-FFF2-40B4-BE49-F238E27FC236}">
                <a16:creationId xmlns:a16="http://schemas.microsoft.com/office/drawing/2014/main" id="{51F76287-9D6C-679B-7F09-91D798E11DDC}"/>
              </a:ext>
            </a:extLst>
          </p:cNvPr>
          <p:cNvGraphicFramePr>
            <a:graphicFrameLocks noGrp="1"/>
          </p:cNvGraphicFramePr>
          <p:nvPr>
            <p:extLst>
              <p:ext uri="{D42A27DB-BD31-4B8C-83A1-F6EECF244321}">
                <p14:modId xmlns:p14="http://schemas.microsoft.com/office/powerpoint/2010/main" val="1279266289"/>
              </p:ext>
            </p:extLst>
          </p:nvPr>
        </p:nvGraphicFramePr>
        <p:xfrm>
          <a:off x="2225963" y="1734661"/>
          <a:ext cx="9582912" cy="1493520"/>
        </p:xfrm>
        <a:graphic>
          <a:graphicData uri="http://schemas.openxmlformats.org/drawingml/2006/table">
            <a:tbl>
              <a:tblPr bandRow="1">
                <a:tableStyleId>{5C22544A-7EE6-4342-B048-85BDC9FD1C3A}</a:tableStyleId>
              </a:tblPr>
              <a:tblGrid>
                <a:gridCol w="1197864">
                  <a:extLst>
                    <a:ext uri="{9D8B030D-6E8A-4147-A177-3AD203B41FA5}">
                      <a16:colId xmlns:a16="http://schemas.microsoft.com/office/drawing/2014/main" val="3599220281"/>
                    </a:ext>
                  </a:extLst>
                </a:gridCol>
                <a:gridCol w="1197864">
                  <a:extLst>
                    <a:ext uri="{9D8B030D-6E8A-4147-A177-3AD203B41FA5}">
                      <a16:colId xmlns:a16="http://schemas.microsoft.com/office/drawing/2014/main" val="2534907730"/>
                    </a:ext>
                  </a:extLst>
                </a:gridCol>
                <a:gridCol w="1197864">
                  <a:extLst>
                    <a:ext uri="{9D8B030D-6E8A-4147-A177-3AD203B41FA5}">
                      <a16:colId xmlns:a16="http://schemas.microsoft.com/office/drawing/2014/main" val="124249198"/>
                    </a:ext>
                  </a:extLst>
                </a:gridCol>
                <a:gridCol w="1197864">
                  <a:extLst>
                    <a:ext uri="{9D8B030D-6E8A-4147-A177-3AD203B41FA5}">
                      <a16:colId xmlns:a16="http://schemas.microsoft.com/office/drawing/2014/main" val="4186351785"/>
                    </a:ext>
                  </a:extLst>
                </a:gridCol>
                <a:gridCol w="1197864">
                  <a:extLst>
                    <a:ext uri="{9D8B030D-6E8A-4147-A177-3AD203B41FA5}">
                      <a16:colId xmlns:a16="http://schemas.microsoft.com/office/drawing/2014/main" val="449509104"/>
                    </a:ext>
                  </a:extLst>
                </a:gridCol>
                <a:gridCol w="1197864">
                  <a:extLst>
                    <a:ext uri="{9D8B030D-6E8A-4147-A177-3AD203B41FA5}">
                      <a16:colId xmlns:a16="http://schemas.microsoft.com/office/drawing/2014/main" val="1850250644"/>
                    </a:ext>
                  </a:extLst>
                </a:gridCol>
                <a:gridCol w="1197864">
                  <a:extLst>
                    <a:ext uri="{9D8B030D-6E8A-4147-A177-3AD203B41FA5}">
                      <a16:colId xmlns:a16="http://schemas.microsoft.com/office/drawing/2014/main" val="914635320"/>
                    </a:ext>
                  </a:extLst>
                </a:gridCol>
                <a:gridCol w="1197864">
                  <a:extLst>
                    <a:ext uri="{9D8B030D-6E8A-4147-A177-3AD203B41FA5}">
                      <a16:colId xmlns:a16="http://schemas.microsoft.com/office/drawing/2014/main" val="388445319"/>
                    </a:ext>
                  </a:extLst>
                </a:gridCol>
              </a:tblGrid>
              <a:tr h="274320">
                <a:tc>
                  <a:txBody>
                    <a:bodyPr/>
                    <a:lstStyle/>
                    <a:p>
                      <a:pPr algn="ctr"/>
                      <a:r>
                        <a:rPr lang="en-US" sz="1400" b="1" dirty="0">
                          <a:solidFill>
                            <a:srgbClr val="FEF0DC"/>
                          </a:solidFill>
                        </a:rPr>
                        <a:t>2003</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b="1" dirty="0">
                          <a:solidFill>
                            <a:srgbClr val="FEF0DC"/>
                          </a:solidFill>
                        </a:rPr>
                        <a:t>2004-2005</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b="1" dirty="0">
                          <a:solidFill>
                            <a:srgbClr val="FEF0DC"/>
                          </a:solidFill>
                        </a:rPr>
                        <a:t>2005-2006</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b="1" dirty="0">
                          <a:solidFill>
                            <a:srgbClr val="FEF0DC"/>
                          </a:solidFill>
                        </a:rPr>
                        <a:t>2006-2008</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b="1" dirty="0">
                          <a:solidFill>
                            <a:srgbClr val="FEF0DC"/>
                          </a:solidFill>
                        </a:rPr>
                        <a:t>2008-2009</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b="1" dirty="0">
                          <a:solidFill>
                            <a:srgbClr val="FEF0DC"/>
                          </a:solidFill>
                        </a:rPr>
                        <a:t>201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b="1" dirty="0">
                          <a:solidFill>
                            <a:srgbClr val="FEF0DC"/>
                          </a:solidFill>
                        </a:rPr>
                        <a:t>2010-2015</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400" b="1" dirty="0">
                          <a:solidFill>
                            <a:srgbClr val="FEF0DC"/>
                          </a:solidFill>
                        </a:rPr>
                        <a:t>2015-2016</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484367419"/>
                  </a:ext>
                </a:extLst>
              </a:tr>
              <a:tr h="1188720">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7606191"/>
                  </a:ext>
                </a:extLst>
              </a:tr>
            </a:tbl>
          </a:graphicData>
        </a:graphic>
      </p:graphicFrame>
      <p:sp>
        <p:nvSpPr>
          <p:cNvPr id="2" name="Title 1">
            <a:extLst>
              <a:ext uri="{FF2B5EF4-FFF2-40B4-BE49-F238E27FC236}">
                <a16:creationId xmlns:a16="http://schemas.microsoft.com/office/drawing/2014/main" id="{D1937392-E140-DC84-BAAD-1549DCBBCC53}"/>
              </a:ext>
            </a:extLst>
          </p:cNvPr>
          <p:cNvSpPr>
            <a:spLocks noGrp="1"/>
          </p:cNvSpPr>
          <p:nvPr>
            <p:ph type="title"/>
          </p:nvPr>
        </p:nvSpPr>
        <p:spPr/>
        <p:txBody>
          <a:bodyPr vert="horz"/>
          <a:lstStyle/>
          <a:p>
            <a:r>
              <a:rPr lang="en-US" dirty="0"/>
              <a:t>Brian Gouldsbury, Senior Manager, European &amp; WTR Supply Chains</a:t>
            </a:r>
          </a:p>
        </p:txBody>
      </p:sp>
      <p:grpSp>
        <p:nvGrpSpPr>
          <p:cNvPr id="30" name="Group 29">
            <a:extLst>
              <a:ext uri="{FF2B5EF4-FFF2-40B4-BE49-F238E27FC236}">
                <a16:creationId xmlns:a16="http://schemas.microsoft.com/office/drawing/2014/main" id="{C4A24F3E-77B7-0E71-CB6E-1947EFE16C39}"/>
              </a:ext>
            </a:extLst>
          </p:cNvPr>
          <p:cNvGrpSpPr/>
          <p:nvPr/>
        </p:nvGrpSpPr>
        <p:grpSpPr>
          <a:xfrm>
            <a:off x="3351509" y="2077367"/>
            <a:ext cx="1332631" cy="1209658"/>
            <a:chOff x="3392495" y="2077367"/>
            <a:chExt cx="1332631" cy="1209658"/>
          </a:xfrm>
        </p:grpSpPr>
        <p:sp>
          <p:nvSpPr>
            <p:cNvPr id="12" name="TextBox 11">
              <a:extLst>
                <a:ext uri="{FF2B5EF4-FFF2-40B4-BE49-F238E27FC236}">
                  <a16:creationId xmlns:a16="http://schemas.microsoft.com/office/drawing/2014/main" id="{E1F2FA83-D187-D8C1-6D43-8AA9F1A4B6A2}"/>
                </a:ext>
              </a:extLst>
            </p:cNvPr>
            <p:cNvSpPr txBox="1"/>
            <p:nvPr/>
          </p:nvSpPr>
          <p:spPr>
            <a:xfrm>
              <a:off x="3392495" y="2763805"/>
              <a:ext cx="1332631"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rPr>
                <a:t>AOS</a:t>
              </a:r>
              <a:endParaRPr lang="en-US" sz="1400" b="1" dirty="0">
                <a:solidFill>
                  <a:prstClr val="black"/>
                </a:solidFill>
                <a:latin typeface="Calibri"/>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rPr>
                <a:t>Culinary Arts</a:t>
              </a:r>
            </a:p>
          </p:txBody>
        </p:sp>
        <p:pic>
          <p:nvPicPr>
            <p:cNvPr id="37" name="Picture 4" descr="The Culinary Institute of America - Wikipedia">
              <a:extLst>
                <a:ext uri="{FF2B5EF4-FFF2-40B4-BE49-F238E27FC236}">
                  <a16:creationId xmlns:a16="http://schemas.microsoft.com/office/drawing/2014/main" id="{A08CCB68-436B-0600-45CF-0C1D8359CF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85642" y="2077367"/>
              <a:ext cx="746337" cy="653726"/>
            </a:xfrm>
            <a:prstGeom prst="rect">
              <a:avLst/>
            </a:prstGeom>
            <a:noFill/>
            <a:extLst>
              <a:ext uri="{909E8E84-426E-40DD-AFC4-6F175D3DCCD1}">
                <a14:hiddenFill xmlns:a14="http://schemas.microsoft.com/office/drawing/2010/main">
                  <a:solidFill>
                    <a:srgbClr val="FFFFFF"/>
                  </a:solidFill>
                </a14:hiddenFill>
              </a:ext>
            </a:extLst>
          </p:spPr>
        </p:pic>
      </p:grpSp>
      <p:pic>
        <p:nvPicPr>
          <p:cNvPr id="43" name="Picture 2">
            <a:extLst>
              <a:ext uri="{FF2B5EF4-FFF2-40B4-BE49-F238E27FC236}">
                <a16:creationId xmlns:a16="http://schemas.microsoft.com/office/drawing/2014/main" id="{1FF6B97C-35A5-FBDB-15E5-4F0A2A335DC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2778"/>
          <a:stretch/>
        </p:blipFill>
        <p:spPr bwMode="auto">
          <a:xfrm>
            <a:off x="466425" y="1423972"/>
            <a:ext cx="1571542" cy="1804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Rounded Corners 6">
            <a:extLst>
              <a:ext uri="{FF2B5EF4-FFF2-40B4-BE49-F238E27FC236}">
                <a16:creationId xmlns:a16="http://schemas.microsoft.com/office/drawing/2014/main" id="{338B0504-0933-84E4-0EE5-DC359318D291}"/>
              </a:ext>
            </a:extLst>
          </p:cNvPr>
          <p:cNvSpPr/>
          <p:nvPr/>
        </p:nvSpPr>
        <p:spPr>
          <a:xfrm>
            <a:off x="2225964" y="1423972"/>
            <a:ext cx="9615516" cy="24781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EF0DC"/>
                </a:solidFill>
              </a:rPr>
              <a:t>Educational Journey</a:t>
            </a:r>
          </a:p>
        </p:txBody>
      </p:sp>
      <p:grpSp>
        <p:nvGrpSpPr>
          <p:cNvPr id="32" name="Group 31">
            <a:extLst>
              <a:ext uri="{FF2B5EF4-FFF2-40B4-BE49-F238E27FC236}">
                <a16:creationId xmlns:a16="http://schemas.microsoft.com/office/drawing/2014/main" id="{553BA717-E712-D56F-2FD5-F44794EC3F60}"/>
              </a:ext>
            </a:extLst>
          </p:cNvPr>
          <p:cNvGrpSpPr/>
          <p:nvPr/>
        </p:nvGrpSpPr>
        <p:grpSpPr>
          <a:xfrm>
            <a:off x="5747450" y="2125851"/>
            <a:ext cx="1332631" cy="1161174"/>
            <a:chOff x="5778622" y="2125851"/>
            <a:chExt cx="1332631" cy="1161174"/>
          </a:xfrm>
        </p:grpSpPr>
        <p:pic>
          <p:nvPicPr>
            <p:cNvPr id="38" name="Picture 6" descr="Cornell University College of Human Ecology History of Home ...">
              <a:extLst>
                <a:ext uri="{FF2B5EF4-FFF2-40B4-BE49-F238E27FC236}">
                  <a16:creationId xmlns:a16="http://schemas.microsoft.com/office/drawing/2014/main" id="{DDAF9A54-257A-AAB5-A263-3B8CD739014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58761" y="2125851"/>
              <a:ext cx="572353" cy="55675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93229972-1B16-A861-A940-9C4F76DD36D0}"/>
                </a:ext>
              </a:extLst>
            </p:cNvPr>
            <p:cNvSpPr txBox="1"/>
            <p:nvPr/>
          </p:nvSpPr>
          <p:spPr>
            <a:xfrm>
              <a:off x="5778622" y="2763805"/>
              <a:ext cx="1332631"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rPr>
                <a:t>BS</a:t>
              </a:r>
              <a:endParaRPr lang="en-US" sz="1400" b="1" dirty="0">
                <a:solidFill>
                  <a:prstClr val="black"/>
                </a:solidFill>
                <a:latin typeface="Calibri"/>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rPr>
                <a:t>Food Science</a:t>
              </a:r>
            </a:p>
          </p:txBody>
        </p:sp>
      </p:grpSp>
      <p:grpSp>
        <p:nvGrpSpPr>
          <p:cNvPr id="33" name="Group 32">
            <a:extLst>
              <a:ext uri="{FF2B5EF4-FFF2-40B4-BE49-F238E27FC236}">
                <a16:creationId xmlns:a16="http://schemas.microsoft.com/office/drawing/2014/main" id="{8D5981F3-E211-2751-A128-7E2AA99EDF14}"/>
              </a:ext>
            </a:extLst>
          </p:cNvPr>
          <p:cNvGrpSpPr/>
          <p:nvPr/>
        </p:nvGrpSpPr>
        <p:grpSpPr>
          <a:xfrm>
            <a:off x="6951348" y="2209186"/>
            <a:ext cx="1332631" cy="1077839"/>
            <a:chOff x="6963470" y="2209186"/>
            <a:chExt cx="1332631" cy="1077839"/>
          </a:xfrm>
        </p:grpSpPr>
        <p:pic>
          <p:nvPicPr>
            <p:cNvPr id="11" name="Picture 10" descr="The Hershey Company">
              <a:extLst>
                <a:ext uri="{FF2B5EF4-FFF2-40B4-BE49-F238E27FC236}">
                  <a16:creationId xmlns:a16="http://schemas.microsoft.com/office/drawing/2014/main" id="{36BFA0AB-A4BA-79A7-2208-108EA675D66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016788" y="2209186"/>
              <a:ext cx="1225994" cy="390089"/>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327EBDD2-F6F1-8F78-8ECA-22D7CBAAABC5}"/>
                </a:ext>
              </a:extLst>
            </p:cNvPr>
            <p:cNvSpPr txBox="1"/>
            <p:nvPr/>
          </p:nvSpPr>
          <p:spPr>
            <a:xfrm>
              <a:off x="6963470" y="2763805"/>
              <a:ext cx="1332631"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Internship</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Gap Year</a:t>
              </a:r>
              <a:endParaRPr kumimoji="0" lang="en-US" sz="1400" b="1" i="0" u="none" strike="noStrike" kern="1200" cap="none" spc="0" normalizeH="0" baseline="0" noProof="0" dirty="0">
                <a:ln>
                  <a:noFill/>
                </a:ln>
                <a:solidFill>
                  <a:prstClr val="black"/>
                </a:solidFill>
                <a:effectLst/>
                <a:uLnTx/>
                <a:uFillTx/>
                <a:latin typeface="Calibri"/>
              </a:endParaRPr>
            </a:p>
          </p:txBody>
        </p:sp>
      </p:grpSp>
      <p:grpSp>
        <p:nvGrpSpPr>
          <p:cNvPr id="40" name="Group 39">
            <a:extLst>
              <a:ext uri="{FF2B5EF4-FFF2-40B4-BE49-F238E27FC236}">
                <a16:creationId xmlns:a16="http://schemas.microsoft.com/office/drawing/2014/main" id="{7C278881-646A-46A9-347D-C4D31BA9F1B6}"/>
              </a:ext>
            </a:extLst>
          </p:cNvPr>
          <p:cNvGrpSpPr/>
          <p:nvPr/>
        </p:nvGrpSpPr>
        <p:grpSpPr>
          <a:xfrm>
            <a:off x="8156089" y="2125851"/>
            <a:ext cx="1332631" cy="1161174"/>
            <a:chOff x="8174561" y="2125851"/>
            <a:chExt cx="1332631" cy="1161174"/>
          </a:xfrm>
        </p:grpSpPr>
        <p:pic>
          <p:nvPicPr>
            <p:cNvPr id="13" name="Picture 6" descr="Cornell University College of Human Ecology History of Home ...">
              <a:extLst>
                <a:ext uri="{FF2B5EF4-FFF2-40B4-BE49-F238E27FC236}">
                  <a16:creationId xmlns:a16="http://schemas.microsoft.com/office/drawing/2014/main" id="{F1A646EF-04C0-06EE-7ACC-9AE61A99C0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54700" y="2125851"/>
              <a:ext cx="572353" cy="55675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8BDF45C-0261-FCCE-2E79-F2745F865669}"/>
                </a:ext>
              </a:extLst>
            </p:cNvPr>
            <p:cNvSpPr txBox="1"/>
            <p:nvPr/>
          </p:nvSpPr>
          <p:spPr>
            <a:xfrm>
              <a:off x="8174561" y="2763805"/>
              <a:ext cx="1332631"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rPr>
                <a:t>BS</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Food Science</a:t>
              </a:r>
              <a:endParaRPr kumimoji="0" lang="en-US" sz="1400" b="1" i="0" u="none" strike="noStrike" kern="1200" cap="none" spc="0" normalizeH="0" baseline="0" noProof="0" dirty="0">
                <a:ln>
                  <a:noFill/>
                </a:ln>
                <a:solidFill>
                  <a:prstClr val="black"/>
                </a:solidFill>
                <a:effectLst/>
                <a:uLnTx/>
                <a:uFillTx/>
                <a:latin typeface="Calibri"/>
              </a:endParaRPr>
            </a:p>
          </p:txBody>
        </p:sp>
      </p:grpSp>
      <p:grpSp>
        <p:nvGrpSpPr>
          <p:cNvPr id="34" name="Group 33">
            <a:extLst>
              <a:ext uri="{FF2B5EF4-FFF2-40B4-BE49-F238E27FC236}">
                <a16:creationId xmlns:a16="http://schemas.microsoft.com/office/drawing/2014/main" id="{07B46E36-F1BC-83EB-29F2-C159C16DA817}"/>
              </a:ext>
            </a:extLst>
          </p:cNvPr>
          <p:cNvGrpSpPr/>
          <p:nvPr/>
        </p:nvGrpSpPr>
        <p:grpSpPr>
          <a:xfrm>
            <a:off x="10546370" y="2028961"/>
            <a:ext cx="1332631" cy="1142164"/>
            <a:chOff x="10186153" y="2028961"/>
            <a:chExt cx="1332631" cy="1142164"/>
          </a:xfrm>
        </p:grpSpPr>
        <p:pic>
          <p:nvPicPr>
            <p:cNvPr id="39" name="Picture 10" descr="EarthCast Technologies – ECT | Apple, Google &amp; EarthCast ...">
              <a:extLst>
                <a:ext uri="{FF2B5EF4-FFF2-40B4-BE49-F238E27FC236}">
                  <a16:creationId xmlns:a16="http://schemas.microsoft.com/office/drawing/2014/main" id="{13100455-DDA9-5E54-0446-E6107F0A13E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2449" r="21633"/>
            <a:stretch/>
          </p:blipFill>
          <p:spPr bwMode="auto">
            <a:xfrm>
              <a:off x="10537395" y="2028961"/>
              <a:ext cx="630148" cy="750538"/>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E5374585-C214-EA16-C487-88200AF63BFB}"/>
                </a:ext>
              </a:extLst>
            </p:cNvPr>
            <p:cNvSpPr txBox="1"/>
            <p:nvPr/>
          </p:nvSpPr>
          <p:spPr>
            <a:xfrm>
              <a:off x="10186153" y="2863348"/>
              <a:ext cx="1332631"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MBA</a:t>
              </a:r>
              <a:endParaRPr kumimoji="0" lang="en-US" sz="1400" b="1" i="0" u="none" strike="noStrike" kern="1200" cap="none" spc="0" normalizeH="0" baseline="0" noProof="0" dirty="0">
                <a:ln>
                  <a:noFill/>
                </a:ln>
                <a:solidFill>
                  <a:prstClr val="black"/>
                </a:solidFill>
                <a:effectLst/>
                <a:uLnTx/>
                <a:uFillTx/>
                <a:latin typeface="Calibri"/>
              </a:endParaRPr>
            </a:p>
          </p:txBody>
        </p:sp>
      </p:grpSp>
      <p:grpSp>
        <p:nvGrpSpPr>
          <p:cNvPr id="31" name="Group 30">
            <a:extLst>
              <a:ext uri="{FF2B5EF4-FFF2-40B4-BE49-F238E27FC236}">
                <a16:creationId xmlns:a16="http://schemas.microsoft.com/office/drawing/2014/main" id="{635848DE-E54D-18FD-EFEF-3E3A6F845CC3}"/>
              </a:ext>
            </a:extLst>
          </p:cNvPr>
          <p:cNvGrpSpPr/>
          <p:nvPr/>
        </p:nvGrpSpPr>
        <p:grpSpPr>
          <a:xfrm>
            <a:off x="4536766" y="2260586"/>
            <a:ext cx="1373208" cy="1026439"/>
            <a:chOff x="4536766" y="2260586"/>
            <a:chExt cx="1373208" cy="1026439"/>
          </a:xfrm>
        </p:grpSpPr>
        <p:pic>
          <p:nvPicPr>
            <p:cNvPr id="1026" name="Picture 2">
              <a:extLst>
                <a:ext uri="{FF2B5EF4-FFF2-40B4-BE49-F238E27FC236}">
                  <a16:creationId xmlns:a16="http://schemas.microsoft.com/office/drawing/2014/main" id="{306EE5C8-3CC0-AC75-02CF-0D1D865DF2F7}"/>
                </a:ext>
              </a:extLst>
            </p:cNvPr>
            <p:cNvPicPr>
              <a:picLocks noChangeAspect="1" noChangeArrowheads="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t="28748" b="28749"/>
            <a:stretch/>
          </p:blipFill>
          <p:spPr bwMode="auto">
            <a:xfrm>
              <a:off x="4615049" y="2260586"/>
              <a:ext cx="1216643" cy="28728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4ACDE24F-72B1-4E11-965F-21F62522E22A}"/>
                </a:ext>
              </a:extLst>
            </p:cNvPr>
            <p:cNvSpPr txBox="1"/>
            <p:nvPr/>
          </p:nvSpPr>
          <p:spPr>
            <a:xfrm>
              <a:off x="4536766" y="2763805"/>
              <a:ext cx="137320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Calibri"/>
                </a:rPr>
                <a:t>Pre-requisites &amp; gen-ed classes</a:t>
              </a:r>
            </a:p>
          </p:txBody>
        </p:sp>
      </p:grpSp>
      <p:grpSp>
        <p:nvGrpSpPr>
          <p:cNvPr id="28" name="Group 27">
            <a:extLst>
              <a:ext uri="{FF2B5EF4-FFF2-40B4-BE49-F238E27FC236}">
                <a16:creationId xmlns:a16="http://schemas.microsoft.com/office/drawing/2014/main" id="{950B7BE7-106D-D4FF-ED5B-547BAF46B57F}"/>
              </a:ext>
            </a:extLst>
          </p:cNvPr>
          <p:cNvGrpSpPr/>
          <p:nvPr/>
        </p:nvGrpSpPr>
        <p:grpSpPr>
          <a:xfrm>
            <a:off x="2161183" y="2033982"/>
            <a:ext cx="1332631" cy="1253043"/>
            <a:chOff x="2133475" y="2033982"/>
            <a:chExt cx="1332631" cy="1253043"/>
          </a:xfrm>
        </p:grpSpPr>
        <p:pic>
          <p:nvPicPr>
            <p:cNvPr id="1028" name="Picture 4" descr="House of 2023 / House of 2023">
              <a:extLst>
                <a:ext uri="{FF2B5EF4-FFF2-40B4-BE49-F238E27FC236}">
                  <a16:creationId xmlns:a16="http://schemas.microsoft.com/office/drawing/2014/main" id="{57818458-54D6-F809-0CBB-31D5F57ACA16}"/>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26621" y="2033982"/>
              <a:ext cx="746338" cy="74049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E657D9E7-2408-1D02-DEA0-01E0C39A4D67}"/>
                </a:ext>
              </a:extLst>
            </p:cNvPr>
            <p:cNvSpPr txBox="1"/>
            <p:nvPr/>
          </p:nvSpPr>
          <p:spPr>
            <a:xfrm>
              <a:off x="2133475" y="2763805"/>
              <a:ext cx="1332631"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rPr>
                <a:t>High School Diploma</a:t>
              </a:r>
            </a:p>
          </p:txBody>
        </p:sp>
      </p:grpSp>
      <p:grpSp>
        <p:nvGrpSpPr>
          <p:cNvPr id="41" name="Group 40">
            <a:extLst>
              <a:ext uri="{FF2B5EF4-FFF2-40B4-BE49-F238E27FC236}">
                <a16:creationId xmlns:a16="http://schemas.microsoft.com/office/drawing/2014/main" id="{6B3A7970-D3C1-9441-CF28-2723969E1402}"/>
              </a:ext>
            </a:extLst>
          </p:cNvPr>
          <p:cNvGrpSpPr/>
          <p:nvPr/>
        </p:nvGrpSpPr>
        <p:grpSpPr>
          <a:xfrm>
            <a:off x="9350923" y="2209186"/>
            <a:ext cx="1332631" cy="1077839"/>
            <a:chOff x="6963470" y="2209186"/>
            <a:chExt cx="1332631" cy="1077839"/>
          </a:xfrm>
        </p:grpSpPr>
        <p:pic>
          <p:nvPicPr>
            <p:cNvPr id="42" name="Picture 41" descr="The Hershey Company">
              <a:extLst>
                <a:ext uri="{FF2B5EF4-FFF2-40B4-BE49-F238E27FC236}">
                  <a16:creationId xmlns:a16="http://schemas.microsoft.com/office/drawing/2014/main" id="{C5671AB9-077F-49D0-9826-1DCF7670E869}"/>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rcRect/>
            <a:stretch>
              <a:fillRect/>
            </a:stretch>
          </p:blipFill>
          <p:spPr bwMode="auto">
            <a:xfrm>
              <a:off x="7016788" y="2209186"/>
              <a:ext cx="1225994" cy="390089"/>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0111EDEB-1312-5F68-276F-071D69BE9428}"/>
                </a:ext>
              </a:extLst>
            </p:cNvPr>
            <p:cNvSpPr txBox="1"/>
            <p:nvPr/>
          </p:nvSpPr>
          <p:spPr>
            <a:xfrm>
              <a:off x="6963470" y="2763805"/>
              <a:ext cx="1332631"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lumMod val="75000"/>
                    </a:schemeClr>
                  </a:solidFill>
                  <a:effectLst/>
                  <a:uLnTx/>
                  <a:uFillTx/>
                  <a:latin typeface="Calibri"/>
                </a:rPr>
                <a:t>Full Time Employment</a:t>
              </a:r>
            </a:p>
          </p:txBody>
        </p:sp>
      </p:grpSp>
      <p:grpSp>
        <p:nvGrpSpPr>
          <p:cNvPr id="59" name="Group 58">
            <a:extLst>
              <a:ext uri="{FF2B5EF4-FFF2-40B4-BE49-F238E27FC236}">
                <a16:creationId xmlns:a16="http://schemas.microsoft.com/office/drawing/2014/main" id="{484A0913-CB2A-5091-555A-C2B8C5D78B64}"/>
              </a:ext>
            </a:extLst>
          </p:cNvPr>
          <p:cNvGrpSpPr/>
          <p:nvPr/>
        </p:nvGrpSpPr>
        <p:grpSpPr>
          <a:xfrm>
            <a:off x="447775" y="3529842"/>
            <a:ext cx="11296451" cy="3163584"/>
            <a:chOff x="446632" y="3529842"/>
            <a:chExt cx="11296451" cy="3163584"/>
          </a:xfrm>
        </p:grpSpPr>
        <p:grpSp>
          <p:nvGrpSpPr>
            <p:cNvPr id="58" name="Group 57">
              <a:extLst>
                <a:ext uri="{FF2B5EF4-FFF2-40B4-BE49-F238E27FC236}">
                  <a16:creationId xmlns:a16="http://schemas.microsoft.com/office/drawing/2014/main" id="{96556BD3-AFC3-67B2-DB4A-F6B8791DEC96}"/>
                </a:ext>
              </a:extLst>
            </p:cNvPr>
            <p:cNvGrpSpPr/>
            <p:nvPr/>
          </p:nvGrpSpPr>
          <p:grpSpPr>
            <a:xfrm>
              <a:off x="446632" y="3529842"/>
              <a:ext cx="5329318" cy="3163584"/>
              <a:chOff x="446632" y="3540003"/>
              <a:chExt cx="5329318" cy="3163584"/>
            </a:xfrm>
          </p:grpSpPr>
          <p:sp>
            <p:nvSpPr>
              <p:cNvPr id="50" name="Rectangle: Rounded Corners 49">
                <a:extLst>
                  <a:ext uri="{FF2B5EF4-FFF2-40B4-BE49-F238E27FC236}">
                    <a16:creationId xmlns:a16="http://schemas.microsoft.com/office/drawing/2014/main" id="{AB770862-48AA-142C-C313-B4CB9C97EECA}"/>
                  </a:ext>
                </a:extLst>
              </p:cNvPr>
              <p:cNvSpPr/>
              <p:nvPr/>
            </p:nvSpPr>
            <p:spPr>
              <a:xfrm>
                <a:off x="446632" y="3540003"/>
                <a:ext cx="5329318" cy="3143263"/>
              </a:xfrm>
              <a:prstGeom prst="roundRect">
                <a:avLst>
                  <a:gd name="adj" fmla="val 14316"/>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EF0DC"/>
                  </a:solidFill>
                </a:endParaRPr>
              </a:p>
            </p:txBody>
          </p:sp>
          <p:sp>
            <p:nvSpPr>
              <p:cNvPr id="48" name="Rectangle: Rounded Corners 47">
                <a:extLst>
                  <a:ext uri="{FF2B5EF4-FFF2-40B4-BE49-F238E27FC236}">
                    <a16:creationId xmlns:a16="http://schemas.microsoft.com/office/drawing/2014/main" id="{A6AEF479-0B33-E674-15C9-81336DFA89C5}"/>
                  </a:ext>
                </a:extLst>
              </p:cNvPr>
              <p:cNvSpPr/>
              <p:nvPr/>
            </p:nvSpPr>
            <p:spPr>
              <a:xfrm>
                <a:off x="446632" y="3540003"/>
                <a:ext cx="5329318" cy="4870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EF0DC"/>
                    </a:solidFill>
                  </a:rPr>
                  <a:t>Work Experience Highlights</a:t>
                </a:r>
              </a:p>
            </p:txBody>
          </p:sp>
          <p:sp>
            <p:nvSpPr>
              <p:cNvPr id="51" name="TextBox 50">
                <a:extLst>
                  <a:ext uri="{FF2B5EF4-FFF2-40B4-BE49-F238E27FC236}">
                    <a16:creationId xmlns:a16="http://schemas.microsoft.com/office/drawing/2014/main" id="{6CFB35D7-90FE-D348-B4FF-1089BEF44ABC}"/>
                  </a:ext>
                </a:extLst>
              </p:cNvPr>
              <p:cNvSpPr txBox="1"/>
              <p:nvPr/>
            </p:nvSpPr>
            <p:spPr>
              <a:xfrm>
                <a:off x="470779" y="4118264"/>
                <a:ext cx="5281025" cy="2585323"/>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FEF0DC"/>
                    </a:solidFill>
                  </a:rPr>
                  <a:t>13 years with Hershey</a:t>
                </a:r>
              </a:p>
              <a:p>
                <a:pPr marL="285750" indent="-285750">
                  <a:buFont typeface="Arial" panose="020B0604020202020204" pitchFamily="34" charset="0"/>
                  <a:buChar char="•"/>
                </a:pPr>
                <a:endParaRPr lang="en-US" b="1" dirty="0">
                  <a:solidFill>
                    <a:srgbClr val="FEF0DC"/>
                  </a:solidFill>
                </a:endParaRPr>
              </a:p>
              <a:p>
                <a:pPr marL="285750" indent="-285750">
                  <a:buFont typeface="Arial" panose="020B0604020202020204" pitchFamily="34" charset="0"/>
                  <a:buChar char="•"/>
                </a:pPr>
                <a:r>
                  <a:rPr lang="en-US" b="1" dirty="0">
                    <a:solidFill>
                      <a:srgbClr val="FEF0DC"/>
                    </a:solidFill>
                  </a:rPr>
                  <a:t>Held multiple roles across Supply Chain</a:t>
                </a:r>
              </a:p>
              <a:p>
                <a:pPr marL="285750" indent="-285750">
                  <a:buFont typeface="Arial" panose="020B0604020202020204" pitchFamily="34" charset="0"/>
                  <a:buChar char="•"/>
                </a:pPr>
                <a:endParaRPr lang="en-US" b="1" dirty="0">
                  <a:solidFill>
                    <a:srgbClr val="FEF0DC"/>
                  </a:solidFill>
                </a:endParaRPr>
              </a:p>
              <a:p>
                <a:pPr marL="285750" indent="-285750">
                  <a:buFont typeface="Arial" panose="020B0604020202020204" pitchFamily="34" charset="0"/>
                  <a:buChar char="•"/>
                </a:pPr>
                <a:r>
                  <a:rPr lang="en-US" b="1" dirty="0">
                    <a:solidFill>
                      <a:srgbClr val="FEF0DC"/>
                    </a:solidFill>
                  </a:rPr>
                  <a:t>Brief time spent in Research &amp; Development</a:t>
                </a:r>
              </a:p>
              <a:p>
                <a:pPr marL="285750" indent="-285750">
                  <a:buFont typeface="Arial" panose="020B0604020202020204" pitchFamily="34" charset="0"/>
                  <a:buChar char="•"/>
                </a:pPr>
                <a:endParaRPr lang="en-US" b="1" dirty="0">
                  <a:solidFill>
                    <a:srgbClr val="FEF0DC"/>
                  </a:solidFill>
                </a:endParaRPr>
              </a:p>
              <a:p>
                <a:pPr marL="285750" indent="-285750">
                  <a:buFont typeface="Arial" panose="020B0604020202020204" pitchFamily="34" charset="0"/>
                  <a:buChar char="•"/>
                </a:pPr>
                <a:r>
                  <a:rPr lang="en-US" b="1" dirty="0">
                    <a:solidFill>
                      <a:srgbClr val="FEF0DC"/>
                    </a:solidFill>
                  </a:rPr>
                  <a:t>Currently the Manager for the European &amp; World Travel Retail supply chains</a:t>
                </a:r>
              </a:p>
              <a:p>
                <a:pPr marL="285750" indent="-285750">
                  <a:buFont typeface="Arial" panose="020B0604020202020204" pitchFamily="34" charset="0"/>
                  <a:buChar char="•"/>
                </a:pPr>
                <a:endParaRPr lang="en-US" dirty="0">
                  <a:solidFill>
                    <a:srgbClr val="FEF0DC"/>
                  </a:solidFill>
                </a:endParaRPr>
              </a:p>
            </p:txBody>
          </p:sp>
        </p:grpSp>
        <p:grpSp>
          <p:nvGrpSpPr>
            <p:cNvPr id="57" name="Group 56">
              <a:extLst>
                <a:ext uri="{FF2B5EF4-FFF2-40B4-BE49-F238E27FC236}">
                  <a16:creationId xmlns:a16="http://schemas.microsoft.com/office/drawing/2014/main" id="{0202A75F-D3D1-9514-FE06-E55AC83F587C}"/>
                </a:ext>
              </a:extLst>
            </p:cNvPr>
            <p:cNvGrpSpPr/>
            <p:nvPr/>
          </p:nvGrpSpPr>
          <p:grpSpPr>
            <a:xfrm>
              <a:off x="6413765" y="3529842"/>
              <a:ext cx="5329318" cy="3143263"/>
              <a:chOff x="6555757" y="3540003"/>
              <a:chExt cx="5329318" cy="3143263"/>
            </a:xfrm>
          </p:grpSpPr>
          <p:sp>
            <p:nvSpPr>
              <p:cNvPr id="52" name="Rectangle: Rounded Corners 51">
                <a:extLst>
                  <a:ext uri="{FF2B5EF4-FFF2-40B4-BE49-F238E27FC236}">
                    <a16:creationId xmlns:a16="http://schemas.microsoft.com/office/drawing/2014/main" id="{51096F15-C086-6481-50A3-5D23414BEFDD}"/>
                  </a:ext>
                </a:extLst>
              </p:cNvPr>
              <p:cNvSpPr/>
              <p:nvPr/>
            </p:nvSpPr>
            <p:spPr>
              <a:xfrm>
                <a:off x="6555757" y="3540003"/>
                <a:ext cx="5329318" cy="3143263"/>
              </a:xfrm>
              <a:prstGeom prst="roundRect">
                <a:avLst>
                  <a:gd name="adj" fmla="val 14316"/>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EF0DC"/>
                  </a:solidFill>
                </a:endParaRPr>
              </a:p>
            </p:txBody>
          </p:sp>
          <p:sp>
            <p:nvSpPr>
              <p:cNvPr id="53" name="Rectangle: Rounded Corners 52">
                <a:extLst>
                  <a:ext uri="{FF2B5EF4-FFF2-40B4-BE49-F238E27FC236}">
                    <a16:creationId xmlns:a16="http://schemas.microsoft.com/office/drawing/2014/main" id="{86ABF525-9B8C-9268-20E8-CC9997D54493}"/>
                  </a:ext>
                </a:extLst>
              </p:cNvPr>
              <p:cNvSpPr/>
              <p:nvPr/>
            </p:nvSpPr>
            <p:spPr>
              <a:xfrm>
                <a:off x="6555757" y="3540003"/>
                <a:ext cx="5329318" cy="487054"/>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rgbClr val="FEF0DC"/>
                    </a:solidFill>
                  </a:rPr>
                  <a:t>Personal</a:t>
                </a:r>
              </a:p>
            </p:txBody>
          </p:sp>
          <p:sp>
            <p:nvSpPr>
              <p:cNvPr id="54" name="TextBox 53">
                <a:extLst>
                  <a:ext uri="{FF2B5EF4-FFF2-40B4-BE49-F238E27FC236}">
                    <a16:creationId xmlns:a16="http://schemas.microsoft.com/office/drawing/2014/main" id="{BA19E982-9BD7-09E0-B7F0-F31151D1802F}"/>
                  </a:ext>
                </a:extLst>
              </p:cNvPr>
              <p:cNvSpPr txBox="1"/>
              <p:nvPr/>
            </p:nvSpPr>
            <p:spPr>
              <a:xfrm>
                <a:off x="6579904" y="4118264"/>
                <a:ext cx="5281025" cy="2308324"/>
              </a:xfrm>
              <a:prstGeom prst="rect">
                <a:avLst/>
              </a:prstGeom>
              <a:noFill/>
            </p:spPr>
            <p:txBody>
              <a:bodyPr wrap="square" rtlCol="0">
                <a:spAutoFit/>
              </a:bodyPr>
              <a:lstStyle/>
              <a:p>
                <a:pPr marL="285750" indent="-285750">
                  <a:buFont typeface="Arial" panose="020B0604020202020204" pitchFamily="34" charset="0"/>
                  <a:buChar char="•"/>
                </a:pPr>
                <a:r>
                  <a:rPr lang="en-US" b="1" dirty="0">
                    <a:solidFill>
                      <a:srgbClr val="FEF0DC"/>
                    </a:solidFill>
                  </a:rPr>
                  <a:t>One son (Jackson – 7)</a:t>
                </a:r>
              </a:p>
              <a:p>
                <a:pPr marL="285750" indent="-285750">
                  <a:buFont typeface="Arial" panose="020B0604020202020204" pitchFamily="34" charset="0"/>
                  <a:buChar char="•"/>
                </a:pPr>
                <a:endParaRPr lang="en-US" b="1" dirty="0">
                  <a:solidFill>
                    <a:srgbClr val="FEF0DC"/>
                  </a:solidFill>
                </a:endParaRPr>
              </a:p>
              <a:p>
                <a:pPr marL="285750" indent="-285750">
                  <a:buFont typeface="Arial" panose="020B0604020202020204" pitchFamily="34" charset="0"/>
                  <a:buChar char="•"/>
                </a:pPr>
                <a:r>
                  <a:rPr lang="en-US" b="1" dirty="0">
                    <a:solidFill>
                      <a:srgbClr val="FEF0DC"/>
                    </a:solidFill>
                  </a:rPr>
                  <a:t>Three cats (I was conned)</a:t>
                </a:r>
              </a:p>
              <a:p>
                <a:pPr marL="285750" indent="-285750">
                  <a:buFont typeface="Arial" panose="020B0604020202020204" pitchFamily="34" charset="0"/>
                  <a:buChar char="•"/>
                </a:pPr>
                <a:endParaRPr lang="en-US" b="1" dirty="0">
                  <a:solidFill>
                    <a:srgbClr val="FEF0DC"/>
                  </a:solidFill>
                </a:endParaRPr>
              </a:p>
              <a:p>
                <a:pPr marL="285750" indent="-285750">
                  <a:buFont typeface="Arial" panose="020B0604020202020204" pitchFamily="34" charset="0"/>
                  <a:buChar char="•"/>
                </a:pPr>
                <a:r>
                  <a:rPr lang="en-US" b="1" dirty="0">
                    <a:solidFill>
                      <a:srgbClr val="FEF0DC"/>
                    </a:solidFill>
                  </a:rPr>
                  <a:t>Bodybuilding for ~20 years</a:t>
                </a:r>
              </a:p>
              <a:p>
                <a:pPr marL="285750" indent="-285750">
                  <a:buFont typeface="Arial" panose="020B0604020202020204" pitchFamily="34" charset="0"/>
                  <a:buChar char="•"/>
                </a:pPr>
                <a:endParaRPr lang="en-US" b="1" dirty="0">
                  <a:solidFill>
                    <a:srgbClr val="FEF0DC"/>
                  </a:solidFill>
                </a:endParaRPr>
              </a:p>
              <a:p>
                <a:pPr marL="285750" indent="-285750">
                  <a:buFont typeface="Arial" panose="020B0604020202020204" pitchFamily="34" charset="0"/>
                  <a:buChar char="•"/>
                </a:pPr>
                <a:r>
                  <a:rPr lang="en-US" b="1" dirty="0">
                    <a:solidFill>
                      <a:srgbClr val="FEF0DC"/>
                    </a:solidFill>
                  </a:rPr>
                  <a:t>Foodie &amp; traveler (favorite cuisine – Asian or Hispanic; favorite city – Rome)</a:t>
                </a:r>
                <a:endParaRPr lang="en-US" dirty="0">
                  <a:solidFill>
                    <a:srgbClr val="FEF0DC"/>
                  </a:solidFill>
                </a:endParaRPr>
              </a:p>
            </p:txBody>
          </p:sp>
        </p:grpSp>
      </p:grpSp>
    </p:spTree>
    <p:extLst>
      <p:ext uri="{BB962C8B-B14F-4D97-AF65-F5344CB8AC3E}">
        <p14:creationId xmlns:p14="http://schemas.microsoft.com/office/powerpoint/2010/main" val="2369542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885EB48-905D-2163-E0E8-B774A05ED68C}"/>
              </a:ext>
            </a:extLst>
          </p:cNvPr>
          <p:cNvGraphicFramePr>
            <a:graphicFrameLocks noChangeAspect="1"/>
          </p:cNvGraphicFramePr>
          <p:nvPr>
            <p:custDataLst>
              <p:tags r:id="rId1"/>
            </p:custDataLst>
            <p:extLst>
              <p:ext uri="{D42A27DB-BD31-4B8C-83A1-F6EECF244321}">
                <p14:modId xmlns:p14="http://schemas.microsoft.com/office/powerpoint/2010/main" val="3452813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8" name="Object 17" hidden="1">
                        <a:extLst>
                          <a:ext uri="{FF2B5EF4-FFF2-40B4-BE49-F238E27FC236}">
                            <a16:creationId xmlns:a16="http://schemas.microsoft.com/office/drawing/2014/main" id="{B885EB48-905D-2163-E0E8-B774A05ED6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06CAE61-B8E1-C863-A2B2-B68D300CFA0A}"/>
              </a:ext>
            </a:extLst>
          </p:cNvPr>
          <p:cNvSpPr>
            <a:spLocks noGrp="1"/>
          </p:cNvSpPr>
          <p:nvPr>
            <p:ph type="sldNum" sz="quarter" idx="4294967295"/>
          </p:nvPr>
        </p:nvSpPr>
        <p:spPr>
          <a:xfrm>
            <a:off x="11386708" y="6348585"/>
            <a:ext cx="385034" cy="169277"/>
          </a:xfrm>
        </p:spPr>
        <p:txBody>
          <a:bodyPr/>
          <a:lstStyle/>
          <a:p>
            <a:fld id="{1C897F9F-178E-40FE-BBF0-CD11DAF3CBDC}" type="slidenum">
              <a:rPr lang="en-IN" smtClean="0"/>
              <a:pPr/>
              <a:t>2</a:t>
            </a:fld>
            <a:endParaRPr lang="en-IN"/>
          </a:p>
        </p:txBody>
      </p:sp>
      <p:grpSp>
        <p:nvGrpSpPr>
          <p:cNvPr id="69" name="Group 68">
            <a:extLst>
              <a:ext uri="{FF2B5EF4-FFF2-40B4-BE49-F238E27FC236}">
                <a16:creationId xmlns:a16="http://schemas.microsoft.com/office/drawing/2014/main" id="{8CEEE2EF-A188-3F51-DC45-E6E9379BD0DA}"/>
              </a:ext>
            </a:extLst>
          </p:cNvPr>
          <p:cNvGrpSpPr/>
          <p:nvPr/>
        </p:nvGrpSpPr>
        <p:grpSpPr>
          <a:xfrm>
            <a:off x="825477" y="962751"/>
            <a:ext cx="10841791" cy="5732201"/>
            <a:chOff x="101483" y="1174115"/>
            <a:chExt cx="8827360" cy="4779092"/>
          </a:xfrm>
        </p:grpSpPr>
        <p:grpSp>
          <p:nvGrpSpPr>
            <p:cNvPr id="70" name="Group 508">
              <a:extLst>
                <a:ext uri="{FF2B5EF4-FFF2-40B4-BE49-F238E27FC236}">
                  <a16:creationId xmlns:a16="http://schemas.microsoft.com/office/drawing/2014/main" id="{FF4874CD-9778-A962-AD13-00C671FA3326}"/>
                </a:ext>
              </a:extLst>
            </p:cNvPr>
            <p:cNvGrpSpPr>
              <a:grpSpLocks/>
            </p:cNvGrpSpPr>
            <p:nvPr/>
          </p:nvGrpSpPr>
          <p:grpSpPr bwMode="auto">
            <a:xfrm>
              <a:off x="214530" y="2290844"/>
              <a:ext cx="198297" cy="394842"/>
              <a:chOff x="241" y="2459"/>
              <a:chExt cx="161" cy="347"/>
            </a:xfrm>
            <a:solidFill>
              <a:srgbClr val="003594">
                <a:lumMod val="20000"/>
                <a:lumOff val="80000"/>
              </a:srgbClr>
            </a:solidFill>
            <a:effectLst/>
          </p:grpSpPr>
          <p:sp>
            <p:nvSpPr>
              <p:cNvPr id="455" name="Freeform 509">
                <a:extLst>
                  <a:ext uri="{FF2B5EF4-FFF2-40B4-BE49-F238E27FC236}">
                    <a16:creationId xmlns:a16="http://schemas.microsoft.com/office/drawing/2014/main" id="{2BCAC56C-591A-4EA0-13B9-459D04B3BF26}"/>
                  </a:ext>
                </a:extLst>
              </p:cNvPr>
              <p:cNvSpPr>
                <a:spLocks/>
              </p:cNvSpPr>
              <p:nvPr/>
            </p:nvSpPr>
            <p:spPr bwMode="auto">
              <a:xfrm>
                <a:off x="327" y="2722"/>
                <a:ext cx="75" cy="84"/>
              </a:xfrm>
              <a:custGeom>
                <a:avLst/>
                <a:gdLst/>
                <a:ahLst/>
                <a:cxnLst>
                  <a:cxn ang="0">
                    <a:pos x="78" y="66"/>
                  </a:cxn>
                  <a:cxn ang="0">
                    <a:pos x="42" y="162"/>
                  </a:cxn>
                  <a:cxn ang="0">
                    <a:pos x="6" y="192"/>
                  </a:cxn>
                  <a:cxn ang="0">
                    <a:pos x="0" y="216"/>
                  </a:cxn>
                  <a:cxn ang="0">
                    <a:pos x="24" y="264"/>
                  </a:cxn>
                  <a:cxn ang="0">
                    <a:pos x="78" y="252"/>
                  </a:cxn>
                  <a:cxn ang="0">
                    <a:pos x="144" y="258"/>
                  </a:cxn>
                  <a:cxn ang="0">
                    <a:pos x="150" y="270"/>
                  </a:cxn>
                  <a:cxn ang="0">
                    <a:pos x="192" y="282"/>
                  </a:cxn>
                  <a:cxn ang="0">
                    <a:pos x="228" y="282"/>
                  </a:cxn>
                  <a:cxn ang="0">
                    <a:pos x="252" y="276"/>
                  </a:cxn>
                  <a:cxn ang="0">
                    <a:pos x="246" y="252"/>
                  </a:cxn>
                  <a:cxn ang="0">
                    <a:pos x="240" y="228"/>
                  </a:cxn>
                  <a:cxn ang="0">
                    <a:pos x="252" y="210"/>
                  </a:cxn>
                  <a:cxn ang="0">
                    <a:pos x="240" y="198"/>
                  </a:cxn>
                  <a:cxn ang="0">
                    <a:pos x="252" y="180"/>
                  </a:cxn>
                  <a:cxn ang="0">
                    <a:pos x="252" y="150"/>
                  </a:cxn>
                  <a:cxn ang="0">
                    <a:pos x="228" y="90"/>
                  </a:cxn>
                  <a:cxn ang="0">
                    <a:pos x="204" y="54"/>
                  </a:cxn>
                  <a:cxn ang="0">
                    <a:pos x="198" y="24"/>
                  </a:cxn>
                  <a:cxn ang="0">
                    <a:pos x="180" y="0"/>
                  </a:cxn>
                  <a:cxn ang="0">
                    <a:pos x="150" y="54"/>
                  </a:cxn>
                  <a:cxn ang="0">
                    <a:pos x="78" y="66"/>
                  </a:cxn>
                </a:cxnLst>
                <a:rect l="0" t="0" r="r" b="b"/>
                <a:pathLst>
                  <a:path w="252" h="282">
                    <a:moveTo>
                      <a:pt x="78" y="66"/>
                    </a:moveTo>
                    <a:lnTo>
                      <a:pt x="42" y="162"/>
                    </a:lnTo>
                    <a:lnTo>
                      <a:pt x="6" y="192"/>
                    </a:lnTo>
                    <a:lnTo>
                      <a:pt x="0" y="216"/>
                    </a:lnTo>
                    <a:lnTo>
                      <a:pt x="24" y="264"/>
                    </a:lnTo>
                    <a:lnTo>
                      <a:pt x="78" y="252"/>
                    </a:lnTo>
                    <a:lnTo>
                      <a:pt x="144" y="258"/>
                    </a:lnTo>
                    <a:lnTo>
                      <a:pt x="150" y="270"/>
                    </a:lnTo>
                    <a:lnTo>
                      <a:pt x="192" y="282"/>
                    </a:lnTo>
                    <a:lnTo>
                      <a:pt x="228" y="282"/>
                    </a:lnTo>
                    <a:lnTo>
                      <a:pt x="252" y="276"/>
                    </a:lnTo>
                    <a:lnTo>
                      <a:pt x="246" y="252"/>
                    </a:lnTo>
                    <a:lnTo>
                      <a:pt x="240" y="228"/>
                    </a:lnTo>
                    <a:lnTo>
                      <a:pt x="252" y="210"/>
                    </a:lnTo>
                    <a:lnTo>
                      <a:pt x="240" y="198"/>
                    </a:lnTo>
                    <a:lnTo>
                      <a:pt x="252" y="180"/>
                    </a:lnTo>
                    <a:lnTo>
                      <a:pt x="252" y="150"/>
                    </a:lnTo>
                    <a:lnTo>
                      <a:pt x="228" y="90"/>
                    </a:lnTo>
                    <a:lnTo>
                      <a:pt x="204" y="54"/>
                    </a:lnTo>
                    <a:lnTo>
                      <a:pt x="198" y="24"/>
                    </a:lnTo>
                    <a:lnTo>
                      <a:pt x="180" y="0"/>
                    </a:lnTo>
                    <a:lnTo>
                      <a:pt x="150" y="54"/>
                    </a:lnTo>
                    <a:lnTo>
                      <a:pt x="78" y="6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56" name="Freeform 510">
                <a:extLst>
                  <a:ext uri="{FF2B5EF4-FFF2-40B4-BE49-F238E27FC236}">
                    <a16:creationId xmlns:a16="http://schemas.microsoft.com/office/drawing/2014/main" id="{49E83C43-F397-850B-788E-02211D154211}"/>
                  </a:ext>
                </a:extLst>
              </p:cNvPr>
              <p:cNvSpPr>
                <a:spLocks/>
              </p:cNvSpPr>
              <p:nvPr/>
            </p:nvSpPr>
            <p:spPr bwMode="auto">
              <a:xfrm>
                <a:off x="368" y="2652"/>
                <a:ext cx="29" cy="41"/>
              </a:xfrm>
              <a:custGeom>
                <a:avLst/>
                <a:gdLst/>
                <a:ahLst/>
                <a:cxnLst>
                  <a:cxn ang="0">
                    <a:pos x="0" y="18"/>
                  </a:cxn>
                  <a:cxn ang="0">
                    <a:pos x="12" y="0"/>
                  </a:cxn>
                  <a:cxn ang="0">
                    <a:pos x="36" y="0"/>
                  </a:cxn>
                  <a:cxn ang="0">
                    <a:pos x="36" y="42"/>
                  </a:cxn>
                  <a:cxn ang="0">
                    <a:pos x="66" y="54"/>
                  </a:cxn>
                  <a:cxn ang="0">
                    <a:pos x="78" y="66"/>
                  </a:cxn>
                  <a:cxn ang="0">
                    <a:pos x="84" y="102"/>
                  </a:cxn>
                  <a:cxn ang="0">
                    <a:pos x="96" y="120"/>
                  </a:cxn>
                  <a:cxn ang="0">
                    <a:pos x="84" y="138"/>
                  </a:cxn>
                  <a:cxn ang="0">
                    <a:pos x="48" y="138"/>
                  </a:cxn>
                  <a:cxn ang="0">
                    <a:pos x="42" y="126"/>
                  </a:cxn>
                  <a:cxn ang="0">
                    <a:pos x="18" y="120"/>
                  </a:cxn>
                  <a:cxn ang="0">
                    <a:pos x="0" y="102"/>
                  </a:cxn>
                  <a:cxn ang="0">
                    <a:pos x="12" y="72"/>
                  </a:cxn>
                  <a:cxn ang="0">
                    <a:pos x="0" y="18"/>
                  </a:cxn>
                </a:cxnLst>
                <a:rect l="0" t="0" r="r" b="b"/>
                <a:pathLst>
                  <a:path w="96" h="138">
                    <a:moveTo>
                      <a:pt x="0" y="18"/>
                    </a:moveTo>
                    <a:lnTo>
                      <a:pt x="12" y="0"/>
                    </a:lnTo>
                    <a:lnTo>
                      <a:pt x="36" y="0"/>
                    </a:lnTo>
                    <a:lnTo>
                      <a:pt x="36" y="42"/>
                    </a:lnTo>
                    <a:lnTo>
                      <a:pt x="66" y="54"/>
                    </a:lnTo>
                    <a:lnTo>
                      <a:pt x="78" y="66"/>
                    </a:lnTo>
                    <a:lnTo>
                      <a:pt x="84" y="102"/>
                    </a:lnTo>
                    <a:lnTo>
                      <a:pt x="96" y="120"/>
                    </a:lnTo>
                    <a:lnTo>
                      <a:pt x="84" y="138"/>
                    </a:lnTo>
                    <a:lnTo>
                      <a:pt x="48" y="138"/>
                    </a:lnTo>
                    <a:lnTo>
                      <a:pt x="42" y="126"/>
                    </a:lnTo>
                    <a:lnTo>
                      <a:pt x="18" y="120"/>
                    </a:lnTo>
                    <a:lnTo>
                      <a:pt x="0" y="102"/>
                    </a:lnTo>
                    <a:lnTo>
                      <a:pt x="12" y="72"/>
                    </a:lnTo>
                    <a:lnTo>
                      <a:pt x="0" y="1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57" name="Freeform 511">
                <a:extLst>
                  <a:ext uri="{FF2B5EF4-FFF2-40B4-BE49-F238E27FC236}">
                    <a16:creationId xmlns:a16="http://schemas.microsoft.com/office/drawing/2014/main" id="{AA7A6456-CB8E-48B4-684A-3750AD9FFD3B}"/>
                  </a:ext>
                </a:extLst>
              </p:cNvPr>
              <p:cNvSpPr>
                <a:spLocks/>
              </p:cNvSpPr>
              <p:nvPr/>
            </p:nvSpPr>
            <p:spPr bwMode="auto">
              <a:xfrm>
                <a:off x="318" y="2556"/>
                <a:ext cx="23" cy="41"/>
              </a:xfrm>
              <a:custGeom>
                <a:avLst/>
                <a:gdLst/>
                <a:ahLst/>
                <a:cxnLst>
                  <a:cxn ang="0">
                    <a:pos x="12" y="0"/>
                  </a:cxn>
                  <a:cxn ang="0">
                    <a:pos x="0" y="72"/>
                  </a:cxn>
                  <a:cxn ang="0">
                    <a:pos x="30" y="96"/>
                  </a:cxn>
                  <a:cxn ang="0">
                    <a:pos x="42" y="114"/>
                  </a:cxn>
                  <a:cxn ang="0">
                    <a:pos x="54" y="126"/>
                  </a:cxn>
                  <a:cxn ang="0">
                    <a:pos x="60" y="138"/>
                  </a:cxn>
                  <a:cxn ang="0">
                    <a:pos x="72" y="126"/>
                  </a:cxn>
                  <a:cxn ang="0">
                    <a:pos x="72" y="114"/>
                  </a:cxn>
                  <a:cxn ang="0">
                    <a:pos x="72" y="90"/>
                  </a:cxn>
                  <a:cxn ang="0">
                    <a:pos x="66" y="72"/>
                  </a:cxn>
                  <a:cxn ang="0">
                    <a:pos x="72" y="72"/>
                  </a:cxn>
                  <a:cxn ang="0">
                    <a:pos x="78" y="30"/>
                  </a:cxn>
                  <a:cxn ang="0">
                    <a:pos x="66" y="18"/>
                  </a:cxn>
                  <a:cxn ang="0">
                    <a:pos x="30" y="18"/>
                  </a:cxn>
                  <a:cxn ang="0">
                    <a:pos x="12" y="0"/>
                  </a:cxn>
                </a:cxnLst>
                <a:rect l="0" t="0" r="r" b="b"/>
                <a:pathLst>
                  <a:path w="78" h="138">
                    <a:moveTo>
                      <a:pt x="12" y="0"/>
                    </a:moveTo>
                    <a:lnTo>
                      <a:pt x="0" y="72"/>
                    </a:lnTo>
                    <a:lnTo>
                      <a:pt x="30" y="96"/>
                    </a:lnTo>
                    <a:lnTo>
                      <a:pt x="42" y="114"/>
                    </a:lnTo>
                    <a:lnTo>
                      <a:pt x="54" y="126"/>
                    </a:lnTo>
                    <a:lnTo>
                      <a:pt x="60" y="138"/>
                    </a:lnTo>
                    <a:lnTo>
                      <a:pt x="72" y="126"/>
                    </a:lnTo>
                    <a:lnTo>
                      <a:pt x="72" y="114"/>
                    </a:lnTo>
                    <a:lnTo>
                      <a:pt x="72" y="90"/>
                    </a:lnTo>
                    <a:lnTo>
                      <a:pt x="66" y="72"/>
                    </a:lnTo>
                    <a:lnTo>
                      <a:pt x="72" y="72"/>
                    </a:lnTo>
                    <a:lnTo>
                      <a:pt x="78" y="30"/>
                    </a:lnTo>
                    <a:lnTo>
                      <a:pt x="66" y="18"/>
                    </a:lnTo>
                    <a:lnTo>
                      <a:pt x="30" y="18"/>
                    </a:lnTo>
                    <a:lnTo>
                      <a:pt x="12"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58" name="Freeform 512">
                <a:extLst>
                  <a:ext uri="{FF2B5EF4-FFF2-40B4-BE49-F238E27FC236}">
                    <a16:creationId xmlns:a16="http://schemas.microsoft.com/office/drawing/2014/main" id="{1540C877-E2B6-0121-21DE-C8591DA65EF7}"/>
                  </a:ext>
                </a:extLst>
              </p:cNvPr>
              <p:cNvSpPr>
                <a:spLocks/>
              </p:cNvSpPr>
              <p:nvPr/>
            </p:nvSpPr>
            <p:spPr bwMode="auto">
              <a:xfrm>
                <a:off x="271" y="2470"/>
                <a:ext cx="27" cy="23"/>
              </a:xfrm>
              <a:custGeom>
                <a:avLst/>
                <a:gdLst/>
                <a:ahLst/>
                <a:cxnLst>
                  <a:cxn ang="0">
                    <a:pos x="0" y="0"/>
                  </a:cxn>
                  <a:cxn ang="0">
                    <a:pos x="0" y="30"/>
                  </a:cxn>
                  <a:cxn ang="0">
                    <a:pos x="6" y="54"/>
                  </a:cxn>
                  <a:cxn ang="0">
                    <a:pos x="24" y="72"/>
                  </a:cxn>
                  <a:cxn ang="0">
                    <a:pos x="42" y="78"/>
                  </a:cxn>
                  <a:cxn ang="0">
                    <a:pos x="60" y="72"/>
                  </a:cxn>
                  <a:cxn ang="0">
                    <a:pos x="90" y="54"/>
                  </a:cxn>
                  <a:cxn ang="0">
                    <a:pos x="90" y="30"/>
                  </a:cxn>
                  <a:cxn ang="0">
                    <a:pos x="72" y="12"/>
                  </a:cxn>
                  <a:cxn ang="0">
                    <a:pos x="48" y="0"/>
                  </a:cxn>
                  <a:cxn ang="0">
                    <a:pos x="0" y="0"/>
                  </a:cxn>
                </a:cxnLst>
                <a:rect l="0" t="0" r="r" b="b"/>
                <a:pathLst>
                  <a:path w="90" h="78">
                    <a:moveTo>
                      <a:pt x="0" y="0"/>
                    </a:moveTo>
                    <a:lnTo>
                      <a:pt x="0" y="30"/>
                    </a:lnTo>
                    <a:lnTo>
                      <a:pt x="6" y="54"/>
                    </a:lnTo>
                    <a:lnTo>
                      <a:pt x="24" y="72"/>
                    </a:lnTo>
                    <a:lnTo>
                      <a:pt x="42" y="78"/>
                    </a:lnTo>
                    <a:lnTo>
                      <a:pt x="60" y="72"/>
                    </a:lnTo>
                    <a:lnTo>
                      <a:pt x="90" y="54"/>
                    </a:lnTo>
                    <a:lnTo>
                      <a:pt x="90" y="30"/>
                    </a:lnTo>
                    <a:lnTo>
                      <a:pt x="72" y="12"/>
                    </a:lnTo>
                    <a:lnTo>
                      <a:pt x="48" y="0"/>
                    </a:lnTo>
                    <a:lnTo>
                      <a:pt x="0"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59" name="Freeform 514">
                <a:extLst>
                  <a:ext uri="{FF2B5EF4-FFF2-40B4-BE49-F238E27FC236}">
                    <a16:creationId xmlns:a16="http://schemas.microsoft.com/office/drawing/2014/main" id="{A756EC59-E96E-E94D-FE6A-26C7AABABA24}"/>
                  </a:ext>
                </a:extLst>
              </p:cNvPr>
              <p:cNvSpPr>
                <a:spLocks/>
              </p:cNvSpPr>
              <p:nvPr/>
            </p:nvSpPr>
            <p:spPr bwMode="auto">
              <a:xfrm>
                <a:off x="350" y="2640"/>
                <a:ext cx="9" cy="16"/>
              </a:xfrm>
              <a:custGeom>
                <a:avLst/>
                <a:gdLst/>
                <a:ahLst/>
                <a:cxnLst>
                  <a:cxn ang="0">
                    <a:pos x="6" y="0"/>
                  </a:cxn>
                  <a:cxn ang="0">
                    <a:pos x="0" y="30"/>
                  </a:cxn>
                  <a:cxn ang="0">
                    <a:pos x="6" y="54"/>
                  </a:cxn>
                  <a:cxn ang="0">
                    <a:pos x="30" y="54"/>
                  </a:cxn>
                  <a:cxn ang="0">
                    <a:pos x="6" y="0"/>
                  </a:cxn>
                </a:cxnLst>
                <a:rect l="0" t="0" r="r" b="b"/>
                <a:pathLst>
                  <a:path w="30" h="54">
                    <a:moveTo>
                      <a:pt x="6" y="0"/>
                    </a:moveTo>
                    <a:lnTo>
                      <a:pt x="0" y="30"/>
                    </a:lnTo>
                    <a:lnTo>
                      <a:pt x="6" y="54"/>
                    </a:lnTo>
                    <a:lnTo>
                      <a:pt x="30" y="54"/>
                    </a:lnTo>
                    <a:lnTo>
                      <a:pt x="6" y="0"/>
                    </a:lnTo>
                    <a:close/>
                  </a:path>
                </a:pathLst>
              </a:custGeom>
              <a:grpFill/>
              <a:ln w="0" cap="flat" cmpd="sng">
                <a:solidFill>
                  <a:schemeClr val="bg1"/>
                </a:solidFill>
                <a:prstDash val="solid"/>
                <a:round/>
                <a:headEnd type="none" w="med" len="med"/>
                <a:tailEnd type="none" w="med" len="med"/>
              </a:ln>
              <a:effectLst/>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60" name="Freeform 515">
                <a:extLst>
                  <a:ext uri="{FF2B5EF4-FFF2-40B4-BE49-F238E27FC236}">
                    <a16:creationId xmlns:a16="http://schemas.microsoft.com/office/drawing/2014/main" id="{883498CC-EEC8-8260-8643-4AF42ED807F7}"/>
                  </a:ext>
                </a:extLst>
              </p:cNvPr>
              <p:cNvSpPr>
                <a:spLocks/>
              </p:cNvSpPr>
              <p:nvPr/>
            </p:nvSpPr>
            <p:spPr bwMode="auto">
              <a:xfrm>
                <a:off x="241" y="2459"/>
                <a:ext cx="14" cy="7"/>
              </a:xfrm>
              <a:custGeom>
                <a:avLst/>
                <a:gdLst/>
                <a:ahLst/>
                <a:cxnLst>
                  <a:cxn ang="0">
                    <a:pos x="6" y="6"/>
                  </a:cxn>
                  <a:cxn ang="0">
                    <a:pos x="48" y="0"/>
                  </a:cxn>
                  <a:cxn ang="0">
                    <a:pos x="30" y="18"/>
                  </a:cxn>
                  <a:cxn ang="0">
                    <a:pos x="0" y="24"/>
                  </a:cxn>
                  <a:cxn ang="0">
                    <a:pos x="6" y="6"/>
                  </a:cxn>
                </a:cxnLst>
                <a:rect l="0" t="0" r="r" b="b"/>
                <a:pathLst>
                  <a:path w="48" h="24">
                    <a:moveTo>
                      <a:pt x="6" y="6"/>
                    </a:moveTo>
                    <a:lnTo>
                      <a:pt x="48" y="0"/>
                    </a:lnTo>
                    <a:lnTo>
                      <a:pt x="30" y="18"/>
                    </a:lnTo>
                    <a:lnTo>
                      <a:pt x="0" y="24"/>
                    </a:lnTo>
                    <a:lnTo>
                      <a:pt x="6" y="6"/>
                    </a:lnTo>
                    <a:close/>
                  </a:path>
                </a:pathLst>
              </a:custGeom>
              <a:grpFill/>
              <a:ln w="0" cap="flat" cmpd="sng">
                <a:solidFill>
                  <a:schemeClr val="bg1"/>
                </a:solidFill>
                <a:prstDash val="solid"/>
                <a:round/>
                <a:headEnd type="none" w="med" len="med"/>
                <a:tailEnd type="none" w="med" len="med"/>
              </a:ln>
              <a:effectLst/>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grpSp>
        <p:sp>
          <p:nvSpPr>
            <p:cNvPr id="71" name="Freeform 12">
              <a:extLst>
                <a:ext uri="{FF2B5EF4-FFF2-40B4-BE49-F238E27FC236}">
                  <a16:creationId xmlns:a16="http://schemas.microsoft.com/office/drawing/2014/main" id="{B2B7402F-0EEC-C888-C2E7-BACB85BC8477}"/>
                </a:ext>
              </a:extLst>
            </p:cNvPr>
            <p:cNvSpPr>
              <a:spLocks/>
            </p:cNvSpPr>
            <p:nvPr/>
          </p:nvSpPr>
          <p:spPr bwMode="auto">
            <a:xfrm>
              <a:off x="5804088" y="3045053"/>
              <a:ext cx="22389" cy="53152"/>
            </a:xfrm>
            <a:custGeom>
              <a:avLst/>
              <a:gdLst>
                <a:gd name="T0" fmla="*/ 776 w 12"/>
                <a:gd name="T1" fmla="*/ 1047702 h 27"/>
                <a:gd name="T2" fmla="*/ 665 w 12"/>
                <a:gd name="T3" fmla="*/ 1081518 h 27"/>
                <a:gd name="T4" fmla="*/ 2 w 12"/>
                <a:gd name="T5" fmla="*/ 904531 h 27"/>
                <a:gd name="T6" fmla="*/ 0 w 12"/>
                <a:gd name="T7" fmla="*/ 280209 h 27"/>
                <a:gd name="T8" fmla="*/ 665 w 12"/>
                <a:gd name="T9" fmla="*/ 0 h 27"/>
                <a:gd name="T10" fmla="*/ 1430 w 12"/>
                <a:gd name="T11" fmla="*/ 555036 h 27"/>
                <a:gd name="T12" fmla="*/ 776 w 12"/>
                <a:gd name="T13" fmla="*/ 1047702 h 27"/>
                <a:gd name="T14" fmla="*/ 0 60000 65536"/>
                <a:gd name="T15" fmla="*/ 0 60000 65536"/>
                <a:gd name="T16" fmla="*/ 0 60000 65536"/>
                <a:gd name="T17" fmla="*/ 0 60000 65536"/>
                <a:gd name="T18" fmla="*/ 0 60000 65536"/>
                <a:gd name="T19" fmla="*/ 0 60000 65536"/>
                <a:gd name="T20" fmla="*/ 0 60000 65536"/>
                <a:gd name="T21" fmla="*/ 0 w 12"/>
                <a:gd name="T22" fmla="*/ 0 h 27"/>
                <a:gd name="T23" fmla="*/ 12 w 12"/>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27">
                  <a:moveTo>
                    <a:pt x="7" y="26"/>
                  </a:moveTo>
                  <a:lnTo>
                    <a:pt x="6" y="27"/>
                  </a:lnTo>
                  <a:lnTo>
                    <a:pt x="2" y="23"/>
                  </a:lnTo>
                  <a:lnTo>
                    <a:pt x="0" y="7"/>
                  </a:lnTo>
                  <a:lnTo>
                    <a:pt x="6" y="0"/>
                  </a:lnTo>
                  <a:lnTo>
                    <a:pt x="12" y="14"/>
                  </a:lnTo>
                  <a:lnTo>
                    <a:pt x="7" y="2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2" name="Freeform 13">
              <a:extLst>
                <a:ext uri="{FF2B5EF4-FFF2-40B4-BE49-F238E27FC236}">
                  <a16:creationId xmlns:a16="http://schemas.microsoft.com/office/drawing/2014/main" id="{7A77BB2D-137A-2032-62D1-69418DF036CD}"/>
                </a:ext>
              </a:extLst>
            </p:cNvPr>
            <p:cNvSpPr>
              <a:spLocks/>
            </p:cNvSpPr>
            <p:nvPr/>
          </p:nvSpPr>
          <p:spPr bwMode="auto">
            <a:xfrm>
              <a:off x="5543426" y="2553020"/>
              <a:ext cx="620474" cy="522405"/>
            </a:xfrm>
            <a:custGeom>
              <a:avLst/>
              <a:gdLst>
                <a:gd name="T0" fmla="*/ 11751 w 322"/>
                <a:gd name="T1" fmla="*/ 7659239 h 260"/>
                <a:gd name="T2" fmla="*/ 13266 w 322"/>
                <a:gd name="T3" fmla="*/ 5797885 h 260"/>
                <a:gd name="T4" fmla="*/ 9372 w 322"/>
                <a:gd name="T5" fmla="*/ 4675778 h 260"/>
                <a:gd name="T6" fmla="*/ 1205 w 322"/>
                <a:gd name="T7" fmla="*/ 2324388 h 260"/>
                <a:gd name="T8" fmla="*/ 0 w 322"/>
                <a:gd name="T9" fmla="*/ 323137 h 260"/>
                <a:gd name="T10" fmla="*/ 2109 w 322"/>
                <a:gd name="T11" fmla="*/ 1 h 260"/>
                <a:gd name="T12" fmla="*/ 9136 w 322"/>
                <a:gd name="T13" fmla="*/ 1016735 h 260"/>
                <a:gd name="T14" fmla="*/ 17907 w 322"/>
                <a:gd name="T15" fmla="*/ 0 h 260"/>
                <a:gd name="T16" fmla="*/ 18504 w 322"/>
                <a:gd name="T17" fmla="*/ 954098 h 260"/>
                <a:gd name="T18" fmla="*/ 26000 w 322"/>
                <a:gd name="T19" fmla="*/ 2660109 h 260"/>
                <a:gd name="T20" fmla="*/ 35919 w 322"/>
                <a:gd name="T21" fmla="*/ 3611153 h 260"/>
                <a:gd name="T22" fmla="*/ 44493 w 322"/>
                <a:gd name="T23" fmla="*/ 3777620 h 260"/>
                <a:gd name="T24" fmla="*/ 48928 w 322"/>
                <a:gd name="T25" fmla="*/ 3482193 h 260"/>
                <a:gd name="T26" fmla="*/ 50004 w 322"/>
                <a:gd name="T27" fmla="*/ 3002022 h 260"/>
                <a:gd name="T28" fmla="*/ 58957 w 322"/>
                <a:gd name="T29" fmla="*/ 2092563 h 260"/>
                <a:gd name="T30" fmla="*/ 71041 w 322"/>
                <a:gd name="T31" fmla="*/ 2633194 h 260"/>
                <a:gd name="T32" fmla="*/ 79280 w 322"/>
                <a:gd name="T33" fmla="*/ 3777620 h 260"/>
                <a:gd name="T34" fmla="*/ 85602 w 322"/>
                <a:gd name="T35" fmla="*/ 5180613 h 260"/>
                <a:gd name="T36" fmla="*/ 83961 w 322"/>
                <a:gd name="T37" fmla="*/ 6941260 h 260"/>
                <a:gd name="T38" fmla="*/ 86196 w 322"/>
                <a:gd name="T39" fmla="*/ 7984994 h 260"/>
                <a:gd name="T40" fmla="*/ 86945 w 322"/>
                <a:gd name="T41" fmla="*/ 9155605 h 260"/>
                <a:gd name="T42" fmla="*/ 92825 w 322"/>
                <a:gd name="T43" fmla="*/ 10662323 h 260"/>
                <a:gd name="T44" fmla="*/ 90352 w 322"/>
                <a:gd name="T45" fmla="*/ 12626302 h 260"/>
                <a:gd name="T46" fmla="*/ 96771 w 322"/>
                <a:gd name="T47" fmla="*/ 14471205 h 260"/>
                <a:gd name="T48" fmla="*/ 102659 w 322"/>
                <a:gd name="T49" fmla="*/ 16092871 h 260"/>
                <a:gd name="T50" fmla="*/ 104400 w 322"/>
                <a:gd name="T51" fmla="*/ 16906630 h 260"/>
                <a:gd name="T52" fmla="*/ 97905 w 322"/>
                <a:gd name="T53" fmla="*/ 17693384 h 260"/>
                <a:gd name="T54" fmla="*/ 92105 w 322"/>
                <a:gd name="T55" fmla="*/ 18568086 h 260"/>
                <a:gd name="T56" fmla="*/ 81251 w 322"/>
                <a:gd name="T57" fmla="*/ 18113876 h 260"/>
                <a:gd name="T58" fmla="*/ 73978 w 322"/>
                <a:gd name="T59" fmla="*/ 17063520 h 260"/>
                <a:gd name="T60" fmla="*/ 67430 w 322"/>
                <a:gd name="T61" fmla="*/ 16556194 h 260"/>
                <a:gd name="T62" fmla="*/ 55960 w 322"/>
                <a:gd name="T63" fmla="*/ 16556194 h 260"/>
                <a:gd name="T64" fmla="*/ 47006 w 322"/>
                <a:gd name="T65" fmla="*/ 15296327 h 260"/>
                <a:gd name="T66" fmla="*/ 40605 w 322"/>
                <a:gd name="T67" fmla="*/ 13572735 h 260"/>
                <a:gd name="T68" fmla="*/ 34174 w 322"/>
                <a:gd name="T69" fmla="*/ 12333193 h 260"/>
                <a:gd name="T70" fmla="*/ 31528 w 322"/>
                <a:gd name="T71" fmla="*/ 11819214 h 260"/>
                <a:gd name="T72" fmla="*/ 29122 w 322"/>
                <a:gd name="T73" fmla="*/ 12600055 h 260"/>
                <a:gd name="T74" fmla="*/ 26000 w 322"/>
                <a:gd name="T75" fmla="*/ 11153834 h 260"/>
                <a:gd name="T76" fmla="*/ 24773 w 322"/>
                <a:gd name="T77" fmla="*/ 10178451 h 260"/>
                <a:gd name="T78" fmla="*/ 18504 w 322"/>
                <a:gd name="T79" fmla="*/ 9021870 h 2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22"/>
                <a:gd name="T121" fmla="*/ 0 h 260"/>
                <a:gd name="T122" fmla="*/ 322 w 322"/>
                <a:gd name="T123" fmla="*/ 260 h 2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22" h="260">
                  <a:moveTo>
                    <a:pt x="45" y="117"/>
                  </a:moveTo>
                  <a:lnTo>
                    <a:pt x="36" y="106"/>
                  </a:lnTo>
                  <a:lnTo>
                    <a:pt x="35" y="96"/>
                  </a:lnTo>
                  <a:lnTo>
                    <a:pt x="41" y="80"/>
                  </a:lnTo>
                  <a:lnTo>
                    <a:pt x="39" y="71"/>
                  </a:lnTo>
                  <a:lnTo>
                    <a:pt x="29" y="65"/>
                  </a:lnTo>
                  <a:lnTo>
                    <a:pt x="14" y="45"/>
                  </a:lnTo>
                  <a:lnTo>
                    <a:pt x="4" y="32"/>
                  </a:lnTo>
                  <a:lnTo>
                    <a:pt x="1" y="14"/>
                  </a:lnTo>
                  <a:lnTo>
                    <a:pt x="0" y="4"/>
                  </a:lnTo>
                  <a:lnTo>
                    <a:pt x="6" y="0"/>
                  </a:lnTo>
                  <a:lnTo>
                    <a:pt x="7" y="1"/>
                  </a:lnTo>
                  <a:lnTo>
                    <a:pt x="10" y="4"/>
                  </a:lnTo>
                  <a:lnTo>
                    <a:pt x="28" y="14"/>
                  </a:lnTo>
                  <a:lnTo>
                    <a:pt x="39" y="8"/>
                  </a:lnTo>
                  <a:lnTo>
                    <a:pt x="55" y="0"/>
                  </a:lnTo>
                  <a:lnTo>
                    <a:pt x="60" y="10"/>
                  </a:lnTo>
                  <a:lnTo>
                    <a:pt x="57" y="13"/>
                  </a:lnTo>
                  <a:lnTo>
                    <a:pt x="71" y="21"/>
                  </a:lnTo>
                  <a:lnTo>
                    <a:pt x="80" y="37"/>
                  </a:lnTo>
                  <a:lnTo>
                    <a:pt x="96" y="45"/>
                  </a:lnTo>
                  <a:lnTo>
                    <a:pt x="110" y="50"/>
                  </a:lnTo>
                  <a:lnTo>
                    <a:pt x="125" y="55"/>
                  </a:lnTo>
                  <a:lnTo>
                    <a:pt x="138" y="52"/>
                  </a:lnTo>
                  <a:lnTo>
                    <a:pt x="148" y="50"/>
                  </a:lnTo>
                  <a:lnTo>
                    <a:pt x="151" y="48"/>
                  </a:lnTo>
                  <a:lnTo>
                    <a:pt x="148" y="42"/>
                  </a:lnTo>
                  <a:lnTo>
                    <a:pt x="154" y="42"/>
                  </a:lnTo>
                  <a:lnTo>
                    <a:pt x="164" y="30"/>
                  </a:lnTo>
                  <a:lnTo>
                    <a:pt x="182" y="29"/>
                  </a:lnTo>
                  <a:lnTo>
                    <a:pt x="196" y="27"/>
                  </a:lnTo>
                  <a:lnTo>
                    <a:pt x="219" y="36"/>
                  </a:lnTo>
                  <a:lnTo>
                    <a:pt x="232" y="45"/>
                  </a:lnTo>
                  <a:lnTo>
                    <a:pt x="245" y="52"/>
                  </a:lnTo>
                  <a:lnTo>
                    <a:pt x="259" y="53"/>
                  </a:lnTo>
                  <a:lnTo>
                    <a:pt x="264" y="72"/>
                  </a:lnTo>
                  <a:lnTo>
                    <a:pt x="261" y="93"/>
                  </a:lnTo>
                  <a:lnTo>
                    <a:pt x="260" y="96"/>
                  </a:lnTo>
                  <a:lnTo>
                    <a:pt x="260" y="104"/>
                  </a:lnTo>
                  <a:lnTo>
                    <a:pt x="266" y="110"/>
                  </a:lnTo>
                  <a:lnTo>
                    <a:pt x="266" y="113"/>
                  </a:lnTo>
                  <a:lnTo>
                    <a:pt x="269" y="127"/>
                  </a:lnTo>
                  <a:lnTo>
                    <a:pt x="272" y="143"/>
                  </a:lnTo>
                  <a:lnTo>
                    <a:pt x="286" y="148"/>
                  </a:lnTo>
                  <a:lnTo>
                    <a:pt x="289" y="155"/>
                  </a:lnTo>
                  <a:lnTo>
                    <a:pt x="279" y="175"/>
                  </a:lnTo>
                  <a:lnTo>
                    <a:pt x="289" y="187"/>
                  </a:lnTo>
                  <a:lnTo>
                    <a:pt x="299" y="200"/>
                  </a:lnTo>
                  <a:lnTo>
                    <a:pt x="312" y="206"/>
                  </a:lnTo>
                  <a:lnTo>
                    <a:pt x="317" y="223"/>
                  </a:lnTo>
                  <a:lnTo>
                    <a:pt x="321" y="226"/>
                  </a:lnTo>
                  <a:lnTo>
                    <a:pt x="322" y="234"/>
                  </a:lnTo>
                  <a:lnTo>
                    <a:pt x="308" y="239"/>
                  </a:lnTo>
                  <a:lnTo>
                    <a:pt x="302" y="245"/>
                  </a:lnTo>
                  <a:lnTo>
                    <a:pt x="302" y="260"/>
                  </a:lnTo>
                  <a:lnTo>
                    <a:pt x="285" y="257"/>
                  </a:lnTo>
                  <a:lnTo>
                    <a:pt x="267" y="254"/>
                  </a:lnTo>
                  <a:lnTo>
                    <a:pt x="251" y="251"/>
                  </a:lnTo>
                  <a:lnTo>
                    <a:pt x="234" y="250"/>
                  </a:lnTo>
                  <a:lnTo>
                    <a:pt x="228" y="236"/>
                  </a:lnTo>
                  <a:lnTo>
                    <a:pt x="221" y="225"/>
                  </a:lnTo>
                  <a:lnTo>
                    <a:pt x="208" y="229"/>
                  </a:lnTo>
                  <a:lnTo>
                    <a:pt x="196" y="235"/>
                  </a:lnTo>
                  <a:lnTo>
                    <a:pt x="173" y="229"/>
                  </a:lnTo>
                  <a:lnTo>
                    <a:pt x="158" y="220"/>
                  </a:lnTo>
                  <a:lnTo>
                    <a:pt x="145" y="212"/>
                  </a:lnTo>
                  <a:lnTo>
                    <a:pt x="132" y="200"/>
                  </a:lnTo>
                  <a:lnTo>
                    <a:pt x="125" y="188"/>
                  </a:lnTo>
                  <a:lnTo>
                    <a:pt x="110" y="170"/>
                  </a:lnTo>
                  <a:lnTo>
                    <a:pt x="105" y="171"/>
                  </a:lnTo>
                  <a:lnTo>
                    <a:pt x="97" y="167"/>
                  </a:lnTo>
                  <a:lnTo>
                    <a:pt x="97" y="164"/>
                  </a:lnTo>
                  <a:lnTo>
                    <a:pt x="93" y="173"/>
                  </a:lnTo>
                  <a:lnTo>
                    <a:pt x="90" y="174"/>
                  </a:lnTo>
                  <a:lnTo>
                    <a:pt x="86" y="167"/>
                  </a:lnTo>
                  <a:lnTo>
                    <a:pt x="80" y="155"/>
                  </a:lnTo>
                  <a:lnTo>
                    <a:pt x="76" y="155"/>
                  </a:lnTo>
                  <a:lnTo>
                    <a:pt x="76" y="141"/>
                  </a:lnTo>
                  <a:lnTo>
                    <a:pt x="70" y="133"/>
                  </a:lnTo>
                  <a:lnTo>
                    <a:pt x="57" y="125"/>
                  </a:lnTo>
                  <a:lnTo>
                    <a:pt x="45" y="11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3" name="Freeform 14">
              <a:extLst>
                <a:ext uri="{FF2B5EF4-FFF2-40B4-BE49-F238E27FC236}">
                  <a16:creationId xmlns:a16="http://schemas.microsoft.com/office/drawing/2014/main" id="{D387BFA7-C051-A0E3-B234-EF8C1230953D}"/>
                </a:ext>
              </a:extLst>
            </p:cNvPr>
            <p:cNvSpPr>
              <a:spLocks/>
            </p:cNvSpPr>
            <p:nvPr/>
          </p:nvSpPr>
          <p:spPr bwMode="auto">
            <a:xfrm>
              <a:off x="5418691" y="2639582"/>
              <a:ext cx="297444" cy="296130"/>
            </a:xfrm>
            <a:custGeom>
              <a:avLst/>
              <a:gdLst>
                <a:gd name="T0" fmla="*/ 28740 w 155"/>
                <a:gd name="T1" fmla="*/ 4605739 h 147"/>
                <a:gd name="T2" fmla="*/ 28578 w 155"/>
                <a:gd name="T3" fmla="*/ 3879365 h 147"/>
                <a:gd name="T4" fmla="*/ 29909 w 155"/>
                <a:gd name="T5" fmla="*/ 2702686 h 147"/>
                <a:gd name="T6" fmla="*/ 29712 w 155"/>
                <a:gd name="T7" fmla="*/ 2041744 h 147"/>
                <a:gd name="T8" fmla="*/ 26873 w 155"/>
                <a:gd name="T9" fmla="*/ 1636744 h 147"/>
                <a:gd name="T10" fmla="*/ 22543 w 155"/>
                <a:gd name="T11" fmla="*/ 158416 h 147"/>
                <a:gd name="T12" fmla="*/ 19966 w 155"/>
                <a:gd name="T13" fmla="*/ 227386 h 147"/>
                <a:gd name="T14" fmla="*/ 18786 w 155"/>
                <a:gd name="T15" fmla="*/ 0 h 147"/>
                <a:gd name="T16" fmla="*/ 13860 w 155"/>
                <a:gd name="T17" fmla="*/ 0 h 147"/>
                <a:gd name="T18" fmla="*/ 12253 w 155"/>
                <a:gd name="T19" fmla="*/ 227386 h 147"/>
                <a:gd name="T20" fmla="*/ 8509 w 155"/>
                <a:gd name="T21" fmla="*/ 1158397 h 147"/>
                <a:gd name="T22" fmla="*/ 8509 w 155"/>
                <a:gd name="T23" fmla="*/ 2490605 h 147"/>
                <a:gd name="T24" fmla="*/ 8509 w 155"/>
                <a:gd name="T25" fmla="*/ 3744369 h 147"/>
                <a:gd name="T26" fmla="*/ 4643 w 155"/>
                <a:gd name="T27" fmla="*/ 4397320 h 147"/>
                <a:gd name="T28" fmla="*/ 0 w 155"/>
                <a:gd name="T29" fmla="*/ 5131387 h 147"/>
                <a:gd name="T30" fmla="*/ 2759 w 155"/>
                <a:gd name="T31" fmla="*/ 6610955 h 147"/>
                <a:gd name="T32" fmla="*/ 6866 w 155"/>
                <a:gd name="T33" fmla="*/ 7198240 h 147"/>
                <a:gd name="T34" fmla="*/ 11000 w 155"/>
                <a:gd name="T35" fmla="*/ 7546680 h 147"/>
                <a:gd name="T36" fmla="*/ 15655 w 155"/>
                <a:gd name="T37" fmla="*/ 8113710 h 147"/>
                <a:gd name="T38" fmla="*/ 19846 w 155"/>
                <a:gd name="T39" fmla="*/ 8545895 h 147"/>
                <a:gd name="T40" fmla="*/ 23414 w 155"/>
                <a:gd name="T41" fmla="*/ 9639828 h 147"/>
                <a:gd name="T42" fmla="*/ 28097 w 155"/>
                <a:gd name="T43" fmla="*/ 10572184 h 147"/>
                <a:gd name="T44" fmla="*/ 35891 w 155"/>
                <a:gd name="T45" fmla="*/ 10801022 h 147"/>
                <a:gd name="T46" fmla="*/ 37814 w 155"/>
                <a:gd name="T47" fmla="*/ 9639828 h 147"/>
                <a:gd name="T48" fmla="*/ 41401 w 155"/>
                <a:gd name="T49" fmla="*/ 9569156 h 147"/>
                <a:gd name="T50" fmla="*/ 44144 w 155"/>
                <a:gd name="T51" fmla="*/ 9639828 h 147"/>
                <a:gd name="T52" fmla="*/ 42809 w 155"/>
                <a:gd name="T53" fmla="*/ 9083495 h 147"/>
                <a:gd name="T54" fmla="*/ 41386 w 155"/>
                <a:gd name="T55" fmla="*/ 8254997 h 147"/>
                <a:gd name="T56" fmla="*/ 40225 w 155"/>
                <a:gd name="T57" fmla="*/ 8254997 h 147"/>
                <a:gd name="T58" fmla="*/ 40225 w 155"/>
                <a:gd name="T59" fmla="*/ 7198240 h 147"/>
                <a:gd name="T60" fmla="*/ 38462 w 155"/>
                <a:gd name="T61" fmla="*/ 6610955 h 147"/>
                <a:gd name="T62" fmla="*/ 34501 w 155"/>
                <a:gd name="T63" fmla="*/ 6038045 h 147"/>
                <a:gd name="T64" fmla="*/ 31429 w 155"/>
                <a:gd name="T65" fmla="*/ 5403546 h 147"/>
                <a:gd name="T66" fmla="*/ 28740 w 155"/>
                <a:gd name="T67" fmla="*/ 4605739 h 1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5"/>
                <a:gd name="T103" fmla="*/ 0 h 147"/>
                <a:gd name="T104" fmla="*/ 155 w 155"/>
                <a:gd name="T105" fmla="*/ 147 h 1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5" h="147">
                  <a:moveTo>
                    <a:pt x="101" y="63"/>
                  </a:moveTo>
                  <a:lnTo>
                    <a:pt x="100" y="53"/>
                  </a:lnTo>
                  <a:lnTo>
                    <a:pt x="106" y="37"/>
                  </a:lnTo>
                  <a:lnTo>
                    <a:pt x="104" y="28"/>
                  </a:lnTo>
                  <a:lnTo>
                    <a:pt x="94" y="22"/>
                  </a:lnTo>
                  <a:lnTo>
                    <a:pt x="79" y="2"/>
                  </a:lnTo>
                  <a:lnTo>
                    <a:pt x="71" y="3"/>
                  </a:lnTo>
                  <a:lnTo>
                    <a:pt x="66" y="0"/>
                  </a:lnTo>
                  <a:lnTo>
                    <a:pt x="48" y="0"/>
                  </a:lnTo>
                  <a:lnTo>
                    <a:pt x="43" y="3"/>
                  </a:lnTo>
                  <a:lnTo>
                    <a:pt x="30" y="16"/>
                  </a:lnTo>
                  <a:lnTo>
                    <a:pt x="30" y="34"/>
                  </a:lnTo>
                  <a:lnTo>
                    <a:pt x="30" y="51"/>
                  </a:lnTo>
                  <a:lnTo>
                    <a:pt x="16" y="60"/>
                  </a:lnTo>
                  <a:lnTo>
                    <a:pt x="0" y="70"/>
                  </a:lnTo>
                  <a:lnTo>
                    <a:pt x="10" y="90"/>
                  </a:lnTo>
                  <a:lnTo>
                    <a:pt x="24" y="98"/>
                  </a:lnTo>
                  <a:lnTo>
                    <a:pt x="39" y="103"/>
                  </a:lnTo>
                  <a:lnTo>
                    <a:pt x="55" y="111"/>
                  </a:lnTo>
                  <a:lnTo>
                    <a:pt x="69" y="116"/>
                  </a:lnTo>
                  <a:lnTo>
                    <a:pt x="82" y="131"/>
                  </a:lnTo>
                  <a:lnTo>
                    <a:pt x="98" y="144"/>
                  </a:lnTo>
                  <a:lnTo>
                    <a:pt x="127" y="147"/>
                  </a:lnTo>
                  <a:lnTo>
                    <a:pt x="133" y="131"/>
                  </a:lnTo>
                  <a:lnTo>
                    <a:pt x="146" y="130"/>
                  </a:lnTo>
                  <a:lnTo>
                    <a:pt x="155" y="131"/>
                  </a:lnTo>
                  <a:lnTo>
                    <a:pt x="151" y="124"/>
                  </a:lnTo>
                  <a:lnTo>
                    <a:pt x="145" y="112"/>
                  </a:lnTo>
                  <a:lnTo>
                    <a:pt x="141" y="112"/>
                  </a:lnTo>
                  <a:lnTo>
                    <a:pt x="141" y="98"/>
                  </a:lnTo>
                  <a:lnTo>
                    <a:pt x="135" y="90"/>
                  </a:lnTo>
                  <a:lnTo>
                    <a:pt x="122" y="82"/>
                  </a:lnTo>
                  <a:lnTo>
                    <a:pt x="110" y="74"/>
                  </a:lnTo>
                  <a:lnTo>
                    <a:pt x="101" y="6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4" name="Freeform 15">
              <a:extLst>
                <a:ext uri="{FF2B5EF4-FFF2-40B4-BE49-F238E27FC236}">
                  <a16:creationId xmlns:a16="http://schemas.microsoft.com/office/drawing/2014/main" id="{79D7DB6B-9D41-1166-8317-B55B6F115D5B}"/>
                </a:ext>
              </a:extLst>
            </p:cNvPr>
            <p:cNvSpPr>
              <a:spLocks/>
            </p:cNvSpPr>
            <p:nvPr/>
          </p:nvSpPr>
          <p:spPr bwMode="auto">
            <a:xfrm>
              <a:off x="5663362" y="2902302"/>
              <a:ext cx="54371" cy="51633"/>
            </a:xfrm>
            <a:custGeom>
              <a:avLst/>
              <a:gdLst>
                <a:gd name="T0" fmla="*/ 3391 w 29"/>
                <a:gd name="T1" fmla="*/ 451305 h 26"/>
                <a:gd name="T2" fmla="*/ 2530 w 29"/>
                <a:gd name="T3" fmla="*/ 451305 h 26"/>
                <a:gd name="T4" fmla="*/ 2530 w 29"/>
                <a:gd name="T5" fmla="*/ 745224 h 26"/>
                <a:gd name="T6" fmla="*/ 3992 w 29"/>
                <a:gd name="T7" fmla="*/ 1461077 h 26"/>
                <a:gd name="T8" fmla="*/ 2158 w 29"/>
                <a:gd name="T9" fmla="*/ 1327430 h 26"/>
                <a:gd name="T10" fmla="*/ 1841 w 29"/>
                <a:gd name="T11" fmla="*/ 1026703 h 26"/>
                <a:gd name="T12" fmla="*/ 0 w 29"/>
                <a:gd name="T13" fmla="*/ 932789 h 26"/>
                <a:gd name="T14" fmla="*/ 814 w 29"/>
                <a:gd name="T15" fmla="*/ 1 h 26"/>
                <a:gd name="T16" fmla="*/ 2530 w 29"/>
                <a:gd name="T17" fmla="*/ 0 h 26"/>
                <a:gd name="T18" fmla="*/ 3391 w 29"/>
                <a:gd name="T19" fmla="*/ 451305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6"/>
                <a:gd name="T32" fmla="*/ 29 w 29"/>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6">
                  <a:moveTo>
                    <a:pt x="24" y="8"/>
                  </a:moveTo>
                  <a:lnTo>
                    <a:pt x="19" y="8"/>
                  </a:lnTo>
                  <a:lnTo>
                    <a:pt x="19" y="13"/>
                  </a:lnTo>
                  <a:lnTo>
                    <a:pt x="29" y="26"/>
                  </a:lnTo>
                  <a:lnTo>
                    <a:pt x="16" y="24"/>
                  </a:lnTo>
                  <a:lnTo>
                    <a:pt x="14" y="18"/>
                  </a:lnTo>
                  <a:lnTo>
                    <a:pt x="0" y="17"/>
                  </a:lnTo>
                  <a:lnTo>
                    <a:pt x="6" y="1"/>
                  </a:lnTo>
                  <a:lnTo>
                    <a:pt x="19" y="0"/>
                  </a:lnTo>
                  <a:lnTo>
                    <a:pt x="24" y="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5" name="Freeform 16">
              <a:extLst>
                <a:ext uri="{FF2B5EF4-FFF2-40B4-BE49-F238E27FC236}">
                  <a16:creationId xmlns:a16="http://schemas.microsoft.com/office/drawing/2014/main" id="{E5B3A06C-DDD0-812C-CBFB-99BEDEB50A09}"/>
                </a:ext>
              </a:extLst>
            </p:cNvPr>
            <p:cNvSpPr>
              <a:spLocks/>
            </p:cNvSpPr>
            <p:nvPr/>
          </p:nvSpPr>
          <p:spPr bwMode="auto">
            <a:xfrm>
              <a:off x="5025298" y="2841558"/>
              <a:ext cx="335824" cy="358394"/>
            </a:xfrm>
            <a:custGeom>
              <a:avLst/>
              <a:gdLst>
                <a:gd name="T0" fmla="*/ 47184 w 174"/>
                <a:gd name="T1" fmla="*/ 5158661 h 178"/>
                <a:gd name="T2" fmla="*/ 43929 w 174"/>
                <a:gd name="T3" fmla="*/ 3943182 h 178"/>
                <a:gd name="T4" fmla="*/ 40529 w 174"/>
                <a:gd name="T5" fmla="*/ 2494004 h 178"/>
                <a:gd name="T6" fmla="*/ 39388 w 174"/>
                <a:gd name="T7" fmla="*/ 2657123 h 178"/>
                <a:gd name="T8" fmla="*/ 41357 w 174"/>
                <a:gd name="T9" fmla="*/ 3709190 h 178"/>
                <a:gd name="T10" fmla="*/ 43929 w 174"/>
                <a:gd name="T11" fmla="*/ 4798685 h 178"/>
                <a:gd name="T12" fmla="*/ 45950 w 174"/>
                <a:gd name="T13" fmla="*/ 5854702 h 178"/>
                <a:gd name="T14" fmla="*/ 48202 w 174"/>
                <a:gd name="T15" fmla="*/ 6901479 h 178"/>
                <a:gd name="T16" fmla="*/ 50635 w 174"/>
                <a:gd name="T17" fmla="*/ 7904440 h 178"/>
                <a:gd name="T18" fmla="*/ 53241 w 174"/>
                <a:gd name="T19" fmla="*/ 8911855 h 178"/>
                <a:gd name="T20" fmla="*/ 55941 w 174"/>
                <a:gd name="T21" fmla="*/ 9758236 h 178"/>
                <a:gd name="T22" fmla="*/ 59034 w 174"/>
                <a:gd name="T23" fmla="*/ 10765714 h 178"/>
                <a:gd name="T24" fmla="*/ 58946 w 174"/>
                <a:gd name="T25" fmla="*/ 10765714 h 178"/>
                <a:gd name="T26" fmla="*/ 58946 w 174"/>
                <a:gd name="T27" fmla="*/ 11910425 h 178"/>
                <a:gd name="T28" fmla="*/ 56946 w 174"/>
                <a:gd name="T29" fmla="*/ 12496874 h 178"/>
                <a:gd name="T30" fmla="*/ 55916 w 174"/>
                <a:gd name="T31" fmla="*/ 12415104 h 178"/>
                <a:gd name="T32" fmla="*/ 54385 w 174"/>
                <a:gd name="T33" fmla="*/ 13167698 h 178"/>
                <a:gd name="T34" fmla="*/ 51499 w 174"/>
                <a:gd name="T35" fmla="*/ 13242415 h 178"/>
                <a:gd name="T36" fmla="*/ 50548 w 174"/>
                <a:gd name="T37" fmla="*/ 13870334 h 178"/>
                <a:gd name="T38" fmla="*/ 43929 w 174"/>
                <a:gd name="T39" fmla="*/ 13749157 h 178"/>
                <a:gd name="T40" fmla="*/ 37392 w 174"/>
                <a:gd name="T41" fmla="*/ 13524728 h 178"/>
                <a:gd name="T42" fmla="*/ 37206 w 174"/>
                <a:gd name="T43" fmla="*/ 13242415 h 178"/>
                <a:gd name="T44" fmla="*/ 36398 w 174"/>
                <a:gd name="T45" fmla="*/ 13524728 h 178"/>
                <a:gd name="T46" fmla="*/ 31807 w 174"/>
                <a:gd name="T47" fmla="*/ 13524728 h 178"/>
                <a:gd name="T48" fmla="*/ 28212 w 174"/>
                <a:gd name="T49" fmla="*/ 13524728 h 178"/>
                <a:gd name="T50" fmla="*/ 24324 w 174"/>
                <a:gd name="T51" fmla="*/ 13524728 h 178"/>
                <a:gd name="T52" fmla="*/ 19493 w 174"/>
                <a:gd name="T53" fmla="*/ 13524728 h 178"/>
                <a:gd name="T54" fmla="*/ 15827 w 174"/>
                <a:gd name="T55" fmla="*/ 13524728 h 178"/>
                <a:gd name="T56" fmla="*/ 12100 w 174"/>
                <a:gd name="T57" fmla="*/ 13524728 h 178"/>
                <a:gd name="T58" fmla="*/ 7612 w 174"/>
                <a:gd name="T59" fmla="*/ 13524728 h 178"/>
                <a:gd name="T60" fmla="*/ 3289 w 174"/>
                <a:gd name="T61" fmla="*/ 13524728 h 178"/>
                <a:gd name="T62" fmla="*/ 2725 w 174"/>
                <a:gd name="T63" fmla="*/ 12255049 h 178"/>
                <a:gd name="T64" fmla="*/ 2725 w 174"/>
                <a:gd name="T65" fmla="*/ 10911950 h 178"/>
                <a:gd name="T66" fmla="*/ 2258 w 174"/>
                <a:gd name="T67" fmla="*/ 9644216 h 178"/>
                <a:gd name="T68" fmla="*/ 1871 w 174"/>
                <a:gd name="T69" fmla="*/ 8338006 h 178"/>
                <a:gd name="T70" fmla="*/ 1284 w 174"/>
                <a:gd name="T71" fmla="*/ 6948099 h 178"/>
                <a:gd name="T72" fmla="*/ 1284 w 174"/>
                <a:gd name="T73" fmla="*/ 5696232 h 178"/>
                <a:gd name="T74" fmla="*/ 1064 w 174"/>
                <a:gd name="T75" fmla="*/ 4371237 h 178"/>
                <a:gd name="T76" fmla="*/ 1 w 174"/>
                <a:gd name="T77" fmla="*/ 3120637 h 178"/>
                <a:gd name="T78" fmla="*/ 0 w 174"/>
                <a:gd name="T79" fmla="*/ 1968091 h 178"/>
                <a:gd name="T80" fmla="*/ 0 w 174"/>
                <a:gd name="T81" fmla="*/ 921652 h 178"/>
                <a:gd name="T82" fmla="*/ 1064 w 174"/>
                <a:gd name="T83" fmla="*/ 0 h 178"/>
                <a:gd name="T84" fmla="*/ 4478 w 174"/>
                <a:gd name="T85" fmla="*/ 166045 h 178"/>
                <a:gd name="T86" fmla="*/ 12266 w 174"/>
                <a:gd name="T87" fmla="*/ 640836 h 178"/>
                <a:gd name="T88" fmla="*/ 20154 w 174"/>
                <a:gd name="T89" fmla="*/ 1089802 h 178"/>
                <a:gd name="T90" fmla="*/ 27191 w 174"/>
                <a:gd name="T91" fmla="*/ 640836 h 178"/>
                <a:gd name="T92" fmla="*/ 30828 w 174"/>
                <a:gd name="T93" fmla="*/ 166045 h 178"/>
                <a:gd name="T94" fmla="*/ 28915 w 174"/>
                <a:gd name="T95" fmla="*/ 366343 h 178"/>
                <a:gd name="T96" fmla="*/ 31546 w 174"/>
                <a:gd name="T97" fmla="*/ 166045 h 178"/>
                <a:gd name="T98" fmla="*/ 36398 w 174"/>
                <a:gd name="T99" fmla="*/ 493952 h 178"/>
                <a:gd name="T100" fmla="*/ 38073 w 174"/>
                <a:gd name="T101" fmla="*/ 710403 h 178"/>
                <a:gd name="T102" fmla="*/ 40529 w 174"/>
                <a:gd name="T103" fmla="*/ 866468 h 178"/>
                <a:gd name="T104" fmla="*/ 47802 w 174"/>
                <a:gd name="T105" fmla="*/ 493952 h 178"/>
                <a:gd name="T106" fmla="*/ 49596 w 174"/>
                <a:gd name="T107" fmla="*/ 1734112 h 178"/>
                <a:gd name="T108" fmla="*/ 52169 w 174"/>
                <a:gd name="T109" fmla="*/ 3120637 h 178"/>
                <a:gd name="T110" fmla="*/ 51499 w 174"/>
                <a:gd name="T111" fmla="*/ 4230423 h 178"/>
                <a:gd name="T112" fmla="*/ 49596 w 174"/>
                <a:gd name="T113" fmla="*/ 5334565 h 178"/>
                <a:gd name="T114" fmla="*/ 47184 w 174"/>
                <a:gd name="T115" fmla="*/ 5158661 h 1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4"/>
                <a:gd name="T175" fmla="*/ 0 h 178"/>
                <a:gd name="T176" fmla="*/ 174 w 174"/>
                <a:gd name="T177" fmla="*/ 178 h 17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4" h="178">
                  <a:moveTo>
                    <a:pt x="138" y="66"/>
                  </a:moveTo>
                  <a:lnTo>
                    <a:pt x="129" y="50"/>
                  </a:lnTo>
                  <a:lnTo>
                    <a:pt x="119" y="32"/>
                  </a:lnTo>
                  <a:lnTo>
                    <a:pt x="116" y="34"/>
                  </a:lnTo>
                  <a:lnTo>
                    <a:pt x="122" y="48"/>
                  </a:lnTo>
                  <a:lnTo>
                    <a:pt x="129" y="61"/>
                  </a:lnTo>
                  <a:lnTo>
                    <a:pt x="135" y="75"/>
                  </a:lnTo>
                  <a:lnTo>
                    <a:pt x="142" y="88"/>
                  </a:lnTo>
                  <a:lnTo>
                    <a:pt x="149" y="101"/>
                  </a:lnTo>
                  <a:lnTo>
                    <a:pt x="157" y="114"/>
                  </a:lnTo>
                  <a:lnTo>
                    <a:pt x="165" y="125"/>
                  </a:lnTo>
                  <a:lnTo>
                    <a:pt x="174" y="138"/>
                  </a:lnTo>
                  <a:lnTo>
                    <a:pt x="173" y="138"/>
                  </a:lnTo>
                  <a:lnTo>
                    <a:pt x="173" y="153"/>
                  </a:lnTo>
                  <a:lnTo>
                    <a:pt x="167" y="160"/>
                  </a:lnTo>
                  <a:lnTo>
                    <a:pt x="164" y="159"/>
                  </a:lnTo>
                  <a:lnTo>
                    <a:pt x="160" y="169"/>
                  </a:lnTo>
                  <a:lnTo>
                    <a:pt x="151" y="170"/>
                  </a:lnTo>
                  <a:lnTo>
                    <a:pt x="148" y="178"/>
                  </a:lnTo>
                  <a:lnTo>
                    <a:pt x="129" y="176"/>
                  </a:lnTo>
                  <a:lnTo>
                    <a:pt x="110" y="173"/>
                  </a:lnTo>
                  <a:lnTo>
                    <a:pt x="109" y="170"/>
                  </a:lnTo>
                  <a:lnTo>
                    <a:pt x="107" y="173"/>
                  </a:lnTo>
                  <a:lnTo>
                    <a:pt x="94" y="173"/>
                  </a:lnTo>
                  <a:lnTo>
                    <a:pt x="83" y="173"/>
                  </a:lnTo>
                  <a:lnTo>
                    <a:pt x="71" y="173"/>
                  </a:lnTo>
                  <a:lnTo>
                    <a:pt x="58" y="173"/>
                  </a:lnTo>
                  <a:lnTo>
                    <a:pt x="46" y="173"/>
                  </a:lnTo>
                  <a:lnTo>
                    <a:pt x="35" y="173"/>
                  </a:lnTo>
                  <a:lnTo>
                    <a:pt x="22" y="173"/>
                  </a:lnTo>
                  <a:lnTo>
                    <a:pt x="10" y="173"/>
                  </a:lnTo>
                  <a:lnTo>
                    <a:pt x="8" y="157"/>
                  </a:lnTo>
                  <a:lnTo>
                    <a:pt x="8" y="140"/>
                  </a:lnTo>
                  <a:lnTo>
                    <a:pt x="7" y="124"/>
                  </a:lnTo>
                  <a:lnTo>
                    <a:pt x="6" y="107"/>
                  </a:lnTo>
                  <a:lnTo>
                    <a:pt x="4" y="89"/>
                  </a:lnTo>
                  <a:lnTo>
                    <a:pt x="4" y="73"/>
                  </a:lnTo>
                  <a:lnTo>
                    <a:pt x="3" y="56"/>
                  </a:lnTo>
                  <a:lnTo>
                    <a:pt x="1" y="40"/>
                  </a:lnTo>
                  <a:lnTo>
                    <a:pt x="0" y="25"/>
                  </a:lnTo>
                  <a:lnTo>
                    <a:pt x="0" y="12"/>
                  </a:lnTo>
                  <a:lnTo>
                    <a:pt x="3" y="0"/>
                  </a:lnTo>
                  <a:lnTo>
                    <a:pt x="13" y="2"/>
                  </a:lnTo>
                  <a:lnTo>
                    <a:pt x="36" y="8"/>
                  </a:lnTo>
                  <a:lnTo>
                    <a:pt x="59" y="14"/>
                  </a:lnTo>
                  <a:lnTo>
                    <a:pt x="80" y="8"/>
                  </a:lnTo>
                  <a:lnTo>
                    <a:pt x="90" y="2"/>
                  </a:lnTo>
                  <a:lnTo>
                    <a:pt x="85" y="5"/>
                  </a:lnTo>
                  <a:lnTo>
                    <a:pt x="93" y="2"/>
                  </a:lnTo>
                  <a:lnTo>
                    <a:pt x="107" y="6"/>
                  </a:lnTo>
                  <a:lnTo>
                    <a:pt x="112" y="9"/>
                  </a:lnTo>
                  <a:lnTo>
                    <a:pt x="119" y="11"/>
                  </a:lnTo>
                  <a:lnTo>
                    <a:pt x="141" y="6"/>
                  </a:lnTo>
                  <a:lnTo>
                    <a:pt x="146" y="22"/>
                  </a:lnTo>
                  <a:lnTo>
                    <a:pt x="154" y="40"/>
                  </a:lnTo>
                  <a:lnTo>
                    <a:pt x="151" y="54"/>
                  </a:lnTo>
                  <a:lnTo>
                    <a:pt x="146" y="69"/>
                  </a:lnTo>
                  <a:lnTo>
                    <a:pt x="138" y="6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6" name="Freeform 17">
              <a:extLst>
                <a:ext uri="{FF2B5EF4-FFF2-40B4-BE49-F238E27FC236}">
                  <a16:creationId xmlns:a16="http://schemas.microsoft.com/office/drawing/2014/main" id="{FC27EA27-A720-F5C7-5F0F-7B944620279D}"/>
                </a:ext>
              </a:extLst>
            </p:cNvPr>
            <p:cNvSpPr>
              <a:spLocks/>
            </p:cNvSpPr>
            <p:nvPr/>
          </p:nvSpPr>
          <p:spPr bwMode="auto">
            <a:xfrm>
              <a:off x="5297155" y="2782332"/>
              <a:ext cx="33582" cy="139713"/>
            </a:xfrm>
            <a:custGeom>
              <a:avLst/>
              <a:gdLst>
                <a:gd name="T0" fmla="*/ 9331 w 17"/>
                <a:gd name="T1" fmla="*/ 5011084 h 69"/>
                <a:gd name="T2" fmla="*/ 3379 w 17"/>
                <a:gd name="T3" fmla="*/ 3706999 h 69"/>
                <a:gd name="T4" fmla="*/ 0 w 17"/>
                <a:gd name="T5" fmla="*/ 2525833 h 69"/>
                <a:gd name="T6" fmla="*/ 2735 w 17"/>
                <a:gd name="T7" fmla="*/ 1373059 h 69"/>
                <a:gd name="T8" fmla="*/ 5486 w 17"/>
                <a:gd name="T9" fmla="*/ 225818 h 69"/>
                <a:gd name="T10" fmla="*/ 12006 w 17"/>
                <a:gd name="T11" fmla="*/ 0 h 69"/>
                <a:gd name="T12" fmla="*/ 12006 w 17"/>
                <a:gd name="T13" fmla="*/ 798241 h 69"/>
                <a:gd name="T14" fmla="*/ 12006 w 17"/>
                <a:gd name="T15" fmla="*/ 1701619 h 69"/>
                <a:gd name="T16" fmla="*/ 11527 w 17"/>
                <a:gd name="T17" fmla="*/ 2769266 h 69"/>
                <a:gd name="T18" fmla="*/ 9719 w 17"/>
                <a:gd name="T19" fmla="*/ 3825575 h 69"/>
                <a:gd name="T20" fmla="*/ 9719 w 17"/>
                <a:gd name="T21" fmla="*/ 4853599 h 69"/>
                <a:gd name="T22" fmla="*/ 9331 w 17"/>
                <a:gd name="T23" fmla="*/ 5011084 h 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69"/>
                <a:gd name="T38" fmla="*/ 17 w 17"/>
                <a:gd name="T39" fmla="*/ 69 h 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69">
                  <a:moveTo>
                    <a:pt x="13" y="69"/>
                  </a:moveTo>
                  <a:lnTo>
                    <a:pt x="5" y="51"/>
                  </a:lnTo>
                  <a:lnTo>
                    <a:pt x="0" y="35"/>
                  </a:lnTo>
                  <a:lnTo>
                    <a:pt x="4" y="19"/>
                  </a:lnTo>
                  <a:lnTo>
                    <a:pt x="8" y="3"/>
                  </a:lnTo>
                  <a:lnTo>
                    <a:pt x="17" y="0"/>
                  </a:lnTo>
                  <a:lnTo>
                    <a:pt x="17" y="11"/>
                  </a:lnTo>
                  <a:lnTo>
                    <a:pt x="17" y="24"/>
                  </a:lnTo>
                  <a:lnTo>
                    <a:pt x="16" y="38"/>
                  </a:lnTo>
                  <a:lnTo>
                    <a:pt x="14" y="53"/>
                  </a:lnTo>
                  <a:lnTo>
                    <a:pt x="14" y="67"/>
                  </a:lnTo>
                  <a:lnTo>
                    <a:pt x="13" y="6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7" name="Freeform 18">
              <a:extLst>
                <a:ext uri="{FF2B5EF4-FFF2-40B4-BE49-F238E27FC236}">
                  <a16:creationId xmlns:a16="http://schemas.microsoft.com/office/drawing/2014/main" id="{B9536116-7913-B7EC-0F4E-7D537A52E4C5}"/>
                </a:ext>
              </a:extLst>
            </p:cNvPr>
            <p:cNvSpPr>
              <a:spLocks/>
            </p:cNvSpPr>
            <p:nvPr/>
          </p:nvSpPr>
          <p:spPr bwMode="auto">
            <a:xfrm>
              <a:off x="5322742" y="2779295"/>
              <a:ext cx="116739" cy="151862"/>
            </a:xfrm>
            <a:custGeom>
              <a:avLst/>
              <a:gdLst>
                <a:gd name="T0" fmla="*/ 9767 w 60"/>
                <a:gd name="T1" fmla="*/ 1525830 h 75"/>
                <a:gd name="T2" fmla="*/ 1405 w 60"/>
                <a:gd name="T3" fmla="*/ 948531 h 75"/>
                <a:gd name="T4" fmla="*/ 1405 w 60"/>
                <a:gd name="T5" fmla="*/ 2048532 h 75"/>
                <a:gd name="T6" fmla="*/ 2 w 60"/>
                <a:gd name="T7" fmla="*/ 3163960 h 75"/>
                <a:gd name="T8" fmla="*/ 0 w 60"/>
                <a:gd name="T9" fmla="*/ 4378602 h 75"/>
                <a:gd name="T10" fmla="*/ 0 w 60"/>
                <a:gd name="T11" fmla="*/ 5504771 h 75"/>
                <a:gd name="T12" fmla="*/ 0 w 60"/>
                <a:gd name="T13" fmla="*/ 5748180 h 75"/>
                <a:gd name="T14" fmla="*/ 6743 w 60"/>
                <a:gd name="T15" fmla="*/ 6116884 h 75"/>
                <a:gd name="T16" fmla="*/ 11348 w 60"/>
                <a:gd name="T17" fmla="*/ 5003665 h 75"/>
                <a:gd name="T18" fmla="*/ 16696 w 60"/>
                <a:gd name="T19" fmla="*/ 4877927 h 75"/>
                <a:gd name="T20" fmla="*/ 19360 w 60"/>
                <a:gd name="T21" fmla="*/ 4088848 h 75"/>
                <a:gd name="T22" fmla="*/ 11348 w 60"/>
                <a:gd name="T23" fmla="*/ 2702710 h 75"/>
                <a:gd name="T24" fmla="*/ 19360 w 60"/>
                <a:gd name="T25" fmla="*/ 2054912 h 75"/>
                <a:gd name="T26" fmla="*/ 26039 w 60"/>
                <a:gd name="T27" fmla="*/ 1633609 h 75"/>
                <a:gd name="T28" fmla="*/ 21872 w 60"/>
                <a:gd name="T29" fmla="*/ 0 h 75"/>
                <a:gd name="T30" fmla="*/ 16362 w 60"/>
                <a:gd name="T31" fmla="*/ 735836 h 75"/>
                <a:gd name="T32" fmla="*/ 9767 w 60"/>
                <a:gd name="T33" fmla="*/ 1525830 h 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0"/>
                <a:gd name="T52" fmla="*/ 0 h 75"/>
                <a:gd name="T53" fmla="*/ 60 w 60"/>
                <a:gd name="T54" fmla="*/ 75 h 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0" h="75">
                  <a:moveTo>
                    <a:pt x="22" y="19"/>
                  </a:moveTo>
                  <a:lnTo>
                    <a:pt x="3" y="12"/>
                  </a:lnTo>
                  <a:lnTo>
                    <a:pt x="3" y="25"/>
                  </a:lnTo>
                  <a:lnTo>
                    <a:pt x="2" y="39"/>
                  </a:lnTo>
                  <a:lnTo>
                    <a:pt x="0" y="54"/>
                  </a:lnTo>
                  <a:lnTo>
                    <a:pt x="0" y="68"/>
                  </a:lnTo>
                  <a:lnTo>
                    <a:pt x="0" y="71"/>
                  </a:lnTo>
                  <a:lnTo>
                    <a:pt x="16" y="75"/>
                  </a:lnTo>
                  <a:lnTo>
                    <a:pt x="26" y="62"/>
                  </a:lnTo>
                  <a:lnTo>
                    <a:pt x="38" y="60"/>
                  </a:lnTo>
                  <a:lnTo>
                    <a:pt x="44" y="51"/>
                  </a:lnTo>
                  <a:lnTo>
                    <a:pt x="26" y="33"/>
                  </a:lnTo>
                  <a:lnTo>
                    <a:pt x="44" y="26"/>
                  </a:lnTo>
                  <a:lnTo>
                    <a:pt x="60" y="20"/>
                  </a:lnTo>
                  <a:lnTo>
                    <a:pt x="50" y="0"/>
                  </a:lnTo>
                  <a:lnTo>
                    <a:pt x="37" y="9"/>
                  </a:lnTo>
                  <a:lnTo>
                    <a:pt x="22" y="1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8" name="Freeform 19">
              <a:extLst>
                <a:ext uri="{FF2B5EF4-FFF2-40B4-BE49-F238E27FC236}">
                  <a16:creationId xmlns:a16="http://schemas.microsoft.com/office/drawing/2014/main" id="{ADE98E72-A1E6-B213-1460-D65E9E217DDE}"/>
                </a:ext>
              </a:extLst>
            </p:cNvPr>
            <p:cNvSpPr>
              <a:spLocks/>
            </p:cNvSpPr>
            <p:nvPr/>
          </p:nvSpPr>
          <p:spPr bwMode="auto">
            <a:xfrm>
              <a:off x="5853663" y="3083018"/>
              <a:ext cx="225481" cy="302204"/>
            </a:xfrm>
            <a:custGeom>
              <a:avLst/>
              <a:gdLst>
                <a:gd name="T0" fmla="*/ 29440 w 118"/>
                <a:gd name="T1" fmla="*/ 3028286 h 151"/>
                <a:gd name="T2" fmla="*/ 26506 w 118"/>
                <a:gd name="T3" fmla="*/ 2350992 h 151"/>
                <a:gd name="T4" fmla="*/ 23817 w 118"/>
                <a:gd name="T5" fmla="*/ 1577867 h 151"/>
                <a:gd name="T6" fmla="*/ 20561 w 118"/>
                <a:gd name="T7" fmla="*/ 1326709 h 151"/>
                <a:gd name="T8" fmla="*/ 17207 w 118"/>
                <a:gd name="T9" fmla="*/ 927468 h 151"/>
                <a:gd name="T10" fmla="*/ 15068 w 118"/>
                <a:gd name="T11" fmla="*/ 1 h 151"/>
                <a:gd name="T12" fmla="*/ 13655 w 118"/>
                <a:gd name="T13" fmla="*/ 299340 h 151"/>
                <a:gd name="T14" fmla="*/ 13639 w 118"/>
                <a:gd name="T15" fmla="*/ 0 h 151"/>
                <a:gd name="T16" fmla="*/ 14221 w 118"/>
                <a:gd name="T17" fmla="*/ 1103046 h 151"/>
                <a:gd name="T18" fmla="*/ 11901 w 118"/>
                <a:gd name="T19" fmla="*/ 1326709 h 151"/>
                <a:gd name="T20" fmla="*/ 11414 w 118"/>
                <a:gd name="T21" fmla="*/ 2776092 h 151"/>
                <a:gd name="T22" fmla="*/ 13639 w 118"/>
                <a:gd name="T23" fmla="*/ 3515504 h 151"/>
                <a:gd name="T24" fmla="*/ 12689 w 118"/>
                <a:gd name="T25" fmla="*/ 4733203 h 151"/>
                <a:gd name="T26" fmla="*/ 11788 w 118"/>
                <a:gd name="T27" fmla="*/ 5975163 h 151"/>
                <a:gd name="T28" fmla="*/ 8832 w 118"/>
                <a:gd name="T29" fmla="*/ 6196557 h 151"/>
                <a:gd name="T30" fmla="*/ 6224 w 118"/>
                <a:gd name="T31" fmla="*/ 6448845 h 151"/>
                <a:gd name="T32" fmla="*/ 3282 w 118"/>
                <a:gd name="T33" fmla="*/ 6770670 h 151"/>
                <a:gd name="T34" fmla="*/ 2 w 118"/>
                <a:gd name="T35" fmla="*/ 7069774 h 151"/>
                <a:gd name="T36" fmla="*/ 0 w 118"/>
                <a:gd name="T37" fmla="*/ 7649581 h 151"/>
                <a:gd name="T38" fmla="*/ 2539 w 118"/>
                <a:gd name="T39" fmla="*/ 8761228 h 151"/>
                <a:gd name="T40" fmla="*/ 5420 w 118"/>
                <a:gd name="T41" fmla="*/ 9966811 h 151"/>
                <a:gd name="T42" fmla="*/ 8768 w 118"/>
                <a:gd name="T43" fmla="*/ 9757918 h 151"/>
                <a:gd name="T44" fmla="*/ 11788 w 118"/>
                <a:gd name="T45" fmla="*/ 9450477 h 151"/>
                <a:gd name="T46" fmla="*/ 13655 w 118"/>
                <a:gd name="T47" fmla="*/ 9011193 h 151"/>
                <a:gd name="T48" fmla="*/ 15068 w 118"/>
                <a:gd name="T49" fmla="*/ 8397742 h 151"/>
                <a:gd name="T50" fmla="*/ 18313 w 118"/>
                <a:gd name="T51" fmla="*/ 8125759 h 151"/>
                <a:gd name="T52" fmla="*/ 20113 w 118"/>
                <a:gd name="T53" fmla="*/ 7270772 h 151"/>
                <a:gd name="T54" fmla="*/ 23074 w 118"/>
                <a:gd name="T55" fmla="*/ 6881474 h 151"/>
                <a:gd name="T56" fmla="*/ 23074 w 118"/>
                <a:gd name="T57" fmla="*/ 5641104 h 151"/>
                <a:gd name="T58" fmla="*/ 24033 w 118"/>
                <a:gd name="T59" fmla="*/ 5347627 h 151"/>
                <a:gd name="T60" fmla="*/ 24967 w 118"/>
                <a:gd name="T61" fmla="*/ 5347627 h 151"/>
                <a:gd name="T62" fmla="*/ 27030 w 118"/>
                <a:gd name="T63" fmla="*/ 4256135 h 151"/>
                <a:gd name="T64" fmla="*/ 29440 w 118"/>
                <a:gd name="T65" fmla="*/ 3028286 h 15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
                <a:gd name="T100" fmla="*/ 0 h 151"/>
                <a:gd name="T101" fmla="*/ 118 w 118"/>
                <a:gd name="T102" fmla="*/ 151 h 15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 h="151">
                  <a:moveTo>
                    <a:pt x="118" y="46"/>
                  </a:moveTo>
                  <a:lnTo>
                    <a:pt x="106" y="36"/>
                  </a:lnTo>
                  <a:lnTo>
                    <a:pt x="95" y="24"/>
                  </a:lnTo>
                  <a:lnTo>
                    <a:pt x="82" y="20"/>
                  </a:lnTo>
                  <a:lnTo>
                    <a:pt x="69" y="14"/>
                  </a:lnTo>
                  <a:lnTo>
                    <a:pt x="60" y="1"/>
                  </a:lnTo>
                  <a:lnTo>
                    <a:pt x="55" y="4"/>
                  </a:lnTo>
                  <a:lnTo>
                    <a:pt x="54" y="0"/>
                  </a:lnTo>
                  <a:lnTo>
                    <a:pt x="57" y="17"/>
                  </a:lnTo>
                  <a:lnTo>
                    <a:pt x="48" y="20"/>
                  </a:lnTo>
                  <a:lnTo>
                    <a:pt x="45" y="42"/>
                  </a:lnTo>
                  <a:lnTo>
                    <a:pt x="54" y="53"/>
                  </a:lnTo>
                  <a:lnTo>
                    <a:pt x="51" y="72"/>
                  </a:lnTo>
                  <a:lnTo>
                    <a:pt x="47" y="90"/>
                  </a:lnTo>
                  <a:lnTo>
                    <a:pt x="35" y="94"/>
                  </a:lnTo>
                  <a:lnTo>
                    <a:pt x="25" y="98"/>
                  </a:lnTo>
                  <a:lnTo>
                    <a:pt x="13" y="103"/>
                  </a:lnTo>
                  <a:lnTo>
                    <a:pt x="2" y="107"/>
                  </a:lnTo>
                  <a:lnTo>
                    <a:pt x="0" y="116"/>
                  </a:lnTo>
                  <a:lnTo>
                    <a:pt x="10" y="133"/>
                  </a:lnTo>
                  <a:lnTo>
                    <a:pt x="22" y="151"/>
                  </a:lnTo>
                  <a:lnTo>
                    <a:pt x="34" y="148"/>
                  </a:lnTo>
                  <a:lnTo>
                    <a:pt x="47" y="143"/>
                  </a:lnTo>
                  <a:lnTo>
                    <a:pt x="55" y="136"/>
                  </a:lnTo>
                  <a:lnTo>
                    <a:pt x="60" y="127"/>
                  </a:lnTo>
                  <a:lnTo>
                    <a:pt x="74" y="123"/>
                  </a:lnTo>
                  <a:lnTo>
                    <a:pt x="80" y="110"/>
                  </a:lnTo>
                  <a:lnTo>
                    <a:pt x="92" y="104"/>
                  </a:lnTo>
                  <a:lnTo>
                    <a:pt x="92" y="85"/>
                  </a:lnTo>
                  <a:lnTo>
                    <a:pt x="96" y="81"/>
                  </a:lnTo>
                  <a:lnTo>
                    <a:pt x="100" y="81"/>
                  </a:lnTo>
                  <a:lnTo>
                    <a:pt x="109" y="64"/>
                  </a:lnTo>
                  <a:lnTo>
                    <a:pt x="118" y="4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79" name="Freeform 20">
              <a:extLst>
                <a:ext uri="{FF2B5EF4-FFF2-40B4-BE49-F238E27FC236}">
                  <a16:creationId xmlns:a16="http://schemas.microsoft.com/office/drawing/2014/main" id="{6DFAA16C-EFB9-359B-DB8F-CB445D80B4C3}"/>
                </a:ext>
              </a:extLst>
            </p:cNvPr>
            <p:cNvSpPr>
              <a:spLocks/>
            </p:cNvSpPr>
            <p:nvPr/>
          </p:nvSpPr>
          <p:spPr bwMode="auto">
            <a:xfrm>
              <a:off x="5954409" y="3037460"/>
              <a:ext cx="7997" cy="19741"/>
            </a:xfrm>
            <a:custGeom>
              <a:avLst/>
              <a:gdLst>
                <a:gd name="T0" fmla="*/ 3392 w 4"/>
                <a:gd name="T1" fmla="*/ 0 h 9"/>
                <a:gd name="T2" fmla="*/ 0 w 4"/>
                <a:gd name="T3" fmla="*/ 5160334 h 9"/>
                <a:gd name="T4" fmla="*/ 3392 w 4"/>
                <a:gd name="T5" fmla="*/ 8027183 h 9"/>
                <a:gd name="T6" fmla="*/ 3392 w 4"/>
                <a:gd name="T7" fmla="*/ 0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4" y="0"/>
                  </a:moveTo>
                  <a:lnTo>
                    <a:pt x="0" y="6"/>
                  </a:lnTo>
                  <a:lnTo>
                    <a:pt x="4" y="9"/>
                  </a:lnTo>
                  <a:lnTo>
                    <a:pt x="4"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0" name="Freeform 21">
              <a:extLst>
                <a:ext uri="{FF2B5EF4-FFF2-40B4-BE49-F238E27FC236}">
                  <a16:creationId xmlns:a16="http://schemas.microsoft.com/office/drawing/2014/main" id="{D252DC99-DCE9-86D7-2120-1C6C34849FDC}"/>
                </a:ext>
              </a:extLst>
            </p:cNvPr>
            <p:cNvSpPr>
              <a:spLocks/>
            </p:cNvSpPr>
            <p:nvPr/>
          </p:nvSpPr>
          <p:spPr bwMode="auto">
            <a:xfrm>
              <a:off x="5317943" y="2820297"/>
              <a:ext cx="639664" cy="599855"/>
            </a:xfrm>
            <a:custGeom>
              <a:avLst/>
              <a:gdLst>
                <a:gd name="T0" fmla="*/ 21846 w 333"/>
                <a:gd name="T1" fmla="*/ 13496891 h 298"/>
                <a:gd name="T2" fmla="*/ 18756 w 333"/>
                <a:gd name="T3" fmla="*/ 11310975 h 298"/>
                <a:gd name="T4" fmla="*/ 12999 w 333"/>
                <a:gd name="T5" fmla="*/ 10001486 h 298"/>
                <a:gd name="T6" fmla="*/ 5816 w 333"/>
                <a:gd name="T7" fmla="*/ 7069164 h 298"/>
                <a:gd name="T8" fmla="*/ 0 w 333"/>
                <a:gd name="T9" fmla="*/ 5483343 h 298"/>
                <a:gd name="T10" fmla="*/ 5816 w 333"/>
                <a:gd name="T11" fmla="*/ 4101469 h 298"/>
                <a:gd name="T12" fmla="*/ 12108 w 333"/>
                <a:gd name="T13" fmla="*/ 2975978 h 298"/>
                <a:gd name="T14" fmla="*/ 8400 w 333"/>
                <a:gd name="T15" fmla="*/ 977836 h 298"/>
                <a:gd name="T16" fmla="*/ 18485 w 333"/>
                <a:gd name="T17" fmla="*/ 0 h 298"/>
                <a:gd name="T18" fmla="*/ 27063 w 333"/>
                <a:gd name="T19" fmla="*/ 977836 h 298"/>
                <a:gd name="T20" fmla="*/ 36143 w 333"/>
                <a:gd name="T21" fmla="*/ 1916506 h 298"/>
                <a:gd name="T22" fmla="*/ 44285 w 333"/>
                <a:gd name="T23" fmla="*/ 4064756 h 298"/>
                <a:gd name="T24" fmla="*/ 56975 w 333"/>
                <a:gd name="T25" fmla="*/ 4321384 h 298"/>
                <a:gd name="T26" fmla="*/ 61616 w 333"/>
                <a:gd name="T27" fmla="*/ 4921988 h 298"/>
                <a:gd name="T28" fmla="*/ 65927 w 333"/>
                <a:gd name="T29" fmla="*/ 6479070 h 298"/>
                <a:gd name="T30" fmla="*/ 70575 w 333"/>
                <a:gd name="T31" fmla="*/ 8260124 h 298"/>
                <a:gd name="T32" fmla="*/ 74909 w 333"/>
                <a:gd name="T33" fmla="*/ 10001486 h 298"/>
                <a:gd name="T34" fmla="*/ 76383 w 333"/>
                <a:gd name="T35" fmla="*/ 10244543 h 298"/>
                <a:gd name="T36" fmla="*/ 77244 w 333"/>
                <a:gd name="T37" fmla="*/ 10654521 h 298"/>
                <a:gd name="T38" fmla="*/ 77742 w 333"/>
                <a:gd name="T39" fmla="*/ 10997703 h 298"/>
                <a:gd name="T40" fmla="*/ 80655 w 333"/>
                <a:gd name="T41" fmla="*/ 12407589 h 298"/>
                <a:gd name="T42" fmla="*/ 94423 w 333"/>
                <a:gd name="T43" fmla="*/ 13061297 h 298"/>
                <a:gd name="T44" fmla="*/ 97654 w 333"/>
                <a:gd name="T45" fmla="*/ 13717234 h 298"/>
                <a:gd name="T46" fmla="*/ 95969 w 333"/>
                <a:gd name="T47" fmla="*/ 16451446 h 298"/>
                <a:gd name="T48" fmla="*/ 89168 w 333"/>
                <a:gd name="T49" fmla="*/ 17038891 h 298"/>
                <a:gd name="T50" fmla="*/ 82687 w 333"/>
                <a:gd name="T51" fmla="*/ 17704572 h 298"/>
                <a:gd name="T52" fmla="*/ 75247 w 333"/>
                <a:gd name="T53" fmla="*/ 18232810 h 298"/>
                <a:gd name="T54" fmla="*/ 67680 w 333"/>
                <a:gd name="T55" fmla="*/ 18711790 h 298"/>
                <a:gd name="T56" fmla="*/ 63038 w 333"/>
                <a:gd name="T57" fmla="*/ 20556349 h 298"/>
                <a:gd name="T58" fmla="*/ 57420 w 333"/>
                <a:gd name="T59" fmla="*/ 22296901 h 298"/>
                <a:gd name="T60" fmla="*/ 52689 w 333"/>
                <a:gd name="T61" fmla="*/ 20435406 h 298"/>
                <a:gd name="T62" fmla="*/ 43415 w 333"/>
                <a:gd name="T63" fmla="*/ 19863093 h 298"/>
                <a:gd name="T64" fmla="*/ 41270 w 333"/>
                <a:gd name="T65" fmla="*/ 21295726 h 298"/>
                <a:gd name="T66" fmla="*/ 36410 w 333"/>
                <a:gd name="T67" fmla="*/ 19384790 h 298"/>
                <a:gd name="T68" fmla="*/ 29194 w 333"/>
                <a:gd name="T69" fmla="*/ 16323425 h 2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3"/>
                <a:gd name="T106" fmla="*/ 0 h 298"/>
                <a:gd name="T107" fmla="*/ 333 w 333"/>
                <a:gd name="T108" fmla="*/ 298 h 2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3" h="298">
                  <a:moveTo>
                    <a:pt x="82" y="204"/>
                  </a:moveTo>
                  <a:lnTo>
                    <a:pt x="74" y="180"/>
                  </a:lnTo>
                  <a:lnTo>
                    <a:pt x="70" y="166"/>
                  </a:lnTo>
                  <a:lnTo>
                    <a:pt x="64" y="151"/>
                  </a:lnTo>
                  <a:lnTo>
                    <a:pt x="54" y="143"/>
                  </a:lnTo>
                  <a:lnTo>
                    <a:pt x="44" y="134"/>
                  </a:lnTo>
                  <a:lnTo>
                    <a:pt x="35" y="117"/>
                  </a:lnTo>
                  <a:lnTo>
                    <a:pt x="19" y="95"/>
                  </a:lnTo>
                  <a:lnTo>
                    <a:pt x="5" y="74"/>
                  </a:lnTo>
                  <a:lnTo>
                    <a:pt x="0" y="73"/>
                  </a:lnTo>
                  <a:lnTo>
                    <a:pt x="3" y="51"/>
                  </a:lnTo>
                  <a:lnTo>
                    <a:pt x="19" y="55"/>
                  </a:lnTo>
                  <a:lnTo>
                    <a:pt x="29" y="42"/>
                  </a:lnTo>
                  <a:lnTo>
                    <a:pt x="41" y="40"/>
                  </a:lnTo>
                  <a:lnTo>
                    <a:pt x="47" y="31"/>
                  </a:lnTo>
                  <a:lnTo>
                    <a:pt x="29" y="13"/>
                  </a:lnTo>
                  <a:lnTo>
                    <a:pt x="47" y="6"/>
                  </a:lnTo>
                  <a:lnTo>
                    <a:pt x="63" y="0"/>
                  </a:lnTo>
                  <a:lnTo>
                    <a:pt x="77" y="8"/>
                  </a:lnTo>
                  <a:lnTo>
                    <a:pt x="92" y="13"/>
                  </a:lnTo>
                  <a:lnTo>
                    <a:pt x="108" y="21"/>
                  </a:lnTo>
                  <a:lnTo>
                    <a:pt x="122" y="26"/>
                  </a:lnTo>
                  <a:lnTo>
                    <a:pt x="135" y="41"/>
                  </a:lnTo>
                  <a:lnTo>
                    <a:pt x="151" y="54"/>
                  </a:lnTo>
                  <a:lnTo>
                    <a:pt x="180" y="57"/>
                  </a:lnTo>
                  <a:lnTo>
                    <a:pt x="194" y="58"/>
                  </a:lnTo>
                  <a:lnTo>
                    <a:pt x="196" y="64"/>
                  </a:lnTo>
                  <a:lnTo>
                    <a:pt x="209" y="66"/>
                  </a:lnTo>
                  <a:lnTo>
                    <a:pt x="218" y="80"/>
                  </a:lnTo>
                  <a:lnTo>
                    <a:pt x="225" y="86"/>
                  </a:lnTo>
                  <a:lnTo>
                    <a:pt x="239" y="99"/>
                  </a:lnTo>
                  <a:lnTo>
                    <a:pt x="240" y="111"/>
                  </a:lnTo>
                  <a:lnTo>
                    <a:pt x="247" y="122"/>
                  </a:lnTo>
                  <a:lnTo>
                    <a:pt x="255" y="134"/>
                  </a:lnTo>
                  <a:lnTo>
                    <a:pt x="259" y="138"/>
                  </a:lnTo>
                  <a:lnTo>
                    <a:pt x="260" y="137"/>
                  </a:lnTo>
                  <a:lnTo>
                    <a:pt x="263" y="137"/>
                  </a:lnTo>
                  <a:lnTo>
                    <a:pt x="263" y="143"/>
                  </a:lnTo>
                  <a:lnTo>
                    <a:pt x="265" y="143"/>
                  </a:lnTo>
                  <a:lnTo>
                    <a:pt x="265" y="147"/>
                  </a:lnTo>
                  <a:lnTo>
                    <a:pt x="269" y="150"/>
                  </a:lnTo>
                  <a:lnTo>
                    <a:pt x="275" y="166"/>
                  </a:lnTo>
                  <a:lnTo>
                    <a:pt x="298" y="170"/>
                  </a:lnTo>
                  <a:lnTo>
                    <a:pt x="321" y="175"/>
                  </a:lnTo>
                  <a:lnTo>
                    <a:pt x="324" y="172"/>
                  </a:lnTo>
                  <a:lnTo>
                    <a:pt x="333" y="183"/>
                  </a:lnTo>
                  <a:lnTo>
                    <a:pt x="330" y="202"/>
                  </a:lnTo>
                  <a:lnTo>
                    <a:pt x="326" y="220"/>
                  </a:lnTo>
                  <a:lnTo>
                    <a:pt x="314" y="224"/>
                  </a:lnTo>
                  <a:lnTo>
                    <a:pt x="304" y="228"/>
                  </a:lnTo>
                  <a:lnTo>
                    <a:pt x="292" y="233"/>
                  </a:lnTo>
                  <a:lnTo>
                    <a:pt x="281" y="237"/>
                  </a:lnTo>
                  <a:lnTo>
                    <a:pt x="268" y="241"/>
                  </a:lnTo>
                  <a:lnTo>
                    <a:pt x="256" y="244"/>
                  </a:lnTo>
                  <a:lnTo>
                    <a:pt x="243" y="247"/>
                  </a:lnTo>
                  <a:lnTo>
                    <a:pt x="231" y="250"/>
                  </a:lnTo>
                  <a:lnTo>
                    <a:pt x="223" y="263"/>
                  </a:lnTo>
                  <a:lnTo>
                    <a:pt x="214" y="275"/>
                  </a:lnTo>
                  <a:lnTo>
                    <a:pt x="205" y="286"/>
                  </a:lnTo>
                  <a:lnTo>
                    <a:pt x="196" y="298"/>
                  </a:lnTo>
                  <a:lnTo>
                    <a:pt x="195" y="279"/>
                  </a:lnTo>
                  <a:lnTo>
                    <a:pt x="180" y="273"/>
                  </a:lnTo>
                  <a:lnTo>
                    <a:pt x="166" y="266"/>
                  </a:lnTo>
                  <a:lnTo>
                    <a:pt x="147" y="265"/>
                  </a:lnTo>
                  <a:lnTo>
                    <a:pt x="146" y="279"/>
                  </a:lnTo>
                  <a:lnTo>
                    <a:pt x="140" y="285"/>
                  </a:lnTo>
                  <a:lnTo>
                    <a:pt x="132" y="272"/>
                  </a:lnTo>
                  <a:lnTo>
                    <a:pt x="124" y="259"/>
                  </a:lnTo>
                  <a:lnTo>
                    <a:pt x="111" y="239"/>
                  </a:lnTo>
                  <a:lnTo>
                    <a:pt x="99" y="218"/>
                  </a:lnTo>
                  <a:lnTo>
                    <a:pt x="82" y="20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1" name="Freeform 22">
              <a:extLst>
                <a:ext uri="{FF2B5EF4-FFF2-40B4-BE49-F238E27FC236}">
                  <a16:creationId xmlns:a16="http://schemas.microsoft.com/office/drawing/2014/main" id="{4FA538A5-7AA0-9F48-4CA8-82F1F4B7D920}"/>
                </a:ext>
              </a:extLst>
            </p:cNvPr>
            <p:cNvSpPr>
              <a:spLocks/>
            </p:cNvSpPr>
            <p:nvPr/>
          </p:nvSpPr>
          <p:spPr bwMode="auto">
            <a:xfrm>
              <a:off x="5826476" y="3051127"/>
              <a:ext cx="142325" cy="121489"/>
            </a:xfrm>
            <a:custGeom>
              <a:avLst/>
              <a:gdLst>
                <a:gd name="T0" fmla="*/ 0 w 74"/>
                <a:gd name="T1" fmla="*/ 1988953 h 61"/>
                <a:gd name="T2" fmla="*/ 1165 w 74"/>
                <a:gd name="T3" fmla="*/ 2153943 h 61"/>
                <a:gd name="T4" fmla="*/ 2932 w 74"/>
                <a:gd name="T5" fmla="*/ 3136339 h 61"/>
                <a:gd name="T6" fmla="*/ 10217 w 74"/>
                <a:gd name="T7" fmla="*/ 3377974 h 61"/>
                <a:gd name="T8" fmla="*/ 17128 w 74"/>
                <a:gd name="T9" fmla="*/ 3664406 h 61"/>
                <a:gd name="T10" fmla="*/ 17931 w 74"/>
                <a:gd name="T11" fmla="*/ 3493909 h 61"/>
                <a:gd name="T12" fmla="*/ 18968 w 74"/>
                <a:gd name="T13" fmla="*/ 2153943 h 61"/>
                <a:gd name="T14" fmla="*/ 21566 w 74"/>
                <a:gd name="T15" fmla="*/ 1988953 h 61"/>
                <a:gd name="T16" fmla="*/ 20919 w 74"/>
                <a:gd name="T17" fmla="*/ 977790 h 61"/>
                <a:gd name="T18" fmla="*/ 20967 w 74"/>
                <a:gd name="T19" fmla="*/ 1204324 h 61"/>
                <a:gd name="T20" fmla="*/ 22593 w 74"/>
                <a:gd name="T21" fmla="*/ 989832 h 61"/>
                <a:gd name="T22" fmla="*/ 21566 w 74"/>
                <a:gd name="T23" fmla="*/ 197306 h 61"/>
                <a:gd name="T24" fmla="*/ 20600 w 74"/>
                <a:gd name="T25" fmla="*/ 0 h 61"/>
                <a:gd name="T26" fmla="*/ 16412 w 74"/>
                <a:gd name="T27" fmla="*/ 977790 h 61"/>
                <a:gd name="T28" fmla="*/ 11461 w 74"/>
                <a:gd name="T29" fmla="*/ 1946866 h 61"/>
                <a:gd name="T30" fmla="*/ 4241 w 74"/>
                <a:gd name="T31" fmla="*/ 1988953 h 61"/>
                <a:gd name="T32" fmla="*/ 1165 w 74"/>
                <a:gd name="T33" fmla="*/ 1946866 h 61"/>
                <a:gd name="T34" fmla="*/ 0 w 74"/>
                <a:gd name="T35" fmla="*/ 1717643 h 61"/>
                <a:gd name="T36" fmla="*/ 0 w 74"/>
                <a:gd name="T37" fmla="*/ 1988953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61"/>
                <a:gd name="T59" fmla="*/ 74 w 74"/>
                <a:gd name="T60" fmla="*/ 61 h 6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61">
                  <a:moveTo>
                    <a:pt x="0" y="33"/>
                  </a:moveTo>
                  <a:lnTo>
                    <a:pt x="4" y="36"/>
                  </a:lnTo>
                  <a:lnTo>
                    <a:pt x="10" y="52"/>
                  </a:lnTo>
                  <a:lnTo>
                    <a:pt x="33" y="56"/>
                  </a:lnTo>
                  <a:lnTo>
                    <a:pt x="56" y="61"/>
                  </a:lnTo>
                  <a:lnTo>
                    <a:pt x="59" y="58"/>
                  </a:lnTo>
                  <a:lnTo>
                    <a:pt x="62" y="36"/>
                  </a:lnTo>
                  <a:lnTo>
                    <a:pt x="71" y="33"/>
                  </a:lnTo>
                  <a:lnTo>
                    <a:pt x="68" y="16"/>
                  </a:lnTo>
                  <a:lnTo>
                    <a:pt x="69" y="20"/>
                  </a:lnTo>
                  <a:lnTo>
                    <a:pt x="74" y="17"/>
                  </a:lnTo>
                  <a:lnTo>
                    <a:pt x="71" y="3"/>
                  </a:lnTo>
                  <a:lnTo>
                    <a:pt x="67" y="0"/>
                  </a:lnTo>
                  <a:lnTo>
                    <a:pt x="53" y="16"/>
                  </a:lnTo>
                  <a:lnTo>
                    <a:pt x="37" y="32"/>
                  </a:lnTo>
                  <a:lnTo>
                    <a:pt x="14" y="33"/>
                  </a:lnTo>
                  <a:lnTo>
                    <a:pt x="4" y="32"/>
                  </a:lnTo>
                  <a:lnTo>
                    <a:pt x="0" y="29"/>
                  </a:lnTo>
                  <a:lnTo>
                    <a:pt x="0" y="33"/>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82" name="Freeform 23">
              <a:extLst>
                <a:ext uri="{FF2B5EF4-FFF2-40B4-BE49-F238E27FC236}">
                  <a16:creationId xmlns:a16="http://schemas.microsoft.com/office/drawing/2014/main" id="{DBCB9B74-680A-FE5F-8543-DC4BDC311494}"/>
                </a:ext>
              </a:extLst>
            </p:cNvPr>
            <p:cNvSpPr>
              <a:spLocks/>
            </p:cNvSpPr>
            <p:nvPr/>
          </p:nvSpPr>
          <p:spPr bwMode="auto">
            <a:xfrm>
              <a:off x="5586602" y="3298662"/>
              <a:ext cx="310237" cy="227793"/>
            </a:xfrm>
            <a:custGeom>
              <a:avLst/>
              <a:gdLst>
                <a:gd name="T0" fmla="*/ 1750 w 161"/>
                <a:gd name="T1" fmla="*/ 2944493 h 113"/>
                <a:gd name="T2" fmla="*/ 0 w 161"/>
                <a:gd name="T3" fmla="*/ 3416139 h 113"/>
                <a:gd name="T4" fmla="*/ 0 w 161"/>
                <a:gd name="T5" fmla="*/ 4770613 h 113"/>
                <a:gd name="T6" fmla="*/ 2109 w 161"/>
                <a:gd name="T7" fmla="*/ 6514919 h 113"/>
                <a:gd name="T8" fmla="*/ 4446 w 161"/>
                <a:gd name="T9" fmla="*/ 7989818 h 113"/>
                <a:gd name="T10" fmla="*/ 10731 w 161"/>
                <a:gd name="T11" fmla="*/ 7950685 h 113"/>
                <a:gd name="T12" fmla="*/ 17411 w 161"/>
                <a:gd name="T13" fmla="*/ 7192268 h 113"/>
                <a:gd name="T14" fmla="*/ 22297 w 161"/>
                <a:gd name="T15" fmla="*/ 6811100 h 113"/>
                <a:gd name="T16" fmla="*/ 27364 w 161"/>
                <a:gd name="T17" fmla="*/ 6362805 h 113"/>
                <a:gd name="T18" fmla="*/ 31673 w 161"/>
                <a:gd name="T19" fmla="*/ 5933079 h 113"/>
                <a:gd name="T20" fmla="*/ 35919 w 161"/>
                <a:gd name="T21" fmla="*/ 5573144 h 113"/>
                <a:gd name="T22" fmla="*/ 39580 w 161"/>
                <a:gd name="T23" fmla="*/ 5188665 h 113"/>
                <a:gd name="T24" fmla="*/ 43640 w 161"/>
                <a:gd name="T25" fmla="*/ 4770613 h 113"/>
                <a:gd name="T26" fmla="*/ 47161 w 161"/>
                <a:gd name="T27" fmla="*/ 4438255 h 113"/>
                <a:gd name="T28" fmla="*/ 47161 w 161"/>
                <a:gd name="T29" fmla="*/ 3887441 h 113"/>
                <a:gd name="T30" fmla="*/ 52227 w 161"/>
                <a:gd name="T31" fmla="*/ 3095821 h 113"/>
                <a:gd name="T32" fmla="*/ 48075 w 161"/>
                <a:gd name="T33" fmla="*/ 1823230 h 113"/>
                <a:gd name="T34" fmla="*/ 44855 w 161"/>
                <a:gd name="T35" fmla="*/ 654966 h 113"/>
                <a:gd name="T36" fmla="*/ 45777 w 161"/>
                <a:gd name="T37" fmla="*/ 0 h 113"/>
                <a:gd name="T38" fmla="*/ 41498 w 161"/>
                <a:gd name="T39" fmla="*/ 318673 h 113"/>
                <a:gd name="T40" fmla="*/ 37750 w 161"/>
                <a:gd name="T41" fmla="*/ 486214 h 113"/>
                <a:gd name="T42" fmla="*/ 33110 w 161"/>
                <a:gd name="T43" fmla="*/ 697050 h 113"/>
                <a:gd name="T44" fmla="*/ 29809 w 161"/>
                <a:gd name="T45" fmla="*/ 938978 h 113"/>
                <a:gd name="T46" fmla="*/ 26867 w 161"/>
                <a:gd name="T47" fmla="*/ 1823230 h 113"/>
                <a:gd name="T48" fmla="*/ 23808 w 161"/>
                <a:gd name="T49" fmla="*/ 2646552 h 113"/>
                <a:gd name="T50" fmla="*/ 20980 w 161"/>
                <a:gd name="T51" fmla="*/ 3433724 h 113"/>
                <a:gd name="T52" fmla="*/ 18070 w 161"/>
                <a:gd name="T53" fmla="*/ 4299282 h 113"/>
                <a:gd name="T54" fmla="*/ 17907 w 161"/>
                <a:gd name="T55" fmla="*/ 2944493 h 113"/>
                <a:gd name="T56" fmla="*/ 12931 w 161"/>
                <a:gd name="T57" fmla="*/ 2593041 h 113"/>
                <a:gd name="T58" fmla="*/ 8258 w 161"/>
                <a:gd name="T59" fmla="*/ 2053875 h 113"/>
                <a:gd name="T60" fmla="*/ 2109 w 161"/>
                <a:gd name="T61" fmla="*/ 1970709 h 113"/>
                <a:gd name="T62" fmla="*/ 1750 w 161"/>
                <a:gd name="T63" fmla="*/ 2944493 h 11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1"/>
                <a:gd name="T97" fmla="*/ 0 h 113"/>
                <a:gd name="T98" fmla="*/ 161 w 161"/>
                <a:gd name="T99" fmla="*/ 113 h 11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1" h="113">
                  <a:moveTo>
                    <a:pt x="6" y="42"/>
                  </a:moveTo>
                  <a:lnTo>
                    <a:pt x="0" y="48"/>
                  </a:lnTo>
                  <a:lnTo>
                    <a:pt x="0" y="68"/>
                  </a:lnTo>
                  <a:lnTo>
                    <a:pt x="7" y="92"/>
                  </a:lnTo>
                  <a:lnTo>
                    <a:pt x="14" y="113"/>
                  </a:lnTo>
                  <a:lnTo>
                    <a:pt x="33" y="112"/>
                  </a:lnTo>
                  <a:lnTo>
                    <a:pt x="54" y="102"/>
                  </a:lnTo>
                  <a:lnTo>
                    <a:pt x="69" y="96"/>
                  </a:lnTo>
                  <a:lnTo>
                    <a:pt x="85" y="90"/>
                  </a:lnTo>
                  <a:lnTo>
                    <a:pt x="99" y="84"/>
                  </a:lnTo>
                  <a:lnTo>
                    <a:pt x="110" y="79"/>
                  </a:lnTo>
                  <a:lnTo>
                    <a:pt x="122" y="73"/>
                  </a:lnTo>
                  <a:lnTo>
                    <a:pt x="135" y="68"/>
                  </a:lnTo>
                  <a:lnTo>
                    <a:pt x="146" y="63"/>
                  </a:lnTo>
                  <a:lnTo>
                    <a:pt x="146" y="55"/>
                  </a:lnTo>
                  <a:lnTo>
                    <a:pt x="161" y="44"/>
                  </a:lnTo>
                  <a:lnTo>
                    <a:pt x="149" y="26"/>
                  </a:lnTo>
                  <a:lnTo>
                    <a:pt x="139" y="9"/>
                  </a:lnTo>
                  <a:lnTo>
                    <a:pt x="141" y="0"/>
                  </a:lnTo>
                  <a:lnTo>
                    <a:pt x="128" y="4"/>
                  </a:lnTo>
                  <a:lnTo>
                    <a:pt x="116" y="7"/>
                  </a:lnTo>
                  <a:lnTo>
                    <a:pt x="103" y="10"/>
                  </a:lnTo>
                  <a:lnTo>
                    <a:pt x="91" y="13"/>
                  </a:lnTo>
                  <a:lnTo>
                    <a:pt x="83" y="26"/>
                  </a:lnTo>
                  <a:lnTo>
                    <a:pt x="74" y="38"/>
                  </a:lnTo>
                  <a:lnTo>
                    <a:pt x="65" y="49"/>
                  </a:lnTo>
                  <a:lnTo>
                    <a:pt x="56" y="61"/>
                  </a:lnTo>
                  <a:lnTo>
                    <a:pt x="55" y="42"/>
                  </a:lnTo>
                  <a:lnTo>
                    <a:pt x="40" y="36"/>
                  </a:lnTo>
                  <a:lnTo>
                    <a:pt x="26" y="29"/>
                  </a:lnTo>
                  <a:lnTo>
                    <a:pt x="7" y="28"/>
                  </a:lnTo>
                  <a:lnTo>
                    <a:pt x="6" y="4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3" name="Freeform 24">
              <a:extLst>
                <a:ext uri="{FF2B5EF4-FFF2-40B4-BE49-F238E27FC236}">
                  <a16:creationId xmlns:a16="http://schemas.microsoft.com/office/drawing/2014/main" id="{FE2CEA8E-6F5C-427A-A81C-CDC5904F2523}"/>
                </a:ext>
              </a:extLst>
            </p:cNvPr>
            <p:cNvSpPr>
              <a:spLocks/>
            </p:cNvSpPr>
            <p:nvPr/>
          </p:nvSpPr>
          <p:spPr bwMode="auto">
            <a:xfrm>
              <a:off x="5180415" y="4021524"/>
              <a:ext cx="57569" cy="59226"/>
            </a:xfrm>
            <a:custGeom>
              <a:avLst/>
              <a:gdLst>
                <a:gd name="T0" fmla="*/ 3224 w 30"/>
                <a:gd name="T1" fmla="*/ 616848 h 29"/>
                <a:gd name="T2" fmla="*/ 1109 w 30"/>
                <a:gd name="T3" fmla="*/ 1873837 h 29"/>
                <a:gd name="T4" fmla="*/ 0 w 30"/>
                <a:gd name="T5" fmla="*/ 2792261 h 29"/>
                <a:gd name="T6" fmla="*/ 1 w 30"/>
                <a:gd name="T7" fmla="*/ 2792261 h 29"/>
                <a:gd name="T8" fmla="*/ 924 w 30"/>
                <a:gd name="T9" fmla="*/ 2792261 h 29"/>
                <a:gd name="T10" fmla="*/ 4643 w 30"/>
                <a:gd name="T11" fmla="*/ 2792261 h 29"/>
                <a:gd name="T12" fmla="*/ 4768 w 30"/>
                <a:gd name="T13" fmla="*/ 2346834 h 29"/>
                <a:gd name="T14" fmla="*/ 7310 w 30"/>
                <a:gd name="T15" fmla="*/ 2408609 h 29"/>
                <a:gd name="T16" fmla="*/ 8509 w 30"/>
                <a:gd name="T17" fmla="*/ 2135214 h 29"/>
                <a:gd name="T18" fmla="*/ 6866 w 30"/>
                <a:gd name="T19" fmla="*/ 0 h 29"/>
                <a:gd name="T20" fmla="*/ 4643 w 30"/>
                <a:gd name="T21" fmla="*/ 616848 h 29"/>
                <a:gd name="T22" fmla="*/ 3224 w 30"/>
                <a:gd name="T23" fmla="*/ 616848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29"/>
                <a:gd name="T38" fmla="*/ 30 w 30"/>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29">
                  <a:moveTo>
                    <a:pt x="11" y="6"/>
                  </a:moveTo>
                  <a:lnTo>
                    <a:pt x="4" y="19"/>
                  </a:lnTo>
                  <a:lnTo>
                    <a:pt x="0" y="29"/>
                  </a:lnTo>
                  <a:lnTo>
                    <a:pt x="1" y="29"/>
                  </a:lnTo>
                  <a:lnTo>
                    <a:pt x="3" y="29"/>
                  </a:lnTo>
                  <a:lnTo>
                    <a:pt x="16" y="29"/>
                  </a:lnTo>
                  <a:lnTo>
                    <a:pt x="17" y="24"/>
                  </a:lnTo>
                  <a:lnTo>
                    <a:pt x="26" y="25"/>
                  </a:lnTo>
                  <a:lnTo>
                    <a:pt x="30" y="22"/>
                  </a:lnTo>
                  <a:lnTo>
                    <a:pt x="24" y="0"/>
                  </a:lnTo>
                  <a:lnTo>
                    <a:pt x="16" y="6"/>
                  </a:lnTo>
                  <a:lnTo>
                    <a:pt x="11" y="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4" name="Freeform 25">
              <a:extLst>
                <a:ext uri="{FF2B5EF4-FFF2-40B4-BE49-F238E27FC236}">
                  <a16:creationId xmlns:a16="http://schemas.microsoft.com/office/drawing/2014/main" id="{269BD60A-F1CB-5588-7A21-24F366A63FB6}"/>
                </a:ext>
              </a:extLst>
            </p:cNvPr>
            <p:cNvSpPr>
              <a:spLocks/>
            </p:cNvSpPr>
            <p:nvPr/>
          </p:nvSpPr>
          <p:spPr bwMode="auto">
            <a:xfrm>
              <a:off x="5791295" y="3040498"/>
              <a:ext cx="4798" cy="10630"/>
            </a:xfrm>
            <a:custGeom>
              <a:avLst/>
              <a:gdLst>
                <a:gd name="T0" fmla="*/ 466609 w 2"/>
                <a:gd name="T1" fmla="*/ 0 h 5"/>
                <a:gd name="T2" fmla="*/ 0 w 2"/>
                <a:gd name="T3" fmla="*/ 176176 h 5"/>
                <a:gd name="T4" fmla="*/ 466609 w 2"/>
                <a:gd name="T5" fmla="*/ 67036 h 5"/>
                <a:gd name="T6" fmla="*/ 466609 w 2"/>
                <a:gd name="T7" fmla="*/ 0 h 5"/>
                <a:gd name="T8" fmla="*/ 0 60000 65536"/>
                <a:gd name="T9" fmla="*/ 0 60000 65536"/>
                <a:gd name="T10" fmla="*/ 0 60000 65536"/>
                <a:gd name="T11" fmla="*/ 0 60000 65536"/>
                <a:gd name="T12" fmla="*/ 0 w 2"/>
                <a:gd name="T13" fmla="*/ 0 h 5"/>
                <a:gd name="T14" fmla="*/ 2 w 2"/>
                <a:gd name="T15" fmla="*/ 5 h 5"/>
              </a:gdLst>
              <a:ahLst/>
              <a:cxnLst>
                <a:cxn ang="T8">
                  <a:pos x="T0" y="T1"/>
                </a:cxn>
                <a:cxn ang="T9">
                  <a:pos x="T2" y="T3"/>
                </a:cxn>
                <a:cxn ang="T10">
                  <a:pos x="T4" y="T5"/>
                </a:cxn>
                <a:cxn ang="T11">
                  <a:pos x="T6" y="T7"/>
                </a:cxn>
              </a:cxnLst>
              <a:rect l="T12" t="T13" r="T14" b="T15"/>
              <a:pathLst>
                <a:path w="2" h="5">
                  <a:moveTo>
                    <a:pt x="2" y="0"/>
                  </a:moveTo>
                  <a:lnTo>
                    <a:pt x="0" y="5"/>
                  </a:lnTo>
                  <a:lnTo>
                    <a:pt x="2" y="2"/>
                  </a:lnTo>
                  <a:lnTo>
                    <a:pt x="2"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5" name="Freeform 26">
              <a:extLst>
                <a:ext uri="{FF2B5EF4-FFF2-40B4-BE49-F238E27FC236}">
                  <a16:creationId xmlns:a16="http://schemas.microsoft.com/office/drawing/2014/main" id="{511BE310-8D44-0F68-9844-50BBD2223086}"/>
                </a:ext>
              </a:extLst>
            </p:cNvPr>
            <p:cNvSpPr>
              <a:spLocks/>
            </p:cNvSpPr>
            <p:nvPr/>
          </p:nvSpPr>
          <p:spPr bwMode="auto">
            <a:xfrm>
              <a:off x="4710262" y="3136169"/>
              <a:ext cx="311837" cy="575557"/>
            </a:xfrm>
            <a:custGeom>
              <a:avLst/>
              <a:gdLst>
                <a:gd name="T0" fmla="*/ 49684 w 162"/>
                <a:gd name="T1" fmla="*/ 5400855 h 286"/>
                <a:gd name="T2" fmla="*/ 44891 w 162"/>
                <a:gd name="T3" fmla="*/ 4828597 h 286"/>
                <a:gd name="T4" fmla="*/ 39556 w 162"/>
                <a:gd name="T5" fmla="*/ 4119467 h 286"/>
                <a:gd name="T6" fmla="*/ 35388 w 162"/>
                <a:gd name="T7" fmla="*/ 3441041 h 286"/>
                <a:gd name="T8" fmla="*/ 30651 w 162"/>
                <a:gd name="T9" fmla="*/ 2644678 h 286"/>
                <a:gd name="T10" fmla="*/ 25579 w 162"/>
                <a:gd name="T11" fmla="*/ 1953759 h 286"/>
                <a:gd name="T12" fmla="*/ 20291 w 162"/>
                <a:gd name="T13" fmla="*/ 1359550 h 286"/>
                <a:gd name="T14" fmla="*/ 15245 w 162"/>
                <a:gd name="T15" fmla="*/ 690999 h 286"/>
                <a:gd name="T16" fmla="*/ 10448 w 162"/>
                <a:gd name="T17" fmla="*/ 0 h 286"/>
                <a:gd name="T18" fmla="*/ 5541 w 162"/>
                <a:gd name="T19" fmla="*/ 690999 h 286"/>
                <a:gd name="T20" fmla="*/ 6274 w 162"/>
                <a:gd name="T21" fmla="*/ 1705478 h 286"/>
                <a:gd name="T22" fmla="*/ 6464 w 162"/>
                <a:gd name="T23" fmla="*/ 2644678 h 286"/>
                <a:gd name="T24" fmla="*/ 10522 w 162"/>
                <a:gd name="T25" fmla="*/ 4355467 h 286"/>
                <a:gd name="T26" fmla="*/ 10212 w 162"/>
                <a:gd name="T27" fmla="*/ 4868004 h 286"/>
                <a:gd name="T28" fmla="*/ 9366 w 162"/>
                <a:gd name="T29" fmla="*/ 5918594 h 286"/>
                <a:gd name="T30" fmla="*/ 9366 w 162"/>
                <a:gd name="T31" fmla="*/ 6995628 h 286"/>
                <a:gd name="T32" fmla="*/ 9090 w 162"/>
                <a:gd name="T33" fmla="*/ 7999359 h 286"/>
                <a:gd name="T34" fmla="*/ 9090 w 162"/>
                <a:gd name="T35" fmla="*/ 8994685 h 286"/>
                <a:gd name="T36" fmla="*/ 6464 w 162"/>
                <a:gd name="T37" fmla="*/ 9807723 h 286"/>
                <a:gd name="T38" fmla="*/ 4330 w 162"/>
                <a:gd name="T39" fmla="*/ 10641036 h 286"/>
                <a:gd name="T40" fmla="*/ 2062 w 162"/>
                <a:gd name="T41" fmla="*/ 11402201 h 286"/>
                <a:gd name="T42" fmla="*/ 0 w 162"/>
                <a:gd name="T43" fmla="*/ 12225532 h 286"/>
                <a:gd name="T44" fmla="*/ 0 w 162"/>
                <a:gd name="T45" fmla="*/ 13433894 h 286"/>
                <a:gd name="T46" fmla="*/ 2062 w 162"/>
                <a:gd name="T47" fmla="*/ 14167693 h 286"/>
                <a:gd name="T48" fmla="*/ 4164 w 162"/>
                <a:gd name="T49" fmla="*/ 14167693 h 286"/>
                <a:gd name="T50" fmla="*/ 6464 w 162"/>
                <a:gd name="T51" fmla="*/ 15615113 h 286"/>
                <a:gd name="T52" fmla="*/ 7262 w 162"/>
                <a:gd name="T53" fmla="*/ 17075100 h 286"/>
                <a:gd name="T54" fmla="*/ 10448 w 162"/>
                <a:gd name="T55" fmla="*/ 18501988 h 286"/>
                <a:gd name="T56" fmla="*/ 5012 w 162"/>
                <a:gd name="T57" fmla="*/ 18501988 h 286"/>
                <a:gd name="T58" fmla="*/ 2062 w 162"/>
                <a:gd name="T59" fmla="*/ 18797643 h 286"/>
                <a:gd name="T60" fmla="*/ 6464 w 162"/>
                <a:gd name="T61" fmla="*/ 20021871 h 286"/>
                <a:gd name="T62" fmla="*/ 10212 w 162"/>
                <a:gd name="T63" fmla="*/ 21782031 h 286"/>
                <a:gd name="T64" fmla="*/ 14004 w 162"/>
                <a:gd name="T65" fmla="*/ 21448667 h 286"/>
                <a:gd name="T66" fmla="*/ 15245 w 162"/>
                <a:gd name="T67" fmla="*/ 21586176 h 286"/>
                <a:gd name="T68" fmla="*/ 18222 w 162"/>
                <a:gd name="T69" fmla="*/ 21448667 h 286"/>
                <a:gd name="T70" fmla="*/ 24767 w 162"/>
                <a:gd name="T71" fmla="*/ 21206194 h 286"/>
                <a:gd name="T72" fmla="*/ 27267 w 162"/>
                <a:gd name="T73" fmla="*/ 20501424 h 286"/>
                <a:gd name="T74" fmla="*/ 26402 w 162"/>
                <a:gd name="T75" fmla="*/ 20021871 h 286"/>
                <a:gd name="T76" fmla="*/ 33572 w 162"/>
                <a:gd name="T77" fmla="*/ 19729009 h 286"/>
                <a:gd name="T78" fmla="*/ 37294 w 162"/>
                <a:gd name="T79" fmla="*/ 18575358 h 286"/>
                <a:gd name="T80" fmla="*/ 41276 w 162"/>
                <a:gd name="T81" fmla="*/ 17564885 h 286"/>
                <a:gd name="T82" fmla="*/ 45858 w 162"/>
                <a:gd name="T83" fmla="*/ 17119327 h 286"/>
                <a:gd name="T84" fmla="*/ 45602 w 162"/>
                <a:gd name="T85" fmla="*/ 16380930 h 286"/>
                <a:gd name="T86" fmla="*/ 44612 w 162"/>
                <a:gd name="T87" fmla="*/ 15686185 h 286"/>
                <a:gd name="T88" fmla="*/ 42440 w 162"/>
                <a:gd name="T89" fmla="*/ 14675482 h 286"/>
                <a:gd name="T90" fmla="*/ 40411 w 162"/>
                <a:gd name="T91" fmla="*/ 14665848 h 286"/>
                <a:gd name="T92" fmla="*/ 42440 w 162"/>
                <a:gd name="T93" fmla="*/ 13473707 h 286"/>
                <a:gd name="T94" fmla="*/ 42597 w 162"/>
                <a:gd name="T95" fmla="*/ 12925921 h 286"/>
                <a:gd name="T96" fmla="*/ 43389 w 162"/>
                <a:gd name="T97" fmla="*/ 12638130 h 286"/>
                <a:gd name="T98" fmla="*/ 43389 w 162"/>
                <a:gd name="T99" fmla="*/ 12089781 h 286"/>
                <a:gd name="T100" fmla="*/ 45858 w 162"/>
                <a:gd name="T101" fmla="*/ 11037734 h 286"/>
                <a:gd name="T102" fmla="*/ 47555 w 162"/>
                <a:gd name="T103" fmla="*/ 10641036 h 286"/>
                <a:gd name="T104" fmla="*/ 50885 w 162"/>
                <a:gd name="T105" fmla="*/ 10641036 h 286"/>
                <a:gd name="T106" fmla="*/ 50563 w 162"/>
                <a:gd name="T107" fmla="*/ 9274200 h 286"/>
                <a:gd name="T108" fmla="*/ 50563 w 162"/>
                <a:gd name="T109" fmla="*/ 8039614 h 286"/>
                <a:gd name="T110" fmla="*/ 50563 w 162"/>
                <a:gd name="T111" fmla="*/ 6772866 h 286"/>
                <a:gd name="T112" fmla="*/ 49684 w 162"/>
                <a:gd name="T113" fmla="*/ 5400855 h 2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2"/>
                <a:gd name="T172" fmla="*/ 0 h 286"/>
                <a:gd name="T173" fmla="*/ 162 w 162"/>
                <a:gd name="T174" fmla="*/ 286 h 2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2" h="286">
                  <a:moveTo>
                    <a:pt x="159" y="71"/>
                  </a:moveTo>
                  <a:lnTo>
                    <a:pt x="143" y="63"/>
                  </a:lnTo>
                  <a:lnTo>
                    <a:pt x="127" y="54"/>
                  </a:lnTo>
                  <a:lnTo>
                    <a:pt x="113" y="45"/>
                  </a:lnTo>
                  <a:lnTo>
                    <a:pt x="97" y="35"/>
                  </a:lnTo>
                  <a:lnTo>
                    <a:pt x="81" y="26"/>
                  </a:lnTo>
                  <a:lnTo>
                    <a:pt x="65" y="18"/>
                  </a:lnTo>
                  <a:lnTo>
                    <a:pt x="49" y="9"/>
                  </a:lnTo>
                  <a:lnTo>
                    <a:pt x="33" y="0"/>
                  </a:lnTo>
                  <a:lnTo>
                    <a:pt x="18" y="9"/>
                  </a:lnTo>
                  <a:lnTo>
                    <a:pt x="20" y="22"/>
                  </a:lnTo>
                  <a:lnTo>
                    <a:pt x="21" y="35"/>
                  </a:lnTo>
                  <a:lnTo>
                    <a:pt x="34" y="57"/>
                  </a:lnTo>
                  <a:lnTo>
                    <a:pt x="32" y="64"/>
                  </a:lnTo>
                  <a:lnTo>
                    <a:pt x="30" y="77"/>
                  </a:lnTo>
                  <a:lnTo>
                    <a:pt x="30" y="92"/>
                  </a:lnTo>
                  <a:lnTo>
                    <a:pt x="29" y="105"/>
                  </a:lnTo>
                  <a:lnTo>
                    <a:pt x="29" y="118"/>
                  </a:lnTo>
                  <a:lnTo>
                    <a:pt x="21" y="129"/>
                  </a:lnTo>
                  <a:lnTo>
                    <a:pt x="14" y="140"/>
                  </a:lnTo>
                  <a:lnTo>
                    <a:pt x="7" y="150"/>
                  </a:lnTo>
                  <a:lnTo>
                    <a:pt x="0" y="161"/>
                  </a:lnTo>
                  <a:lnTo>
                    <a:pt x="0" y="176"/>
                  </a:lnTo>
                  <a:lnTo>
                    <a:pt x="7" y="186"/>
                  </a:lnTo>
                  <a:lnTo>
                    <a:pt x="13" y="186"/>
                  </a:lnTo>
                  <a:lnTo>
                    <a:pt x="21" y="205"/>
                  </a:lnTo>
                  <a:lnTo>
                    <a:pt x="23" y="224"/>
                  </a:lnTo>
                  <a:lnTo>
                    <a:pt x="33" y="243"/>
                  </a:lnTo>
                  <a:lnTo>
                    <a:pt x="16" y="243"/>
                  </a:lnTo>
                  <a:lnTo>
                    <a:pt x="7" y="247"/>
                  </a:lnTo>
                  <a:lnTo>
                    <a:pt x="21" y="263"/>
                  </a:lnTo>
                  <a:lnTo>
                    <a:pt x="32" y="286"/>
                  </a:lnTo>
                  <a:lnTo>
                    <a:pt x="45" y="282"/>
                  </a:lnTo>
                  <a:lnTo>
                    <a:pt x="49" y="283"/>
                  </a:lnTo>
                  <a:lnTo>
                    <a:pt x="58" y="282"/>
                  </a:lnTo>
                  <a:lnTo>
                    <a:pt x="79" y="278"/>
                  </a:lnTo>
                  <a:lnTo>
                    <a:pt x="87" y="269"/>
                  </a:lnTo>
                  <a:lnTo>
                    <a:pt x="84" y="263"/>
                  </a:lnTo>
                  <a:lnTo>
                    <a:pt x="107" y="259"/>
                  </a:lnTo>
                  <a:lnTo>
                    <a:pt x="119" y="244"/>
                  </a:lnTo>
                  <a:lnTo>
                    <a:pt x="132" y="230"/>
                  </a:lnTo>
                  <a:lnTo>
                    <a:pt x="146" y="225"/>
                  </a:lnTo>
                  <a:lnTo>
                    <a:pt x="145" y="215"/>
                  </a:lnTo>
                  <a:lnTo>
                    <a:pt x="142" y="206"/>
                  </a:lnTo>
                  <a:lnTo>
                    <a:pt x="135" y="193"/>
                  </a:lnTo>
                  <a:lnTo>
                    <a:pt x="129" y="192"/>
                  </a:lnTo>
                  <a:lnTo>
                    <a:pt x="135" y="177"/>
                  </a:lnTo>
                  <a:lnTo>
                    <a:pt x="136" y="170"/>
                  </a:lnTo>
                  <a:lnTo>
                    <a:pt x="139" y="166"/>
                  </a:lnTo>
                  <a:lnTo>
                    <a:pt x="139" y="159"/>
                  </a:lnTo>
                  <a:lnTo>
                    <a:pt x="146" y="145"/>
                  </a:lnTo>
                  <a:lnTo>
                    <a:pt x="152" y="140"/>
                  </a:lnTo>
                  <a:lnTo>
                    <a:pt x="162" y="140"/>
                  </a:lnTo>
                  <a:lnTo>
                    <a:pt x="161" y="122"/>
                  </a:lnTo>
                  <a:lnTo>
                    <a:pt x="161" y="106"/>
                  </a:lnTo>
                  <a:lnTo>
                    <a:pt x="161" y="89"/>
                  </a:lnTo>
                  <a:lnTo>
                    <a:pt x="159" y="7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6" name="Freeform 27">
              <a:extLst>
                <a:ext uri="{FF2B5EF4-FFF2-40B4-BE49-F238E27FC236}">
                  <a16:creationId xmlns:a16="http://schemas.microsoft.com/office/drawing/2014/main" id="{E2900D04-BB3C-F8E8-9C60-2BBAAA080131}"/>
                </a:ext>
              </a:extLst>
            </p:cNvPr>
            <p:cNvSpPr>
              <a:spLocks/>
            </p:cNvSpPr>
            <p:nvPr/>
          </p:nvSpPr>
          <p:spPr bwMode="auto">
            <a:xfrm>
              <a:off x="5564214" y="3531011"/>
              <a:ext cx="43178" cy="56189"/>
            </a:xfrm>
            <a:custGeom>
              <a:avLst/>
              <a:gdLst>
                <a:gd name="T0" fmla="*/ 0 w 23"/>
                <a:gd name="T1" fmla="*/ 1766529 h 28"/>
                <a:gd name="T2" fmla="*/ 2705 w 23"/>
                <a:gd name="T3" fmla="*/ 1766529 h 28"/>
                <a:gd name="T4" fmla="*/ 3461 w 23"/>
                <a:gd name="T5" fmla="*/ 1216580 h 28"/>
                <a:gd name="T6" fmla="*/ 2304 w 23"/>
                <a:gd name="T7" fmla="*/ 0 h 28"/>
                <a:gd name="T8" fmla="*/ 1424 w 23"/>
                <a:gd name="T9" fmla="*/ 143130 h 28"/>
                <a:gd name="T10" fmla="*/ 0 w 23"/>
                <a:gd name="T11" fmla="*/ 1766529 h 28"/>
                <a:gd name="T12" fmla="*/ 0 60000 65536"/>
                <a:gd name="T13" fmla="*/ 0 60000 65536"/>
                <a:gd name="T14" fmla="*/ 0 60000 65536"/>
                <a:gd name="T15" fmla="*/ 0 60000 65536"/>
                <a:gd name="T16" fmla="*/ 0 60000 65536"/>
                <a:gd name="T17" fmla="*/ 0 60000 65536"/>
                <a:gd name="T18" fmla="*/ 0 w 23"/>
                <a:gd name="T19" fmla="*/ 0 h 28"/>
                <a:gd name="T20" fmla="*/ 23 w 23"/>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3" h="28">
                  <a:moveTo>
                    <a:pt x="0" y="28"/>
                  </a:moveTo>
                  <a:lnTo>
                    <a:pt x="19" y="28"/>
                  </a:lnTo>
                  <a:lnTo>
                    <a:pt x="23" y="19"/>
                  </a:lnTo>
                  <a:lnTo>
                    <a:pt x="16" y="0"/>
                  </a:lnTo>
                  <a:lnTo>
                    <a:pt x="10" y="2"/>
                  </a:lnTo>
                  <a:lnTo>
                    <a:pt x="0" y="2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7" name="Freeform 28">
              <a:extLst>
                <a:ext uri="{FF2B5EF4-FFF2-40B4-BE49-F238E27FC236}">
                  <a16:creationId xmlns:a16="http://schemas.microsoft.com/office/drawing/2014/main" id="{A561DCDF-4538-1FF1-3D50-5B0B1ACA82BB}"/>
                </a:ext>
              </a:extLst>
            </p:cNvPr>
            <p:cNvSpPr>
              <a:spLocks/>
            </p:cNvSpPr>
            <p:nvPr/>
          </p:nvSpPr>
          <p:spPr bwMode="auto">
            <a:xfrm>
              <a:off x="5396303" y="3336628"/>
              <a:ext cx="203093" cy="206533"/>
            </a:xfrm>
            <a:custGeom>
              <a:avLst/>
              <a:gdLst>
                <a:gd name="T0" fmla="*/ 0 w 105"/>
                <a:gd name="T1" fmla="*/ 4759169 h 103"/>
                <a:gd name="T2" fmla="*/ 1224 w 105"/>
                <a:gd name="T3" fmla="*/ 4020270 h 103"/>
                <a:gd name="T4" fmla="*/ 1480 w 105"/>
                <a:gd name="T5" fmla="*/ 2423880 h 103"/>
                <a:gd name="T6" fmla="*/ 3832 w 105"/>
                <a:gd name="T7" fmla="*/ 1038439 h 103"/>
                <a:gd name="T8" fmla="*/ 7235 w 105"/>
                <a:gd name="T9" fmla="*/ 610484 h 103"/>
                <a:gd name="T10" fmla="*/ 10585 w 105"/>
                <a:gd name="T11" fmla="*/ 1 h 103"/>
                <a:gd name="T12" fmla="*/ 11611 w 105"/>
                <a:gd name="T13" fmla="*/ 0 h 103"/>
                <a:gd name="T14" fmla="*/ 12923 w 105"/>
                <a:gd name="T15" fmla="*/ 833817 h 103"/>
                <a:gd name="T16" fmla="*/ 15486 w 105"/>
                <a:gd name="T17" fmla="*/ 1536407 h 103"/>
                <a:gd name="T18" fmla="*/ 16841 w 105"/>
                <a:gd name="T19" fmla="*/ 2331090 h 103"/>
                <a:gd name="T20" fmla="*/ 18865 w 105"/>
                <a:gd name="T21" fmla="*/ 3129439 h 103"/>
                <a:gd name="T22" fmla="*/ 18865 w 105"/>
                <a:gd name="T23" fmla="*/ 2842359 h 103"/>
                <a:gd name="T24" fmla="*/ 20546 w 105"/>
                <a:gd name="T25" fmla="*/ 3018710 h 103"/>
                <a:gd name="T26" fmla="*/ 25682 w 105"/>
                <a:gd name="T27" fmla="*/ 3564288 h 103"/>
                <a:gd name="T28" fmla="*/ 31634 w 105"/>
                <a:gd name="T29" fmla="*/ 4652875 h 103"/>
                <a:gd name="T30" fmla="*/ 38262 w 105"/>
                <a:gd name="T31" fmla="*/ 5737667 h 103"/>
                <a:gd name="T32" fmla="*/ 38262 w 105"/>
                <a:gd name="T33" fmla="*/ 5930548 h 103"/>
                <a:gd name="T34" fmla="*/ 37571 w 105"/>
                <a:gd name="T35" fmla="*/ 5941534 h 103"/>
                <a:gd name="T36" fmla="*/ 35433 w 105"/>
                <a:gd name="T37" fmla="*/ 6078174 h 103"/>
                <a:gd name="T38" fmla="*/ 32984 w 105"/>
                <a:gd name="T39" fmla="*/ 6348443 h 103"/>
                <a:gd name="T40" fmla="*/ 32370 w 105"/>
                <a:gd name="T41" fmla="*/ 6078174 h 103"/>
                <a:gd name="T42" fmla="*/ 27599 w 105"/>
                <a:gd name="T43" fmla="*/ 5737667 h 103"/>
                <a:gd name="T44" fmla="*/ 23762 w 105"/>
                <a:gd name="T45" fmla="*/ 5086896 h 103"/>
                <a:gd name="T46" fmla="*/ 22546 w 105"/>
                <a:gd name="T47" fmla="*/ 4748094 h 103"/>
                <a:gd name="T48" fmla="*/ 18731 w 105"/>
                <a:gd name="T49" fmla="*/ 4359332 h 103"/>
                <a:gd name="T50" fmla="*/ 15486 w 105"/>
                <a:gd name="T51" fmla="*/ 4308256 h 103"/>
                <a:gd name="T52" fmla="*/ 11611 w 105"/>
                <a:gd name="T53" fmla="*/ 4359332 h 103"/>
                <a:gd name="T54" fmla="*/ 8833 w 105"/>
                <a:gd name="T55" fmla="*/ 3815113 h 103"/>
                <a:gd name="T56" fmla="*/ 8202 w 105"/>
                <a:gd name="T57" fmla="*/ 4748094 h 103"/>
                <a:gd name="T58" fmla="*/ 4992 w 105"/>
                <a:gd name="T59" fmla="*/ 4359332 h 103"/>
                <a:gd name="T60" fmla="*/ 3234 w 105"/>
                <a:gd name="T61" fmla="*/ 4937093 h 103"/>
                <a:gd name="T62" fmla="*/ 0 w 105"/>
                <a:gd name="T63" fmla="*/ 4759169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5"/>
                <a:gd name="T97" fmla="*/ 0 h 103"/>
                <a:gd name="T98" fmla="*/ 105 w 105"/>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5" h="103">
                  <a:moveTo>
                    <a:pt x="0" y="78"/>
                  </a:moveTo>
                  <a:lnTo>
                    <a:pt x="3" y="65"/>
                  </a:lnTo>
                  <a:lnTo>
                    <a:pt x="4" y="39"/>
                  </a:lnTo>
                  <a:lnTo>
                    <a:pt x="10" y="17"/>
                  </a:lnTo>
                  <a:lnTo>
                    <a:pt x="20" y="10"/>
                  </a:lnTo>
                  <a:lnTo>
                    <a:pt x="29" y="1"/>
                  </a:lnTo>
                  <a:lnTo>
                    <a:pt x="32" y="0"/>
                  </a:lnTo>
                  <a:lnTo>
                    <a:pt x="36" y="13"/>
                  </a:lnTo>
                  <a:lnTo>
                    <a:pt x="42" y="25"/>
                  </a:lnTo>
                  <a:lnTo>
                    <a:pt x="46" y="38"/>
                  </a:lnTo>
                  <a:lnTo>
                    <a:pt x="52" y="51"/>
                  </a:lnTo>
                  <a:lnTo>
                    <a:pt x="52" y="46"/>
                  </a:lnTo>
                  <a:lnTo>
                    <a:pt x="57" y="49"/>
                  </a:lnTo>
                  <a:lnTo>
                    <a:pt x="70" y="58"/>
                  </a:lnTo>
                  <a:lnTo>
                    <a:pt x="87" y="76"/>
                  </a:lnTo>
                  <a:lnTo>
                    <a:pt x="105" y="93"/>
                  </a:lnTo>
                  <a:lnTo>
                    <a:pt x="105" y="96"/>
                  </a:lnTo>
                  <a:lnTo>
                    <a:pt x="103" y="97"/>
                  </a:lnTo>
                  <a:lnTo>
                    <a:pt x="97" y="99"/>
                  </a:lnTo>
                  <a:lnTo>
                    <a:pt x="90" y="103"/>
                  </a:lnTo>
                  <a:lnTo>
                    <a:pt x="89" y="99"/>
                  </a:lnTo>
                  <a:lnTo>
                    <a:pt x="76" y="93"/>
                  </a:lnTo>
                  <a:lnTo>
                    <a:pt x="65" y="83"/>
                  </a:lnTo>
                  <a:lnTo>
                    <a:pt x="61" y="77"/>
                  </a:lnTo>
                  <a:lnTo>
                    <a:pt x="51" y="71"/>
                  </a:lnTo>
                  <a:lnTo>
                    <a:pt x="42" y="70"/>
                  </a:lnTo>
                  <a:lnTo>
                    <a:pt x="32" y="71"/>
                  </a:lnTo>
                  <a:lnTo>
                    <a:pt x="25" y="62"/>
                  </a:lnTo>
                  <a:lnTo>
                    <a:pt x="22" y="77"/>
                  </a:lnTo>
                  <a:lnTo>
                    <a:pt x="14" y="71"/>
                  </a:lnTo>
                  <a:lnTo>
                    <a:pt x="9" y="80"/>
                  </a:lnTo>
                  <a:lnTo>
                    <a:pt x="0" y="7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8" name="Freeform 29">
              <a:extLst>
                <a:ext uri="{FF2B5EF4-FFF2-40B4-BE49-F238E27FC236}">
                  <a16:creationId xmlns:a16="http://schemas.microsoft.com/office/drawing/2014/main" id="{BA594885-064F-39F9-C36F-73360B583EBE}"/>
                </a:ext>
              </a:extLst>
            </p:cNvPr>
            <p:cNvSpPr>
              <a:spLocks/>
            </p:cNvSpPr>
            <p:nvPr/>
          </p:nvSpPr>
          <p:spPr bwMode="auto">
            <a:xfrm>
              <a:off x="5303551" y="3459636"/>
              <a:ext cx="452561" cy="399396"/>
            </a:xfrm>
            <a:custGeom>
              <a:avLst/>
              <a:gdLst>
                <a:gd name="T0" fmla="*/ 22139 w 236"/>
                <a:gd name="T1" fmla="*/ 15539203 h 198"/>
                <a:gd name="T2" fmla="*/ 17046 w 236"/>
                <a:gd name="T3" fmla="*/ 14533838 h 198"/>
                <a:gd name="T4" fmla="*/ 12839 w 236"/>
                <a:gd name="T5" fmla="*/ 14225785 h 198"/>
                <a:gd name="T6" fmla="*/ 11916 w 236"/>
                <a:gd name="T7" fmla="*/ 13257211 h 198"/>
                <a:gd name="T8" fmla="*/ 9486 w 236"/>
                <a:gd name="T9" fmla="*/ 12770731 h 198"/>
                <a:gd name="T10" fmla="*/ 7446 w 236"/>
                <a:gd name="T11" fmla="*/ 11800842 h 198"/>
                <a:gd name="T12" fmla="*/ 5763 w 236"/>
                <a:gd name="T13" fmla="*/ 10904595 h 198"/>
                <a:gd name="T14" fmla="*/ 1323 w 236"/>
                <a:gd name="T15" fmla="*/ 9671823 h 198"/>
                <a:gd name="T16" fmla="*/ 0 w 236"/>
                <a:gd name="T17" fmla="*/ 9346624 h 198"/>
                <a:gd name="T18" fmla="*/ 1323 w 236"/>
                <a:gd name="T19" fmla="*/ 8733264 h 198"/>
                <a:gd name="T20" fmla="*/ 4716 w 236"/>
                <a:gd name="T21" fmla="*/ 8609677 h 198"/>
                <a:gd name="T22" fmla="*/ 4967 w 236"/>
                <a:gd name="T23" fmla="*/ 6866209 h 198"/>
                <a:gd name="T24" fmla="*/ 5763 w 236"/>
                <a:gd name="T25" fmla="*/ 5341081 h 198"/>
                <a:gd name="T26" fmla="*/ 8131 w 236"/>
                <a:gd name="T27" fmla="*/ 5307615 h 198"/>
                <a:gd name="T28" fmla="*/ 9486 w 236"/>
                <a:gd name="T29" fmla="*/ 3620016 h 198"/>
                <a:gd name="T30" fmla="*/ 13674 w 236"/>
                <a:gd name="T31" fmla="*/ 1293379 h 198"/>
                <a:gd name="T32" fmla="*/ 16356 w 236"/>
                <a:gd name="T33" fmla="*/ 1413444 h 198"/>
                <a:gd name="T34" fmla="*/ 17618 w 236"/>
                <a:gd name="T35" fmla="*/ 730125 h 198"/>
                <a:gd name="T36" fmla="*/ 19663 w 236"/>
                <a:gd name="T37" fmla="*/ 1236462 h 198"/>
                <a:gd name="T38" fmla="*/ 20547 w 236"/>
                <a:gd name="T39" fmla="*/ 0 h 198"/>
                <a:gd name="T40" fmla="*/ 22471 w 236"/>
                <a:gd name="T41" fmla="*/ 730125 h 198"/>
                <a:gd name="T42" fmla="*/ 25334 w 236"/>
                <a:gd name="T43" fmla="*/ 652935 h 198"/>
                <a:gd name="T44" fmla="*/ 27840 w 236"/>
                <a:gd name="T45" fmla="*/ 730125 h 198"/>
                <a:gd name="T46" fmla="*/ 30536 w 236"/>
                <a:gd name="T47" fmla="*/ 1236462 h 198"/>
                <a:gd name="T48" fmla="*/ 31835 w 236"/>
                <a:gd name="T49" fmla="*/ 1655172 h 198"/>
                <a:gd name="T50" fmla="*/ 34978 w 236"/>
                <a:gd name="T51" fmla="*/ 2514958 h 198"/>
                <a:gd name="T52" fmla="*/ 38288 w 236"/>
                <a:gd name="T53" fmla="*/ 2928451 h 198"/>
                <a:gd name="T54" fmla="*/ 38747 w 236"/>
                <a:gd name="T55" fmla="*/ 3276876 h 198"/>
                <a:gd name="T56" fmla="*/ 40658 w 236"/>
                <a:gd name="T57" fmla="*/ 2928451 h 198"/>
                <a:gd name="T58" fmla="*/ 37843 w 236"/>
                <a:gd name="T59" fmla="*/ 5081161 h 198"/>
                <a:gd name="T60" fmla="*/ 43159 w 236"/>
                <a:gd name="T61" fmla="*/ 5081161 h 198"/>
                <a:gd name="T62" fmla="*/ 42268 w 236"/>
                <a:gd name="T63" fmla="*/ 5819242 h 198"/>
                <a:gd name="T64" fmla="*/ 45135 w 236"/>
                <a:gd name="T65" fmla="*/ 6866209 h 198"/>
                <a:gd name="T66" fmla="*/ 47837 w 236"/>
                <a:gd name="T67" fmla="*/ 7991423 h 198"/>
                <a:gd name="T68" fmla="*/ 51380 w 236"/>
                <a:gd name="T69" fmla="*/ 8358486 h 198"/>
                <a:gd name="T70" fmla="*/ 54895 w 236"/>
                <a:gd name="T71" fmla="*/ 8616592 h 198"/>
                <a:gd name="T72" fmla="*/ 58317 w 236"/>
                <a:gd name="T73" fmla="*/ 8970378 h 198"/>
                <a:gd name="T74" fmla="*/ 61527 w 236"/>
                <a:gd name="T75" fmla="*/ 9346624 h 198"/>
                <a:gd name="T76" fmla="*/ 65827 w 236"/>
                <a:gd name="T77" fmla="*/ 9346624 h 198"/>
                <a:gd name="T78" fmla="*/ 62816 w 236"/>
                <a:gd name="T79" fmla="*/ 10527428 h 198"/>
                <a:gd name="T80" fmla="*/ 59242 w 236"/>
                <a:gd name="T81" fmla="*/ 11510654 h 198"/>
                <a:gd name="T82" fmla="*/ 56199 w 236"/>
                <a:gd name="T83" fmla="*/ 12770731 h 198"/>
                <a:gd name="T84" fmla="*/ 52905 w 236"/>
                <a:gd name="T85" fmla="*/ 13808395 h 198"/>
                <a:gd name="T86" fmla="*/ 49358 w 236"/>
                <a:gd name="T87" fmla="*/ 13835364 h 198"/>
                <a:gd name="T88" fmla="*/ 45778 w 236"/>
                <a:gd name="T89" fmla="*/ 14045227 h 198"/>
                <a:gd name="T90" fmla="*/ 41686 w 236"/>
                <a:gd name="T91" fmla="*/ 14781126 h 198"/>
                <a:gd name="T92" fmla="*/ 38948 w 236"/>
                <a:gd name="T93" fmla="*/ 15153111 h 198"/>
                <a:gd name="T94" fmla="*/ 34982 w 236"/>
                <a:gd name="T95" fmla="*/ 14934162 h 198"/>
                <a:gd name="T96" fmla="*/ 30379 w 236"/>
                <a:gd name="T97" fmla="*/ 15291984 h 198"/>
                <a:gd name="T98" fmla="*/ 28203 w 236"/>
                <a:gd name="T99" fmla="*/ 15845206 h 198"/>
                <a:gd name="T100" fmla="*/ 22139 w 236"/>
                <a:gd name="T101" fmla="*/ 15539203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36"/>
                <a:gd name="T154" fmla="*/ 0 h 198"/>
                <a:gd name="T155" fmla="*/ 236 w 236"/>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36" h="198">
                  <a:moveTo>
                    <a:pt x="79" y="194"/>
                  </a:moveTo>
                  <a:lnTo>
                    <a:pt x="61" y="181"/>
                  </a:lnTo>
                  <a:lnTo>
                    <a:pt x="46" y="178"/>
                  </a:lnTo>
                  <a:lnTo>
                    <a:pt x="43" y="165"/>
                  </a:lnTo>
                  <a:lnTo>
                    <a:pt x="33" y="159"/>
                  </a:lnTo>
                  <a:lnTo>
                    <a:pt x="27" y="147"/>
                  </a:lnTo>
                  <a:lnTo>
                    <a:pt x="21" y="136"/>
                  </a:lnTo>
                  <a:lnTo>
                    <a:pt x="5" y="121"/>
                  </a:lnTo>
                  <a:lnTo>
                    <a:pt x="0" y="117"/>
                  </a:lnTo>
                  <a:lnTo>
                    <a:pt x="5" y="109"/>
                  </a:lnTo>
                  <a:lnTo>
                    <a:pt x="17" y="107"/>
                  </a:lnTo>
                  <a:lnTo>
                    <a:pt x="18" y="86"/>
                  </a:lnTo>
                  <a:lnTo>
                    <a:pt x="21" y="67"/>
                  </a:lnTo>
                  <a:lnTo>
                    <a:pt x="29" y="66"/>
                  </a:lnTo>
                  <a:lnTo>
                    <a:pt x="33" y="45"/>
                  </a:lnTo>
                  <a:lnTo>
                    <a:pt x="49" y="16"/>
                  </a:lnTo>
                  <a:lnTo>
                    <a:pt x="58" y="18"/>
                  </a:lnTo>
                  <a:lnTo>
                    <a:pt x="63" y="9"/>
                  </a:lnTo>
                  <a:lnTo>
                    <a:pt x="71" y="15"/>
                  </a:lnTo>
                  <a:lnTo>
                    <a:pt x="74" y="0"/>
                  </a:lnTo>
                  <a:lnTo>
                    <a:pt x="81" y="9"/>
                  </a:lnTo>
                  <a:lnTo>
                    <a:pt x="91" y="8"/>
                  </a:lnTo>
                  <a:lnTo>
                    <a:pt x="100" y="9"/>
                  </a:lnTo>
                  <a:lnTo>
                    <a:pt x="110" y="15"/>
                  </a:lnTo>
                  <a:lnTo>
                    <a:pt x="114" y="21"/>
                  </a:lnTo>
                  <a:lnTo>
                    <a:pt x="125" y="31"/>
                  </a:lnTo>
                  <a:lnTo>
                    <a:pt x="138" y="37"/>
                  </a:lnTo>
                  <a:lnTo>
                    <a:pt x="139" y="41"/>
                  </a:lnTo>
                  <a:lnTo>
                    <a:pt x="146" y="37"/>
                  </a:lnTo>
                  <a:lnTo>
                    <a:pt x="136" y="63"/>
                  </a:lnTo>
                  <a:lnTo>
                    <a:pt x="155" y="63"/>
                  </a:lnTo>
                  <a:lnTo>
                    <a:pt x="152" y="73"/>
                  </a:lnTo>
                  <a:lnTo>
                    <a:pt x="162" y="86"/>
                  </a:lnTo>
                  <a:lnTo>
                    <a:pt x="172" y="99"/>
                  </a:lnTo>
                  <a:lnTo>
                    <a:pt x="184" y="104"/>
                  </a:lnTo>
                  <a:lnTo>
                    <a:pt x="197" y="108"/>
                  </a:lnTo>
                  <a:lnTo>
                    <a:pt x="209" y="112"/>
                  </a:lnTo>
                  <a:lnTo>
                    <a:pt x="220" y="117"/>
                  </a:lnTo>
                  <a:lnTo>
                    <a:pt x="236" y="117"/>
                  </a:lnTo>
                  <a:lnTo>
                    <a:pt x="225" y="131"/>
                  </a:lnTo>
                  <a:lnTo>
                    <a:pt x="213" y="144"/>
                  </a:lnTo>
                  <a:lnTo>
                    <a:pt x="202" y="159"/>
                  </a:lnTo>
                  <a:lnTo>
                    <a:pt x="190" y="172"/>
                  </a:lnTo>
                  <a:lnTo>
                    <a:pt x="177" y="173"/>
                  </a:lnTo>
                  <a:lnTo>
                    <a:pt x="164" y="175"/>
                  </a:lnTo>
                  <a:lnTo>
                    <a:pt x="149" y="185"/>
                  </a:lnTo>
                  <a:lnTo>
                    <a:pt x="140" y="189"/>
                  </a:lnTo>
                  <a:lnTo>
                    <a:pt x="126" y="186"/>
                  </a:lnTo>
                  <a:lnTo>
                    <a:pt x="109" y="191"/>
                  </a:lnTo>
                  <a:lnTo>
                    <a:pt x="101" y="198"/>
                  </a:lnTo>
                  <a:lnTo>
                    <a:pt x="79" y="19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89" name="Freeform 30">
              <a:extLst>
                <a:ext uri="{FF2B5EF4-FFF2-40B4-BE49-F238E27FC236}">
                  <a16:creationId xmlns:a16="http://schemas.microsoft.com/office/drawing/2014/main" id="{05D92FEE-BDC3-3535-0740-5EA1C8A886D4}"/>
                </a:ext>
              </a:extLst>
            </p:cNvPr>
            <p:cNvSpPr>
              <a:spLocks/>
            </p:cNvSpPr>
            <p:nvPr/>
          </p:nvSpPr>
          <p:spPr bwMode="auto">
            <a:xfrm>
              <a:off x="5546624" y="3555308"/>
              <a:ext cx="305440" cy="490514"/>
            </a:xfrm>
            <a:custGeom>
              <a:avLst/>
              <a:gdLst>
                <a:gd name="T0" fmla="*/ 44897 w 159"/>
                <a:gd name="T1" fmla="*/ 2317392 h 244"/>
                <a:gd name="T2" fmla="*/ 43774 w 159"/>
                <a:gd name="T3" fmla="*/ 3763318 h 244"/>
                <a:gd name="T4" fmla="*/ 40475 w 159"/>
                <a:gd name="T5" fmla="*/ 5320689 h 244"/>
                <a:gd name="T6" fmla="*/ 37375 w 159"/>
                <a:gd name="T7" fmla="*/ 6919524 h 244"/>
                <a:gd name="T8" fmla="*/ 34476 w 159"/>
                <a:gd name="T9" fmla="*/ 8456965 h 244"/>
                <a:gd name="T10" fmla="*/ 31113 w 159"/>
                <a:gd name="T11" fmla="*/ 9925547 h 244"/>
                <a:gd name="T12" fmla="*/ 28049 w 159"/>
                <a:gd name="T13" fmla="*/ 10628949 h 244"/>
                <a:gd name="T14" fmla="*/ 25900 w 159"/>
                <a:gd name="T15" fmla="*/ 11409197 h 244"/>
                <a:gd name="T16" fmla="*/ 22637 w 159"/>
                <a:gd name="T17" fmla="*/ 12085526 h 244"/>
                <a:gd name="T18" fmla="*/ 20310 w 159"/>
                <a:gd name="T19" fmla="*/ 12907383 h 244"/>
                <a:gd name="T20" fmla="*/ 16875 w 159"/>
                <a:gd name="T21" fmla="*/ 13610470 h 244"/>
                <a:gd name="T22" fmla="*/ 13252 w 159"/>
                <a:gd name="T23" fmla="*/ 14313614 h 244"/>
                <a:gd name="T24" fmla="*/ 10095 w 159"/>
                <a:gd name="T25" fmla="*/ 15213056 h 244"/>
                <a:gd name="T26" fmla="*/ 6996 w 159"/>
                <a:gd name="T27" fmla="*/ 15929362 h 244"/>
                <a:gd name="T28" fmla="*/ 4842 w 159"/>
                <a:gd name="T29" fmla="*/ 16715646 h 244"/>
                <a:gd name="T30" fmla="*/ 2794 w 159"/>
                <a:gd name="T31" fmla="*/ 17563082 h 244"/>
                <a:gd name="T32" fmla="*/ 0 w 159"/>
                <a:gd name="T33" fmla="*/ 16437436 h 244"/>
                <a:gd name="T34" fmla="*/ 0 w 159"/>
                <a:gd name="T35" fmla="*/ 15246438 h 244"/>
                <a:gd name="T36" fmla="*/ 0 w 159"/>
                <a:gd name="T37" fmla="*/ 14088638 h 244"/>
                <a:gd name="T38" fmla="*/ 0 w 159"/>
                <a:gd name="T39" fmla="*/ 12907383 h 244"/>
                <a:gd name="T40" fmla="*/ 0 w 159"/>
                <a:gd name="T41" fmla="*/ 11743866 h 244"/>
                <a:gd name="T42" fmla="*/ 2328 w 159"/>
                <a:gd name="T43" fmla="*/ 10947730 h 244"/>
                <a:gd name="T44" fmla="*/ 4031 w 159"/>
                <a:gd name="T45" fmla="*/ 10230822 h 244"/>
                <a:gd name="T46" fmla="*/ 6272 w 159"/>
                <a:gd name="T47" fmla="*/ 9925547 h 244"/>
                <a:gd name="T48" fmla="*/ 10871 w 159"/>
                <a:gd name="T49" fmla="*/ 9239094 h 244"/>
                <a:gd name="T50" fmla="*/ 14568 w 159"/>
                <a:gd name="T51" fmla="*/ 9088537 h 244"/>
                <a:gd name="T52" fmla="*/ 18498 w 159"/>
                <a:gd name="T53" fmla="*/ 8998294 h 244"/>
                <a:gd name="T54" fmla="*/ 21989 w 159"/>
                <a:gd name="T55" fmla="*/ 8067076 h 244"/>
                <a:gd name="T56" fmla="*/ 25253 w 159"/>
                <a:gd name="T57" fmla="*/ 6956538 h 244"/>
                <a:gd name="T58" fmla="*/ 28983 w 159"/>
                <a:gd name="T59" fmla="*/ 6022532 h 244"/>
                <a:gd name="T60" fmla="*/ 32065 w 159"/>
                <a:gd name="T61" fmla="*/ 4998545 h 244"/>
                <a:gd name="T62" fmla="*/ 27554 w 159"/>
                <a:gd name="T63" fmla="*/ 4998545 h 244"/>
                <a:gd name="T64" fmla="*/ 24351 w 159"/>
                <a:gd name="T65" fmla="*/ 4656004 h 244"/>
                <a:gd name="T66" fmla="*/ 20516 w 159"/>
                <a:gd name="T67" fmla="*/ 4417104 h 244"/>
                <a:gd name="T68" fmla="*/ 16875 w 159"/>
                <a:gd name="T69" fmla="*/ 4110154 h 244"/>
                <a:gd name="T70" fmla="*/ 13252 w 159"/>
                <a:gd name="T71" fmla="*/ 3763318 h 244"/>
                <a:gd name="T72" fmla="*/ 10095 w 159"/>
                <a:gd name="T73" fmla="*/ 2810761 h 244"/>
                <a:gd name="T74" fmla="*/ 7282 w 159"/>
                <a:gd name="T75" fmla="*/ 1847012 h 244"/>
                <a:gd name="T76" fmla="*/ 8393 w 159"/>
                <a:gd name="T77" fmla="*/ 1139424 h 244"/>
                <a:gd name="T78" fmla="*/ 9327 w 159"/>
                <a:gd name="T79" fmla="*/ 491251 h 244"/>
                <a:gd name="T80" fmla="*/ 12111 w 159"/>
                <a:gd name="T81" fmla="*/ 1180676 h 244"/>
                <a:gd name="T82" fmla="*/ 14942 w 159"/>
                <a:gd name="T83" fmla="*/ 1847012 h 244"/>
                <a:gd name="T84" fmla="*/ 21022 w 159"/>
                <a:gd name="T85" fmla="*/ 1366053 h 244"/>
                <a:gd name="T86" fmla="*/ 25253 w 159"/>
                <a:gd name="T87" fmla="*/ 1449899 h 244"/>
                <a:gd name="T88" fmla="*/ 29605 w 159"/>
                <a:gd name="T89" fmla="*/ 952334 h 244"/>
                <a:gd name="T90" fmla="*/ 36155 w 159"/>
                <a:gd name="T91" fmla="*/ 663913 h 244"/>
                <a:gd name="T92" fmla="*/ 42833 w 159"/>
                <a:gd name="T93" fmla="*/ 322667 h 244"/>
                <a:gd name="T94" fmla="*/ 44897 w 159"/>
                <a:gd name="T95" fmla="*/ 0 h 244"/>
                <a:gd name="T96" fmla="*/ 46270 w 159"/>
                <a:gd name="T97" fmla="*/ 322667 h 244"/>
                <a:gd name="T98" fmla="*/ 45787 w 159"/>
                <a:gd name="T99" fmla="*/ 1847012 h 244"/>
                <a:gd name="T100" fmla="*/ 46599 w 159"/>
                <a:gd name="T101" fmla="*/ 1847012 h 244"/>
                <a:gd name="T102" fmla="*/ 44897 w 159"/>
                <a:gd name="T103" fmla="*/ 2317392 h 2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9"/>
                <a:gd name="T157" fmla="*/ 0 h 244"/>
                <a:gd name="T158" fmla="*/ 159 w 159"/>
                <a:gd name="T159" fmla="*/ 244 h 2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9" h="244">
                  <a:moveTo>
                    <a:pt x="153" y="32"/>
                  </a:moveTo>
                  <a:lnTo>
                    <a:pt x="149" y="52"/>
                  </a:lnTo>
                  <a:lnTo>
                    <a:pt x="138" y="74"/>
                  </a:lnTo>
                  <a:lnTo>
                    <a:pt x="127" y="96"/>
                  </a:lnTo>
                  <a:lnTo>
                    <a:pt x="117" y="118"/>
                  </a:lnTo>
                  <a:lnTo>
                    <a:pt x="106" y="138"/>
                  </a:lnTo>
                  <a:lnTo>
                    <a:pt x="96" y="148"/>
                  </a:lnTo>
                  <a:lnTo>
                    <a:pt x="88" y="158"/>
                  </a:lnTo>
                  <a:lnTo>
                    <a:pt x="77" y="168"/>
                  </a:lnTo>
                  <a:lnTo>
                    <a:pt x="69" y="179"/>
                  </a:lnTo>
                  <a:lnTo>
                    <a:pt x="57" y="189"/>
                  </a:lnTo>
                  <a:lnTo>
                    <a:pt x="45" y="199"/>
                  </a:lnTo>
                  <a:lnTo>
                    <a:pt x="35" y="211"/>
                  </a:lnTo>
                  <a:lnTo>
                    <a:pt x="24" y="221"/>
                  </a:lnTo>
                  <a:lnTo>
                    <a:pt x="16" y="232"/>
                  </a:lnTo>
                  <a:lnTo>
                    <a:pt x="9" y="244"/>
                  </a:lnTo>
                  <a:lnTo>
                    <a:pt x="0" y="229"/>
                  </a:lnTo>
                  <a:lnTo>
                    <a:pt x="0" y="212"/>
                  </a:lnTo>
                  <a:lnTo>
                    <a:pt x="0" y="196"/>
                  </a:lnTo>
                  <a:lnTo>
                    <a:pt x="0" y="179"/>
                  </a:lnTo>
                  <a:lnTo>
                    <a:pt x="0" y="163"/>
                  </a:lnTo>
                  <a:lnTo>
                    <a:pt x="8" y="152"/>
                  </a:lnTo>
                  <a:lnTo>
                    <a:pt x="13" y="142"/>
                  </a:lnTo>
                  <a:lnTo>
                    <a:pt x="22" y="138"/>
                  </a:lnTo>
                  <a:lnTo>
                    <a:pt x="37" y="128"/>
                  </a:lnTo>
                  <a:lnTo>
                    <a:pt x="50" y="126"/>
                  </a:lnTo>
                  <a:lnTo>
                    <a:pt x="63" y="125"/>
                  </a:lnTo>
                  <a:lnTo>
                    <a:pt x="75" y="112"/>
                  </a:lnTo>
                  <a:lnTo>
                    <a:pt x="86" y="97"/>
                  </a:lnTo>
                  <a:lnTo>
                    <a:pt x="98" y="84"/>
                  </a:lnTo>
                  <a:lnTo>
                    <a:pt x="109" y="70"/>
                  </a:lnTo>
                  <a:lnTo>
                    <a:pt x="93" y="70"/>
                  </a:lnTo>
                  <a:lnTo>
                    <a:pt x="82" y="65"/>
                  </a:lnTo>
                  <a:lnTo>
                    <a:pt x="70" y="61"/>
                  </a:lnTo>
                  <a:lnTo>
                    <a:pt x="57" y="57"/>
                  </a:lnTo>
                  <a:lnTo>
                    <a:pt x="45" y="52"/>
                  </a:lnTo>
                  <a:lnTo>
                    <a:pt x="35" y="39"/>
                  </a:lnTo>
                  <a:lnTo>
                    <a:pt x="25" y="26"/>
                  </a:lnTo>
                  <a:lnTo>
                    <a:pt x="28" y="16"/>
                  </a:lnTo>
                  <a:lnTo>
                    <a:pt x="32" y="7"/>
                  </a:lnTo>
                  <a:lnTo>
                    <a:pt x="41" y="17"/>
                  </a:lnTo>
                  <a:lnTo>
                    <a:pt x="51" y="26"/>
                  </a:lnTo>
                  <a:lnTo>
                    <a:pt x="72" y="19"/>
                  </a:lnTo>
                  <a:lnTo>
                    <a:pt x="86" y="20"/>
                  </a:lnTo>
                  <a:lnTo>
                    <a:pt x="101" y="13"/>
                  </a:lnTo>
                  <a:lnTo>
                    <a:pt x="122" y="9"/>
                  </a:lnTo>
                  <a:lnTo>
                    <a:pt x="146" y="4"/>
                  </a:lnTo>
                  <a:lnTo>
                    <a:pt x="153" y="0"/>
                  </a:lnTo>
                  <a:lnTo>
                    <a:pt x="157" y="4"/>
                  </a:lnTo>
                  <a:lnTo>
                    <a:pt x="156" y="26"/>
                  </a:lnTo>
                  <a:lnTo>
                    <a:pt x="159" y="26"/>
                  </a:lnTo>
                  <a:lnTo>
                    <a:pt x="153" y="3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0" name="Freeform 31">
              <a:extLst>
                <a:ext uri="{FF2B5EF4-FFF2-40B4-BE49-F238E27FC236}">
                  <a16:creationId xmlns:a16="http://schemas.microsoft.com/office/drawing/2014/main" id="{4CF9F67A-C919-3D55-63A3-0211FD081F29}"/>
                </a:ext>
              </a:extLst>
            </p:cNvPr>
            <p:cNvSpPr>
              <a:spLocks/>
            </p:cNvSpPr>
            <p:nvPr/>
          </p:nvSpPr>
          <p:spPr bwMode="auto">
            <a:xfrm>
              <a:off x="4959732" y="3148318"/>
              <a:ext cx="494140" cy="710713"/>
            </a:xfrm>
            <a:custGeom>
              <a:avLst/>
              <a:gdLst>
                <a:gd name="T0" fmla="*/ 9074 w 257"/>
                <a:gd name="T1" fmla="*/ 4275736 h 353"/>
                <a:gd name="T2" fmla="*/ 13644 w 257"/>
                <a:gd name="T3" fmla="*/ 2897554 h 353"/>
                <a:gd name="T4" fmla="*/ 17338 w 257"/>
                <a:gd name="T5" fmla="*/ 1522897 h 353"/>
                <a:gd name="T6" fmla="*/ 24579 w 257"/>
                <a:gd name="T7" fmla="*/ 1522897 h 353"/>
                <a:gd name="T8" fmla="*/ 32118 w 257"/>
                <a:gd name="T9" fmla="*/ 1522897 h 353"/>
                <a:gd name="T10" fmla="*/ 38869 w 257"/>
                <a:gd name="T11" fmla="*/ 1522897 h 353"/>
                <a:gd name="T12" fmla="*/ 43563 w 257"/>
                <a:gd name="T13" fmla="*/ 1234088 h 353"/>
                <a:gd name="T14" fmla="*/ 49558 w 257"/>
                <a:gd name="T15" fmla="*/ 1733109 h 353"/>
                <a:gd name="T16" fmla="*/ 56190 w 257"/>
                <a:gd name="T17" fmla="*/ 1234088 h 353"/>
                <a:gd name="T18" fmla="*/ 60070 w 257"/>
                <a:gd name="T19" fmla="*/ 474095 h 353"/>
                <a:gd name="T20" fmla="*/ 62975 w 257"/>
                <a:gd name="T21" fmla="*/ 0 h 353"/>
                <a:gd name="T22" fmla="*/ 69398 w 257"/>
                <a:gd name="T23" fmla="*/ 1733109 h 353"/>
                <a:gd name="T24" fmla="*/ 72114 w 257"/>
                <a:gd name="T25" fmla="*/ 4322553 h 353"/>
                <a:gd name="T26" fmla="*/ 77774 w 257"/>
                <a:gd name="T27" fmla="*/ 7052057 h 353"/>
                <a:gd name="T28" fmla="*/ 72114 w 257"/>
                <a:gd name="T29" fmla="*/ 8232474 h 353"/>
                <a:gd name="T30" fmla="*/ 69952 w 257"/>
                <a:gd name="T31" fmla="*/ 11823974 h 353"/>
                <a:gd name="T32" fmla="*/ 64365 w 257"/>
                <a:gd name="T33" fmla="*/ 14955449 h 353"/>
                <a:gd name="T34" fmla="*/ 60310 w 257"/>
                <a:gd name="T35" fmla="*/ 16618834 h 353"/>
                <a:gd name="T36" fmla="*/ 59276 w 257"/>
                <a:gd name="T37" fmla="*/ 19606657 h 353"/>
                <a:gd name="T38" fmla="*/ 54180 w 257"/>
                <a:gd name="T39" fmla="*/ 20389384 h 353"/>
                <a:gd name="T40" fmla="*/ 60310 w 257"/>
                <a:gd name="T41" fmla="*/ 21777627 h 353"/>
                <a:gd name="T42" fmla="*/ 64365 w 257"/>
                <a:gd name="T43" fmla="*/ 23519788 h 353"/>
                <a:gd name="T44" fmla="*/ 68216 w 257"/>
                <a:gd name="T45" fmla="*/ 24949321 h 353"/>
                <a:gd name="T46" fmla="*/ 61010 w 257"/>
                <a:gd name="T47" fmla="*/ 24949321 h 353"/>
                <a:gd name="T48" fmla="*/ 56736 w 257"/>
                <a:gd name="T49" fmla="*/ 26132247 h 353"/>
                <a:gd name="T50" fmla="*/ 49301 w 257"/>
                <a:gd name="T51" fmla="*/ 26363612 h 353"/>
                <a:gd name="T52" fmla="*/ 44526 w 257"/>
                <a:gd name="T53" fmla="*/ 26197902 h 353"/>
                <a:gd name="T54" fmla="*/ 40693 w 257"/>
                <a:gd name="T55" fmla="*/ 25691097 h 353"/>
                <a:gd name="T56" fmla="*/ 35846 w 257"/>
                <a:gd name="T57" fmla="*/ 25194910 h 353"/>
                <a:gd name="T58" fmla="*/ 28860 w 257"/>
                <a:gd name="T59" fmla="*/ 24713521 h 353"/>
                <a:gd name="T60" fmla="*/ 26713 w 257"/>
                <a:gd name="T61" fmla="*/ 23981965 h 353"/>
                <a:gd name="T62" fmla="*/ 22363 w 257"/>
                <a:gd name="T63" fmla="*/ 22346628 h 353"/>
                <a:gd name="T64" fmla="*/ 17338 w 257"/>
                <a:gd name="T65" fmla="*/ 20772349 h 353"/>
                <a:gd name="T66" fmla="*/ 11993 w 257"/>
                <a:gd name="T67" fmla="*/ 19606657 h 353"/>
                <a:gd name="T68" fmla="*/ 9074 w 257"/>
                <a:gd name="T69" fmla="*/ 18194652 h 353"/>
                <a:gd name="T70" fmla="*/ 5014 w 257"/>
                <a:gd name="T71" fmla="*/ 16400568 h 353"/>
                <a:gd name="T72" fmla="*/ 4078 w 257"/>
                <a:gd name="T73" fmla="*/ 14955449 h 353"/>
                <a:gd name="T74" fmla="*/ 0 w 257"/>
                <a:gd name="T75" fmla="*/ 13899867 h 353"/>
                <a:gd name="T76" fmla="*/ 1995 w 257"/>
                <a:gd name="T77" fmla="*/ 12292129 h 353"/>
                <a:gd name="T78" fmla="*/ 2884 w 257"/>
                <a:gd name="T79" fmla="*/ 11459595 h 353"/>
                <a:gd name="T80" fmla="*/ 7088 w 257"/>
                <a:gd name="T81" fmla="*/ 10004595 h 353"/>
                <a:gd name="T82" fmla="*/ 9501 w 257"/>
                <a:gd name="T83" fmla="*/ 8724364 h 353"/>
                <a:gd name="T84" fmla="*/ 9501 w 257"/>
                <a:gd name="T85" fmla="*/ 6208312 h 3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57"/>
                <a:gd name="T130" fmla="*/ 0 h 353"/>
                <a:gd name="T131" fmla="*/ 257 w 257"/>
                <a:gd name="T132" fmla="*/ 353 h 3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57" h="353">
                  <a:moveTo>
                    <a:pt x="30" y="65"/>
                  </a:moveTo>
                  <a:lnTo>
                    <a:pt x="30" y="57"/>
                  </a:lnTo>
                  <a:lnTo>
                    <a:pt x="46" y="57"/>
                  </a:lnTo>
                  <a:lnTo>
                    <a:pt x="45" y="39"/>
                  </a:lnTo>
                  <a:lnTo>
                    <a:pt x="45" y="20"/>
                  </a:lnTo>
                  <a:lnTo>
                    <a:pt x="57" y="20"/>
                  </a:lnTo>
                  <a:lnTo>
                    <a:pt x="70" y="20"/>
                  </a:lnTo>
                  <a:lnTo>
                    <a:pt x="81" y="20"/>
                  </a:lnTo>
                  <a:lnTo>
                    <a:pt x="93" y="20"/>
                  </a:lnTo>
                  <a:lnTo>
                    <a:pt x="106" y="20"/>
                  </a:lnTo>
                  <a:lnTo>
                    <a:pt x="118" y="20"/>
                  </a:lnTo>
                  <a:lnTo>
                    <a:pt x="129" y="20"/>
                  </a:lnTo>
                  <a:lnTo>
                    <a:pt x="142" y="20"/>
                  </a:lnTo>
                  <a:lnTo>
                    <a:pt x="144" y="17"/>
                  </a:lnTo>
                  <a:lnTo>
                    <a:pt x="145" y="20"/>
                  </a:lnTo>
                  <a:lnTo>
                    <a:pt x="164" y="23"/>
                  </a:lnTo>
                  <a:lnTo>
                    <a:pt x="183" y="25"/>
                  </a:lnTo>
                  <a:lnTo>
                    <a:pt x="186" y="17"/>
                  </a:lnTo>
                  <a:lnTo>
                    <a:pt x="195" y="16"/>
                  </a:lnTo>
                  <a:lnTo>
                    <a:pt x="199" y="6"/>
                  </a:lnTo>
                  <a:lnTo>
                    <a:pt x="202" y="7"/>
                  </a:lnTo>
                  <a:lnTo>
                    <a:pt x="208" y="0"/>
                  </a:lnTo>
                  <a:lnTo>
                    <a:pt x="218" y="12"/>
                  </a:lnTo>
                  <a:lnTo>
                    <a:pt x="229" y="23"/>
                  </a:lnTo>
                  <a:lnTo>
                    <a:pt x="234" y="36"/>
                  </a:lnTo>
                  <a:lnTo>
                    <a:pt x="238" y="58"/>
                  </a:lnTo>
                  <a:lnTo>
                    <a:pt x="242" y="80"/>
                  </a:lnTo>
                  <a:lnTo>
                    <a:pt x="257" y="94"/>
                  </a:lnTo>
                  <a:lnTo>
                    <a:pt x="248" y="103"/>
                  </a:lnTo>
                  <a:lnTo>
                    <a:pt x="238" y="110"/>
                  </a:lnTo>
                  <a:lnTo>
                    <a:pt x="232" y="132"/>
                  </a:lnTo>
                  <a:lnTo>
                    <a:pt x="231" y="158"/>
                  </a:lnTo>
                  <a:lnTo>
                    <a:pt x="228" y="171"/>
                  </a:lnTo>
                  <a:lnTo>
                    <a:pt x="212" y="200"/>
                  </a:lnTo>
                  <a:lnTo>
                    <a:pt x="208" y="221"/>
                  </a:lnTo>
                  <a:lnTo>
                    <a:pt x="200" y="222"/>
                  </a:lnTo>
                  <a:lnTo>
                    <a:pt x="197" y="241"/>
                  </a:lnTo>
                  <a:lnTo>
                    <a:pt x="196" y="262"/>
                  </a:lnTo>
                  <a:lnTo>
                    <a:pt x="184" y="264"/>
                  </a:lnTo>
                  <a:lnTo>
                    <a:pt x="179" y="272"/>
                  </a:lnTo>
                  <a:lnTo>
                    <a:pt x="184" y="276"/>
                  </a:lnTo>
                  <a:lnTo>
                    <a:pt x="200" y="291"/>
                  </a:lnTo>
                  <a:lnTo>
                    <a:pt x="206" y="302"/>
                  </a:lnTo>
                  <a:lnTo>
                    <a:pt x="212" y="314"/>
                  </a:lnTo>
                  <a:lnTo>
                    <a:pt x="222" y="320"/>
                  </a:lnTo>
                  <a:lnTo>
                    <a:pt x="225" y="333"/>
                  </a:lnTo>
                  <a:lnTo>
                    <a:pt x="213" y="333"/>
                  </a:lnTo>
                  <a:lnTo>
                    <a:pt x="202" y="333"/>
                  </a:lnTo>
                  <a:lnTo>
                    <a:pt x="195" y="340"/>
                  </a:lnTo>
                  <a:lnTo>
                    <a:pt x="187" y="349"/>
                  </a:lnTo>
                  <a:lnTo>
                    <a:pt x="170" y="349"/>
                  </a:lnTo>
                  <a:lnTo>
                    <a:pt x="163" y="352"/>
                  </a:lnTo>
                  <a:lnTo>
                    <a:pt x="158" y="349"/>
                  </a:lnTo>
                  <a:lnTo>
                    <a:pt x="147" y="350"/>
                  </a:lnTo>
                  <a:lnTo>
                    <a:pt x="145" y="353"/>
                  </a:lnTo>
                  <a:lnTo>
                    <a:pt x="135" y="343"/>
                  </a:lnTo>
                  <a:lnTo>
                    <a:pt x="123" y="331"/>
                  </a:lnTo>
                  <a:lnTo>
                    <a:pt x="118" y="336"/>
                  </a:lnTo>
                  <a:lnTo>
                    <a:pt x="107" y="337"/>
                  </a:lnTo>
                  <a:lnTo>
                    <a:pt x="96" y="330"/>
                  </a:lnTo>
                  <a:lnTo>
                    <a:pt x="91" y="325"/>
                  </a:lnTo>
                  <a:lnTo>
                    <a:pt x="88" y="320"/>
                  </a:lnTo>
                  <a:lnTo>
                    <a:pt x="80" y="308"/>
                  </a:lnTo>
                  <a:lnTo>
                    <a:pt x="74" y="299"/>
                  </a:lnTo>
                  <a:lnTo>
                    <a:pt x="59" y="285"/>
                  </a:lnTo>
                  <a:lnTo>
                    <a:pt x="57" y="277"/>
                  </a:lnTo>
                  <a:lnTo>
                    <a:pt x="42" y="267"/>
                  </a:lnTo>
                  <a:lnTo>
                    <a:pt x="39" y="262"/>
                  </a:lnTo>
                  <a:lnTo>
                    <a:pt x="27" y="259"/>
                  </a:lnTo>
                  <a:lnTo>
                    <a:pt x="30" y="243"/>
                  </a:lnTo>
                  <a:lnTo>
                    <a:pt x="25" y="231"/>
                  </a:lnTo>
                  <a:lnTo>
                    <a:pt x="17" y="219"/>
                  </a:lnTo>
                  <a:lnTo>
                    <a:pt x="16" y="209"/>
                  </a:lnTo>
                  <a:lnTo>
                    <a:pt x="13" y="200"/>
                  </a:lnTo>
                  <a:lnTo>
                    <a:pt x="6" y="187"/>
                  </a:lnTo>
                  <a:lnTo>
                    <a:pt x="0" y="186"/>
                  </a:lnTo>
                  <a:lnTo>
                    <a:pt x="6" y="171"/>
                  </a:lnTo>
                  <a:lnTo>
                    <a:pt x="7" y="164"/>
                  </a:lnTo>
                  <a:lnTo>
                    <a:pt x="10" y="160"/>
                  </a:lnTo>
                  <a:lnTo>
                    <a:pt x="10" y="153"/>
                  </a:lnTo>
                  <a:lnTo>
                    <a:pt x="17" y="139"/>
                  </a:lnTo>
                  <a:lnTo>
                    <a:pt x="23" y="134"/>
                  </a:lnTo>
                  <a:lnTo>
                    <a:pt x="33" y="134"/>
                  </a:lnTo>
                  <a:lnTo>
                    <a:pt x="32" y="116"/>
                  </a:lnTo>
                  <a:lnTo>
                    <a:pt x="32" y="100"/>
                  </a:lnTo>
                  <a:lnTo>
                    <a:pt x="32" y="83"/>
                  </a:lnTo>
                  <a:lnTo>
                    <a:pt x="30" y="6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1" name="Freeform 32">
              <a:extLst>
                <a:ext uri="{FF2B5EF4-FFF2-40B4-BE49-F238E27FC236}">
                  <a16:creationId xmlns:a16="http://schemas.microsoft.com/office/drawing/2014/main" id="{EA3F829E-C4E1-28F0-4C54-E604C59C5DA7}"/>
                </a:ext>
              </a:extLst>
            </p:cNvPr>
            <p:cNvSpPr>
              <a:spLocks/>
            </p:cNvSpPr>
            <p:nvPr/>
          </p:nvSpPr>
          <p:spPr bwMode="auto">
            <a:xfrm>
              <a:off x="5182015" y="4070120"/>
              <a:ext cx="55970" cy="75931"/>
            </a:xfrm>
            <a:custGeom>
              <a:avLst/>
              <a:gdLst>
                <a:gd name="T0" fmla="*/ 8421 w 29"/>
                <a:gd name="T1" fmla="*/ 1284491 h 37"/>
                <a:gd name="T2" fmla="*/ 8421 w 29"/>
                <a:gd name="T3" fmla="*/ 1 h 37"/>
                <a:gd name="T4" fmla="*/ 5404 w 29"/>
                <a:gd name="T5" fmla="*/ 0 h 37"/>
                <a:gd name="T6" fmla="*/ 5226 w 29"/>
                <a:gd name="T7" fmla="*/ 603041 h 37"/>
                <a:gd name="T8" fmla="*/ 2 w 29"/>
                <a:gd name="T9" fmla="*/ 603041 h 37"/>
                <a:gd name="T10" fmla="*/ 0 w 29"/>
                <a:gd name="T11" fmla="*/ 880114 h 37"/>
                <a:gd name="T12" fmla="*/ 2 w 29"/>
                <a:gd name="T13" fmla="*/ 1024323 h 37"/>
                <a:gd name="T14" fmla="*/ 1284 w 29"/>
                <a:gd name="T15" fmla="*/ 2904804 h 37"/>
                <a:gd name="T16" fmla="*/ 1871 w 29"/>
                <a:gd name="T17" fmla="*/ 4553242 h 37"/>
                <a:gd name="T18" fmla="*/ 3289 w 29"/>
                <a:gd name="T19" fmla="*/ 4553242 h 37"/>
                <a:gd name="T20" fmla="*/ 6522 w 29"/>
                <a:gd name="T21" fmla="*/ 3184293 h 37"/>
                <a:gd name="T22" fmla="*/ 10026 w 29"/>
                <a:gd name="T23" fmla="*/ 1990329 h 37"/>
                <a:gd name="T24" fmla="*/ 8421 w 29"/>
                <a:gd name="T25" fmla="*/ 1284491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7"/>
                <a:gd name="T41" fmla="*/ 29 w 29"/>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7">
                  <a:moveTo>
                    <a:pt x="25" y="10"/>
                  </a:moveTo>
                  <a:lnTo>
                    <a:pt x="25" y="1"/>
                  </a:lnTo>
                  <a:lnTo>
                    <a:pt x="16" y="0"/>
                  </a:lnTo>
                  <a:lnTo>
                    <a:pt x="15" y="5"/>
                  </a:lnTo>
                  <a:lnTo>
                    <a:pt x="2" y="5"/>
                  </a:lnTo>
                  <a:lnTo>
                    <a:pt x="0" y="7"/>
                  </a:lnTo>
                  <a:lnTo>
                    <a:pt x="2" y="8"/>
                  </a:lnTo>
                  <a:lnTo>
                    <a:pt x="4" y="23"/>
                  </a:lnTo>
                  <a:lnTo>
                    <a:pt x="6" y="37"/>
                  </a:lnTo>
                  <a:lnTo>
                    <a:pt x="10" y="37"/>
                  </a:lnTo>
                  <a:lnTo>
                    <a:pt x="19" y="26"/>
                  </a:lnTo>
                  <a:lnTo>
                    <a:pt x="29" y="16"/>
                  </a:lnTo>
                  <a:lnTo>
                    <a:pt x="25" y="1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2" name="Freeform 33">
              <a:extLst>
                <a:ext uri="{FF2B5EF4-FFF2-40B4-BE49-F238E27FC236}">
                  <a16:creationId xmlns:a16="http://schemas.microsoft.com/office/drawing/2014/main" id="{4857025F-94AD-8E8D-2464-F7E1126FB1E5}"/>
                </a:ext>
              </a:extLst>
            </p:cNvPr>
            <p:cNvSpPr>
              <a:spLocks/>
            </p:cNvSpPr>
            <p:nvPr/>
          </p:nvSpPr>
          <p:spPr bwMode="auto">
            <a:xfrm>
              <a:off x="4641499" y="3857513"/>
              <a:ext cx="225481" cy="309798"/>
            </a:xfrm>
            <a:custGeom>
              <a:avLst/>
              <a:gdLst>
                <a:gd name="T0" fmla="*/ 5209 w 118"/>
                <a:gd name="T1" fmla="*/ 7827269 h 154"/>
                <a:gd name="T2" fmla="*/ 1488 w 118"/>
                <a:gd name="T3" fmla="*/ 7931908 h 154"/>
                <a:gd name="T4" fmla="*/ 2125 w 118"/>
                <a:gd name="T5" fmla="*/ 8215488 h 154"/>
                <a:gd name="T6" fmla="*/ 2299 w 118"/>
                <a:gd name="T7" fmla="*/ 8682280 h 154"/>
                <a:gd name="T8" fmla="*/ 3034 w 118"/>
                <a:gd name="T9" fmla="*/ 9202824 h 154"/>
                <a:gd name="T10" fmla="*/ 2299 w 118"/>
                <a:gd name="T11" fmla="*/ 9368126 h 154"/>
                <a:gd name="T12" fmla="*/ 1245 w 118"/>
                <a:gd name="T13" fmla="*/ 9202824 h 154"/>
                <a:gd name="T14" fmla="*/ 0 w 118"/>
                <a:gd name="T15" fmla="*/ 9853867 h 154"/>
                <a:gd name="T16" fmla="*/ 3282 w 118"/>
                <a:gd name="T17" fmla="*/ 11232636 h 154"/>
                <a:gd name="T18" fmla="*/ 5599 w 118"/>
                <a:gd name="T19" fmla="*/ 10431170 h 154"/>
                <a:gd name="T20" fmla="*/ 7391 w 118"/>
                <a:gd name="T21" fmla="*/ 10664557 h 154"/>
                <a:gd name="T22" fmla="*/ 9552 w 118"/>
                <a:gd name="T23" fmla="*/ 10885844 h 154"/>
                <a:gd name="T24" fmla="*/ 10553 w 118"/>
                <a:gd name="T25" fmla="*/ 10431170 h 154"/>
                <a:gd name="T26" fmla="*/ 13201 w 118"/>
                <a:gd name="T27" fmla="*/ 10431170 h 154"/>
                <a:gd name="T28" fmla="*/ 13639 w 118"/>
                <a:gd name="T29" fmla="*/ 10998250 h 154"/>
                <a:gd name="T30" fmla="*/ 16317 w 118"/>
                <a:gd name="T31" fmla="*/ 10112787 h 154"/>
                <a:gd name="T32" fmla="*/ 19310 w 118"/>
                <a:gd name="T33" fmla="*/ 9255921 h 154"/>
                <a:gd name="T34" fmla="*/ 20113 w 118"/>
                <a:gd name="T35" fmla="*/ 8215488 h 154"/>
                <a:gd name="T36" fmla="*/ 20561 w 118"/>
                <a:gd name="T37" fmla="*/ 7327464 h 154"/>
                <a:gd name="T38" fmla="*/ 23270 w 118"/>
                <a:gd name="T39" fmla="*/ 6197575 h 154"/>
                <a:gd name="T40" fmla="*/ 26147 w 118"/>
                <a:gd name="T41" fmla="*/ 5178454 h 154"/>
                <a:gd name="T42" fmla="*/ 26506 w 118"/>
                <a:gd name="T43" fmla="*/ 4074465 h 154"/>
                <a:gd name="T44" fmla="*/ 27030 w 118"/>
                <a:gd name="T45" fmla="*/ 3168862 h 154"/>
                <a:gd name="T46" fmla="*/ 27806 w 118"/>
                <a:gd name="T47" fmla="*/ 2208167 h 154"/>
                <a:gd name="T48" fmla="*/ 28459 w 118"/>
                <a:gd name="T49" fmla="*/ 1203916 h 154"/>
                <a:gd name="T50" fmla="*/ 29440 w 118"/>
                <a:gd name="T51" fmla="*/ 1 h 154"/>
                <a:gd name="T52" fmla="*/ 26506 w 118"/>
                <a:gd name="T53" fmla="*/ 0 h 154"/>
                <a:gd name="T54" fmla="*/ 23270 w 118"/>
                <a:gd name="T55" fmla="*/ 0 h 154"/>
                <a:gd name="T56" fmla="*/ 21359 w 118"/>
                <a:gd name="T57" fmla="*/ 325065 h 154"/>
                <a:gd name="T58" fmla="*/ 20113 w 118"/>
                <a:gd name="T59" fmla="*/ 1727698 h 154"/>
                <a:gd name="T60" fmla="*/ 18931 w 118"/>
                <a:gd name="T61" fmla="*/ 2340292 h 154"/>
                <a:gd name="T62" fmla="*/ 15774 w 118"/>
                <a:gd name="T63" fmla="*/ 2123793 h 154"/>
                <a:gd name="T64" fmla="*/ 12610 w 118"/>
                <a:gd name="T65" fmla="*/ 1727698 h 154"/>
                <a:gd name="T66" fmla="*/ 8768 w 118"/>
                <a:gd name="T67" fmla="*/ 1727698 h 154"/>
                <a:gd name="T68" fmla="*/ 7994 w 118"/>
                <a:gd name="T69" fmla="*/ 3047780 h 154"/>
                <a:gd name="T70" fmla="*/ 12610 w 118"/>
                <a:gd name="T71" fmla="*/ 2916651 h 154"/>
                <a:gd name="T72" fmla="*/ 12689 w 118"/>
                <a:gd name="T73" fmla="*/ 3824660 h 154"/>
                <a:gd name="T74" fmla="*/ 11048 w 118"/>
                <a:gd name="T75" fmla="*/ 4547522 h 154"/>
                <a:gd name="T76" fmla="*/ 13201 w 118"/>
                <a:gd name="T77" fmla="*/ 5697307 h 154"/>
                <a:gd name="T78" fmla="*/ 11901 w 118"/>
                <a:gd name="T79" fmla="*/ 7503541 h 154"/>
                <a:gd name="T80" fmla="*/ 10553 w 118"/>
                <a:gd name="T81" fmla="*/ 7827269 h 154"/>
                <a:gd name="T82" fmla="*/ 10477 w 118"/>
                <a:gd name="T83" fmla="*/ 7503541 h 154"/>
                <a:gd name="T84" fmla="*/ 7738 w 118"/>
                <a:gd name="T85" fmla="*/ 7717440 h 154"/>
                <a:gd name="T86" fmla="*/ 5420 w 118"/>
                <a:gd name="T87" fmla="*/ 6916468 h 154"/>
                <a:gd name="T88" fmla="*/ 5209 w 118"/>
                <a:gd name="T89" fmla="*/ 7827269 h 15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8"/>
                <a:gd name="T136" fmla="*/ 0 h 154"/>
                <a:gd name="T137" fmla="*/ 118 w 118"/>
                <a:gd name="T138" fmla="*/ 154 h 15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8" h="154">
                  <a:moveTo>
                    <a:pt x="21" y="107"/>
                  </a:moveTo>
                  <a:lnTo>
                    <a:pt x="6" y="109"/>
                  </a:lnTo>
                  <a:lnTo>
                    <a:pt x="8" y="113"/>
                  </a:lnTo>
                  <a:lnTo>
                    <a:pt x="9" y="119"/>
                  </a:lnTo>
                  <a:lnTo>
                    <a:pt x="12" y="126"/>
                  </a:lnTo>
                  <a:lnTo>
                    <a:pt x="9" y="129"/>
                  </a:lnTo>
                  <a:lnTo>
                    <a:pt x="5" y="126"/>
                  </a:lnTo>
                  <a:lnTo>
                    <a:pt x="0" y="135"/>
                  </a:lnTo>
                  <a:lnTo>
                    <a:pt x="13" y="154"/>
                  </a:lnTo>
                  <a:lnTo>
                    <a:pt x="23" y="143"/>
                  </a:lnTo>
                  <a:lnTo>
                    <a:pt x="29" y="146"/>
                  </a:lnTo>
                  <a:lnTo>
                    <a:pt x="38" y="149"/>
                  </a:lnTo>
                  <a:lnTo>
                    <a:pt x="42" y="143"/>
                  </a:lnTo>
                  <a:lnTo>
                    <a:pt x="53" y="143"/>
                  </a:lnTo>
                  <a:lnTo>
                    <a:pt x="54" y="151"/>
                  </a:lnTo>
                  <a:lnTo>
                    <a:pt x="66" y="139"/>
                  </a:lnTo>
                  <a:lnTo>
                    <a:pt x="77" y="127"/>
                  </a:lnTo>
                  <a:lnTo>
                    <a:pt x="80" y="113"/>
                  </a:lnTo>
                  <a:lnTo>
                    <a:pt x="82" y="100"/>
                  </a:lnTo>
                  <a:lnTo>
                    <a:pt x="93" y="85"/>
                  </a:lnTo>
                  <a:lnTo>
                    <a:pt x="105" y="71"/>
                  </a:lnTo>
                  <a:lnTo>
                    <a:pt x="106" y="56"/>
                  </a:lnTo>
                  <a:lnTo>
                    <a:pt x="109" y="43"/>
                  </a:lnTo>
                  <a:lnTo>
                    <a:pt x="111" y="30"/>
                  </a:lnTo>
                  <a:lnTo>
                    <a:pt x="114" y="17"/>
                  </a:lnTo>
                  <a:lnTo>
                    <a:pt x="118" y="1"/>
                  </a:lnTo>
                  <a:lnTo>
                    <a:pt x="106" y="0"/>
                  </a:lnTo>
                  <a:lnTo>
                    <a:pt x="93" y="0"/>
                  </a:lnTo>
                  <a:lnTo>
                    <a:pt x="85" y="4"/>
                  </a:lnTo>
                  <a:lnTo>
                    <a:pt x="80" y="24"/>
                  </a:lnTo>
                  <a:lnTo>
                    <a:pt x="76" y="32"/>
                  </a:lnTo>
                  <a:lnTo>
                    <a:pt x="63" y="29"/>
                  </a:lnTo>
                  <a:lnTo>
                    <a:pt x="50" y="24"/>
                  </a:lnTo>
                  <a:lnTo>
                    <a:pt x="34" y="24"/>
                  </a:lnTo>
                  <a:lnTo>
                    <a:pt x="32" y="42"/>
                  </a:lnTo>
                  <a:lnTo>
                    <a:pt x="50" y="40"/>
                  </a:lnTo>
                  <a:lnTo>
                    <a:pt x="51" y="52"/>
                  </a:lnTo>
                  <a:lnTo>
                    <a:pt x="44" y="62"/>
                  </a:lnTo>
                  <a:lnTo>
                    <a:pt x="53" y="78"/>
                  </a:lnTo>
                  <a:lnTo>
                    <a:pt x="48" y="103"/>
                  </a:lnTo>
                  <a:lnTo>
                    <a:pt x="42" y="107"/>
                  </a:lnTo>
                  <a:lnTo>
                    <a:pt x="41" y="103"/>
                  </a:lnTo>
                  <a:lnTo>
                    <a:pt x="31" y="106"/>
                  </a:lnTo>
                  <a:lnTo>
                    <a:pt x="22" y="95"/>
                  </a:lnTo>
                  <a:lnTo>
                    <a:pt x="21" y="10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3" name="Freeform 34">
              <a:extLst>
                <a:ext uri="{FF2B5EF4-FFF2-40B4-BE49-F238E27FC236}">
                  <a16:creationId xmlns:a16="http://schemas.microsoft.com/office/drawing/2014/main" id="{D6743EF4-E300-6DEC-10D0-B68131ED89CF}"/>
                </a:ext>
              </a:extLst>
            </p:cNvPr>
            <p:cNvSpPr>
              <a:spLocks/>
            </p:cNvSpPr>
            <p:nvPr/>
          </p:nvSpPr>
          <p:spPr bwMode="auto">
            <a:xfrm>
              <a:off x="5333934" y="3819548"/>
              <a:ext cx="236675" cy="337134"/>
            </a:xfrm>
            <a:custGeom>
              <a:avLst/>
              <a:gdLst>
                <a:gd name="T0" fmla="*/ 13906 w 124"/>
                <a:gd name="T1" fmla="*/ 11790394 h 167"/>
                <a:gd name="T2" fmla="*/ 10347 w 124"/>
                <a:gd name="T3" fmla="*/ 11114544 h 167"/>
                <a:gd name="T4" fmla="*/ 7179 w 124"/>
                <a:gd name="T5" fmla="*/ 10345249 h 167"/>
                <a:gd name="T6" fmla="*/ 3538 w 124"/>
                <a:gd name="T7" fmla="*/ 9520810 h 167"/>
                <a:gd name="T8" fmla="*/ 0 w 124"/>
                <a:gd name="T9" fmla="*/ 8667993 h 167"/>
                <a:gd name="T10" fmla="*/ 0 w 124"/>
                <a:gd name="T11" fmla="*/ 7045605 h 167"/>
                <a:gd name="T12" fmla="*/ 2483 w 124"/>
                <a:gd name="T13" fmla="*/ 5336920 h 167"/>
                <a:gd name="T14" fmla="*/ 4223 w 124"/>
                <a:gd name="T15" fmla="*/ 4248504 h 167"/>
                <a:gd name="T16" fmla="*/ 2638 w 124"/>
                <a:gd name="T17" fmla="*/ 3078950 h 167"/>
                <a:gd name="T18" fmla="*/ 1743 w 124"/>
                <a:gd name="T19" fmla="*/ 1775780 h 167"/>
                <a:gd name="T20" fmla="*/ 0 w 124"/>
                <a:gd name="T21" fmla="*/ 585351 h 167"/>
                <a:gd name="T22" fmla="*/ 1743 w 124"/>
                <a:gd name="T23" fmla="*/ 0 h 167"/>
                <a:gd name="T24" fmla="*/ 4271 w 124"/>
                <a:gd name="T25" fmla="*/ 0 h 167"/>
                <a:gd name="T26" fmla="*/ 7263 w 124"/>
                <a:gd name="T27" fmla="*/ 0 h 167"/>
                <a:gd name="T28" fmla="*/ 10864 w 124"/>
                <a:gd name="T29" fmla="*/ 259545 h 167"/>
                <a:gd name="T30" fmla="*/ 15238 w 124"/>
                <a:gd name="T31" fmla="*/ 1384893 h 167"/>
                <a:gd name="T32" fmla="*/ 20426 w 124"/>
                <a:gd name="T33" fmla="*/ 1759212 h 167"/>
                <a:gd name="T34" fmla="*/ 22465 w 124"/>
                <a:gd name="T35" fmla="*/ 1125681 h 167"/>
                <a:gd name="T36" fmla="*/ 26343 w 124"/>
                <a:gd name="T37" fmla="*/ 720063 h 167"/>
                <a:gd name="T38" fmla="*/ 29913 w 124"/>
                <a:gd name="T39" fmla="*/ 959656 h 167"/>
                <a:gd name="T40" fmla="*/ 28688 w 124"/>
                <a:gd name="T41" fmla="*/ 1775780 h 167"/>
                <a:gd name="T42" fmla="*/ 26813 w 124"/>
                <a:gd name="T43" fmla="*/ 2748507 h 167"/>
                <a:gd name="T44" fmla="*/ 26813 w 124"/>
                <a:gd name="T45" fmla="*/ 4162151 h 167"/>
                <a:gd name="T46" fmla="*/ 26813 w 124"/>
                <a:gd name="T47" fmla="*/ 5661444 h 167"/>
                <a:gd name="T48" fmla="*/ 26813 w 124"/>
                <a:gd name="T49" fmla="*/ 7045605 h 167"/>
                <a:gd name="T50" fmla="*/ 26813 w 124"/>
                <a:gd name="T51" fmla="*/ 8452952 h 167"/>
                <a:gd name="T52" fmla="*/ 28847 w 124"/>
                <a:gd name="T53" fmla="*/ 9793183 h 167"/>
                <a:gd name="T54" fmla="*/ 26813 w 124"/>
                <a:gd name="T55" fmla="*/ 10167607 h 167"/>
                <a:gd name="T56" fmla="*/ 25062 w 124"/>
                <a:gd name="T57" fmla="*/ 11114544 h 167"/>
                <a:gd name="T58" fmla="*/ 23643 w 124"/>
                <a:gd name="T59" fmla="*/ 11729789 h 167"/>
                <a:gd name="T60" fmla="*/ 22048 w 124"/>
                <a:gd name="T61" fmla="*/ 13139598 h 167"/>
                <a:gd name="T62" fmla="*/ 20138 w 124"/>
                <a:gd name="T63" fmla="*/ 14271888 h 167"/>
                <a:gd name="T64" fmla="*/ 19809 w 124"/>
                <a:gd name="T65" fmla="*/ 14483067 h 167"/>
                <a:gd name="T66" fmla="*/ 17114 w 124"/>
                <a:gd name="T67" fmla="*/ 13444868 h 167"/>
                <a:gd name="T68" fmla="*/ 14136 w 124"/>
                <a:gd name="T69" fmla="*/ 12326156 h 167"/>
                <a:gd name="T70" fmla="*/ 13906 w 124"/>
                <a:gd name="T71" fmla="*/ 11790394 h 16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4"/>
                <a:gd name="T109" fmla="*/ 0 h 167"/>
                <a:gd name="T110" fmla="*/ 124 w 124"/>
                <a:gd name="T111" fmla="*/ 167 h 16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4" h="167">
                  <a:moveTo>
                    <a:pt x="58" y="136"/>
                  </a:moveTo>
                  <a:lnTo>
                    <a:pt x="43" y="128"/>
                  </a:lnTo>
                  <a:lnTo>
                    <a:pt x="29" y="119"/>
                  </a:lnTo>
                  <a:lnTo>
                    <a:pt x="14" y="110"/>
                  </a:lnTo>
                  <a:lnTo>
                    <a:pt x="0" y="100"/>
                  </a:lnTo>
                  <a:lnTo>
                    <a:pt x="0" y="81"/>
                  </a:lnTo>
                  <a:lnTo>
                    <a:pt x="10" y="62"/>
                  </a:lnTo>
                  <a:lnTo>
                    <a:pt x="17" y="49"/>
                  </a:lnTo>
                  <a:lnTo>
                    <a:pt x="11" y="35"/>
                  </a:lnTo>
                  <a:lnTo>
                    <a:pt x="7" y="21"/>
                  </a:lnTo>
                  <a:lnTo>
                    <a:pt x="0" y="7"/>
                  </a:lnTo>
                  <a:lnTo>
                    <a:pt x="7" y="0"/>
                  </a:lnTo>
                  <a:lnTo>
                    <a:pt x="18" y="0"/>
                  </a:lnTo>
                  <a:lnTo>
                    <a:pt x="30" y="0"/>
                  </a:lnTo>
                  <a:lnTo>
                    <a:pt x="45" y="3"/>
                  </a:lnTo>
                  <a:lnTo>
                    <a:pt x="63" y="16"/>
                  </a:lnTo>
                  <a:lnTo>
                    <a:pt x="85" y="20"/>
                  </a:lnTo>
                  <a:lnTo>
                    <a:pt x="93" y="13"/>
                  </a:lnTo>
                  <a:lnTo>
                    <a:pt x="110" y="8"/>
                  </a:lnTo>
                  <a:lnTo>
                    <a:pt x="124" y="11"/>
                  </a:lnTo>
                  <a:lnTo>
                    <a:pt x="119" y="21"/>
                  </a:lnTo>
                  <a:lnTo>
                    <a:pt x="111" y="32"/>
                  </a:lnTo>
                  <a:lnTo>
                    <a:pt x="111" y="48"/>
                  </a:lnTo>
                  <a:lnTo>
                    <a:pt x="111" y="65"/>
                  </a:lnTo>
                  <a:lnTo>
                    <a:pt x="111" y="81"/>
                  </a:lnTo>
                  <a:lnTo>
                    <a:pt x="111" y="98"/>
                  </a:lnTo>
                  <a:lnTo>
                    <a:pt x="120" y="113"/>
                  </a:lnTo>
                  <a:lnTo>
                    <a:pt x="111" y="117"/>
                  </a:lnTo>
                  <a:lnTo>
                    <a:pt x="104" y="128"/>
                  </a:lnTo>
                  <a:lnTo>
                    <a:pt x="98" y="135"/>
                  </a:lnTo>
                  <a:lnTo>
                    <a:pt x="91" y="151"/>
                  </a:lnTo>
                  <a:lnTo>
                    <a:pt x="84" y="165"/>
                  </a:lnTo>
                  <a:lnTo>
                    <a:pt x="82" y="167"/>
                  </a:lnTo>
                  <a:lnTo>
                    <a:pt x="71" y="155"/>
                  </a:lnTo>
                  <a:lnTo>
                    <a:pt x="59" y="142"/>
                  </a:lnTo>
                  <a:lnTo>
                    <a:pt x="58" y="13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4" name="Freeform 35">
              <a:extLst>
                <a:ext uri="{FF2B5EF4-FFF2-40B4-BE49-F238E27FC236}">
                  <a16:creationId xmlns:a16="http://schemas.microsoft.com/office/drawing/2014/main" id="{BBA2D80B-7F81-8FE8-983F-F626E944B1BE}"/>
                </a:ext>
              </a:extLst>
            </p:cNvPr>
            <p:cNvSpPr>
              <a:spLocks/>
            </p:cNvSpPr>
            <p:nvPr/>
          </p:nvSpPr>
          <p:spPr bwMode="auto">
            <a:xfrm>
              <a:off x="4385633" y="3490008"/>
              <a:ext cx="359811" cy="337134"/>
            </a:xfrm>
            <a:custGeom>
              <a:avLst/>
              <a:gdLst>
                <a:gd name="T0" fmla="*/ 38045 w 187"/>
                <a:gd name="T1" fmla="*/ 8656611 h 168"/>
                <a:gd name="T2" fmla="*/ 34263 w 187"/>
                <a:gd name="T3" fmla="*/ 8934111 h 168"/>
                <a:gd name="T4" fmla="*/ 32016 w 187"/>
                <a:gd name="T5" fmla="*/ 9744611 h 168"/>
                <a:gd name="T6" fmla="*/ 30251 w 187"/>
                <a:gd name="T7" fmla="*/ 10434920 h 168"/>
                <a:gd name="T8" fmla="*/ 28877 w 187"/>
                <a:gd name="T9" fmla="*/ 11599501 h 168"/>
                <a:gd name="T10" fmla="*/ 27077 w 187"/>
                <a:gd name="T11" fmla="*/ 11450844 h 168"/>
                <a:gd name="T12" fmla="*/ 27077 w 187"/>
                <a:gd name="T13" fmla="*/ 11918378 h 168"/>
                <a:gd name="T14" fmla="*/ 22504 w 187"/>
                <a:gd name="T15" fmla="*/ 11918378 h 168"/>
                <a:gd name="T16" fmla="*/ 21244 w 187"/>
                <a:gd name="T17" fmla="*/ 11798217 h 168"/>
                <a:gd name="T18" fmla="*/ 20339 w 187"/>
                <a:gd name="T19" fmla="*/ 11798217 h 168"/>
                <a:gd name="T20" fmla="*/ 20112 w 187"/>
                <a:gd name="T21" fmla="*/ 12036781 h 168"/>
                <a:gd name="T22" fmla="*/ 19947 w 187"/>
                <a:gd name="T23" fmla="*/ 11599501 h 168"/>
                <a:gd name="T24" fmla="*/ 19114 w 187"/>
                <a:gd name="T25" fmla="*/ 12121005 h 168"/>
                <a:gd name="T26" fmla="*/ 19114 w 187"/>
                <a:gd name="T27" fmla="*/ 11918378 h 168"/>
                <a:gd name="T28" fmla="*/ 18864 w 187"/>
                <a:gd name="T29" fmla="*/ 12036781 h 168"/>
                <a:gd name="T30" fmla="*/ 16904 w 187"/>
                <a:gd name="T31" fmla="*/ 12036781 h 168"/>
                <a:gd name="T32" fmla="*/ 15087 w 187"/>
                <a:gd name="T33" fmla="*/ 12121005 h 168"/>
                <a:gd name="T34" fmla="*/ 13030 w 187"/>
                <a:gd name="T35" fmla="*/ 10895661 h 168"/>
                <a:gd name="T36" fmla="*/ 13405 w 187"/>
                <a:gd name="T37" fmla="*/ 10740801 h 168"/>
                <a:gd name="T38" fmla="*/ 12463 w 187"/>
                <a:gd name="T39" fmla="*/ 10509200 h 168"/>
                <a:gd name="T40" fmla="*/ 13030 w 187"/>
                <a:gd name="T41" fmla="*/ 10509200 h 168"/>
                <a:gd name="T42" fmla="*/ 11546 w 187"/>
                <a:gd name="T43" fmla="*/ 10249327 h 168"/>
                <a:gd name="T44" fmla="*/ 6217 w 187"/>
                <a:gd name="T45" fmla="*/ 9500472 h 168"/>
                <a:gd name="T46" fmla="*/ 3434 w 187"/>
                <a:gd name="T47" fmla="*/ 9346834 h 168"/>
                <a:gd name="T48" fmla="*/ 4294 w 187"/>
                <a:gd name="T49" fmla="*/ 9141503 h 168"/>
                <a:gd name="T50" fmla="*/ 0 w 187"/>
                <a:gd name="T51" fmla="*/ 9500472 h 168"/>
                <a:gd name="T52" fmla="*/ 1 w 187"/>
                <a:gd name="T53" fmla="*/ 7764521 h 168"/>
                <a:gd name="T54" fmla="*/ 1 w 187"/>
                <a:gd name="T55" fmla="*/ 6115330 h 168"/>
                <a:gd name="T56" fmla="*/ 4294 w 187"/>
                <a:gd name="T57" fmla="*/ 4513393 h 168"/>
                <a:gd name="T58" fmla="*/ 4294 w 187"/>
                <a:gd name="T59" fmla="*/ 3368939 h 168"/>
                <a:gd name="T60" fmla="*/ 4132 w 187"/>
                <a:gd name="T61" fmla="*/ 2652885 h 168"/>
                <a:gd name="T62" fmla="*/ 4132 w 187"/>
                <a:gd name="T63" fmla="*/ 2185430 h 168"/>
                <a:gd name="T64" fmla="*/ 5509 w 187"/>
                <a:gd name="T65" fmla="*/ 1289148 h 168"/>
                <a:gd name="T66" fmla="*/ 6395 w 187"/>
                <a:gd name="T67" fmla="*/ 322954 h 168"/>
                <a:gd name="T68" fmla="*/ 11141 w 187"/>
                <a:gd name="T69" fmla="*/ 0 h 168"/>
                <a:gd name="T70" fmla="*/ 16129 w 187"/>
                <a:gd name="T71" fmla="*/ 1 h 168"/>
                <a:gd name="T72" fmla="*/ 19947 w 187"/>
                <a:gd name="T73" fmla="*/ 795541 h 168"/>
                <a:gd name="T74" fmla="*/ 24472 w 187"/>
                <a:gd name="T75" fmla="*/ 491639 h 168"/>
                <a:gd name="T76" fmla="*/ 28096 w 187"/>
                <a:gd name="T77" fmla="*/ 795541 h 168"/>
                <a:gd name="T78" fmla="*/ 31791 w 187"/>
                <a:gd name="T79" fmla="*/ 1181894 h 168"/>
                <a:gd name="T80" fmla="*/ 37005 w 187"/>
                <a:gd name="T81" fmla="*/ 554568 h 168"/>
                <a:gd name="T82" fmla="*/ 42152 w 187"/>
                <a:gd name="T83" fmla="*/ 705268 h 168"/>
                <a:gd name="T84" fmla="*/ 47165 w 187"/>
                <a:gd name="T85" fmla="*/ 795541 h 168"/>
                <a:gd name="T86" fmla="*/ 52693 w 187"/>
                <a:gd name="T87" fmla="*/ 1 h 168"/>
                <a:gd name="T88" fmla="*/ 54744 w 187"/>
                <a:gd name="T89" fmla="*/ 795541 h 168"/>
                <a:gd name="T90" fmla="*/ 55769 w 187"/>
                <a:gd name="T91" fmla="*/ 1695455 h 168"/>
                <a:gd name="T92" fmla="*/ 57904 w 187"/>
                <a:gd name="T93" fmla="*/ 2193248 h 168"/>
                <a:gd name="T94" fmla="*/ 56749 w 187"/>
                <a:gd name="T95" fmla="*/ 2986657 h 168"/>
                <a:gd name="T96" fmla="*/ 53309 w 187"/>
                <a:gd name="T97" fmla="*/ 3773108 h 168"/>
                <a:gd name="T98" fmla="*/ 51707 w 187"/>
                <a:gd name="T99" fmla="*/ 4666620 h 168"/>
                <a:gd name="T100" fmla="*/ 49603 w 187"/>
                <a:gd name="T101" fmla="*/ 5636688 h 168"/>
                <a:gd name="T102" fmla="*/ 47962 w 187"/>
                <a:gd name="T103" fmla="*/ 6694378 h 168"/>
                <a:gd name="T104" fmla="*/ 46024 w 187"/>
                <a:gd name="T105" fmla="*/ 7274138 h 168"/>
                <a:gd name="T106" fmla="*/ 44306 w 187"/>
                <a:gd name="T107" fmla="*/ 8449500 h 168"/>
                <a:gd name="T108" fmla="*/ 41207 w 187"/>
                <a:gd name="T109" fmla="*/ 9500472 h 168"/>
                <a:gd name="T110" fmla="*/ 38045 w 187"/>
                <a:gd name="T111" fmla="*/ 8656611 h 1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7"/>
                <a:gd name="T169" fmla="*/ 0 h 168"/>
                <a:gd name="T170" fmla="*/ 187 w 187"/>
                <a:gd name="T171" fmla="*/ 168 h 1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7" h="168">
                  <a:moveTo>
                    <a:pt x="123" y="120"/>
                  </a:moveTo>
                  <a:lnTo>
                    <a:pt x="111" y="124"/>
                  </a:lnTo>
                  <a:lnTo>
                    <a:pt x="104" y="135"/>
                  </a:lnTo>
                  <a:lnTo>
                    <a:pt x="97" y="145"/>
                  </a:lnTo>
                  <a:lnTo>
                    <a:pt x="93" y="161"/>
                  </a:lnTo>
                  <a:lnTo>
                    <a:pt x="87" y="159"/>
                  </a:lnTo>
                  <a:lnTo>
                    <a:pt x="87" y="165"/>
                  </a:lnTo>
                  <a:lnTo>
                    <a:pt x="72" y="165"/>
                  </a:lnTo>
                  <a:lnTo>
                    <a:pt x="69" y="164"/>
                  </a:lnTo>
                  <a:lnTo>
                    <a:pt x="66" y="164"/>
                  </a:lnTo>
                  <a:lnTo>
                    <a:pt x="65" y="167"/>
                  </a:lnTo>
                  <a:lnTo>
                    <a:pt x="64" y="161"/>
                  </a:lnTo>
                  <a:lnTo>
                    <a:pt x="62" y="168"/>
                  </a:lnTo>
                  <a:lnTo>
                    <a:pt x="62" y="165"/>
                  </a:lnTo>
                  <a:lnTo>
                    <a:pt x="61" y="167"/>
                  </a:lnTo>
                  <a:lnTo>
                    <a:pt x="55" y="167"/>
                  </a:lnTo>
                  <a:lnTo>
                    <a:pt x="49" y="168"/>
                  </a:lnTo>
                  <a:lnTo>
                    <a:pt x="42" y="151"/>
                  </a:lnTo>
                  <a:lnTo>
                    <a:pt x="43" y="149"/>
                  </a:lnTo>
                  <a:lnTo>
                    <a:pt x="40" y="146"/>
                  </a:lnTo>
                  <a:lnTo>
                    <a:pt x="42" y="146"/>
                  </a:lnTo>
                  <a:lnTo>
                    <a:pt x="37" y="142"/>
                  </a:lnTo>
                  <a:lnTo>
                    <a:pt x="20" y="132"/>
                  </a:lnTo>
                  <a:lnTo>
                    <a:pt x="11" y="130"/>
                  </a:lnTo>
                  <a:lnTo>
                    <a:pt x="14" y="127"/>
                  </a:lnTo>
                  <a:lnTo>
                    <a:pt x="0" y="132"/>
                  </a:lnTo>
                  <a:lnTo>
                    <a:pt x="1" y="108"/>
                  </a:lnTo>
                  <a:lnTo>
                    <a:pt x="1" y="84"/>
                  </a:lnTo>
                  <a:lnTo>
                    <a:pt x="14" y="63"/>
                  </a:lnTo>
                  <a:lnTo>
                    <a:pt x="14" y="47"/>
                  </a:lnTo>
                  <a:lnTo>
                    <a:pt x="13" y="37"/>
                  </a:lnTo>
                  <a:lnTo>
                    <a:pt x="13" y="30"/>
                  </a:lnTo>
                  <a:lnTo>
                    <a:pt x="18" y="18"/>
                  </a:lnTo>
                  <a:lnTo>
                    <a:pt x="21" y="4"/>
                  </a:lnTo>
                  <a:lnTo>
                    <a:pt x="36" y="0"/>
                  </a:lnTo>
                  <a:lnTo>
                    <a:pt x="52" y="1"/>
                  </a:lnTo>
                  <a:lnTo>
                    <a:pt x="64" y="11"/>
                  </a:lnTo>
                  <a:lnTo>
                    <a:pt x="79" y="7"/>
                  </a:lnTo>
                  <a:lnTo>
                    <a:pt x="91" y="11"/>
                  </a:lnTo>
                  <a:lnTo>
                    <a:pt x="103" y="17"/>
                  </a:lnTo>
                  <a:lnTo>
                    <a:pt x="120" y="8"/>
                  </a:lnTo>
                  <a:lnTo>
                    <a:pt x="136" y="10"/>
                  </a:lnTo>
                  <a:lnTo>
                    <a:pt x="152" y="11"/>
                  </a:lnTo>
                  <a:lnTo>
                    <a:pt x="170" y="1"/>
                  </a:lnTo>
                  <a:lnTo>
                    <a:pt x="177" y="11"/>
                  </a:lnTo>
                  <a:lnTo>
                    <a:pt x="180" y="24"/>
                  </a:lnTo>
                  <a:lnTo>
                    <a:pt x="187" y="31"/>
                  </a:lnTo>
                  <a:lnTo>
                    <a:pt x="183" y="42"/>
                  </a:lnTo>
                  <a:lnTo>
                    <a:pt x="172" y="52"/>
                  </a:lnTo>
                  <a:lnTo>
                    <a:pt x="167" y="65"/>
                  </a:lnTo>
                  <a:lnTo>
                    <a:pt x="161" y="78"/>
                  </a:lnTo>
                  <a:lnTo>
                    <a:pt x="155" y="93"/>
                  </a:lnTo>
                  <a:lnTo>
                    <a:pt x="149" y="101"/>
                  </a:lnTo>
                  <a:lnTo>
                    <a:pt x="143" y="117"/>
                  </a:lnTo>
                  <a:lnTo>
                    <a:pt x="133" y="132"/>
                  </a:lnTo>
                  <a:lnTo>
                    <a:pt x="123" y="12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5" name="Freeform 36">
              <a:extLst>
                <a:ext uri="{FF2B5EF4-FFF2-40B4-BE49-F238E27FC236}">
                  <a16:creationId xmlns:a16="http://schemas.microsoft.com/office/drawing/2014/main" id="{B54E5F72-6516-DDC7-4497-A667125B4228}"/>
                </a:ext>
              </a:extLst>
            </p:cNvPr>
            <p:cNvSpPr>
              <a:spLocks/>
            </p:cNvSpPr>
            <p:nvPr/>
          </p:nvSpPr>
          <p:spPr bwMode="auto">
            <a:xfrm>
              <a:off x="4326464" y="3538604"/>
              <a:ext cx="84756" cy="223237"/>
            </a:xfrm>
            <a:custGeom>
              <a:avLst/>
              <a:gdLst>
                <a:gd name="T0" fmla="*/ 2 w 45"/>
                <a:gd name="T1" fmla="*/ 1738130 h 111"/>
                <a:gd name="T2" fmla="*/ 0 w 45"/>
                <a:gd name="T3" fmla="*/ 2229140 h 111"/>
                <a:gd name="T4" fmla="*/ 1453 w 45"/>
                <a:gd name="T5" fmla="*/ 2878860 h 111"/>
                <a:gd name="T6" fmla="*/ 1616 w 45"/>
                <a:gd name="T7" fmla="*/ 3940135 h 111"/>
                <a:gd name="T8" fmla="*/ 1903 w 45"/>
                <a:gd name="T9" fmla="*/ 4812013 h 111"/>
                <a:gd name="T10" fmla="*/ 1903 w 45"/>
                <a:gd name="T11" fmla="*/ 5757172 h 111"/>
                <a:gd name="T12" fmla="*/ 1903 w 45"/>
                <a:gd name="T13" fmla="*/ 6764783 h 111"/>
                <a:gd name="T14" fmla="*/ 2015 w 45"/>
                <a:gd name="T15" fmla="*/ 7659469 h 111"/>
                <a:gd name="T16" fmla="*/ 5079 w 45"/>
                <a:gd name="T17" fmla="*/ 7456791 h 111"/>
                <a:gd name="T18" fmla="*/ 5108 w 45"/>
                <a:gd name="T19" fmla="*/ 5757172 h 111"/>
                <a:gd name="T20" fmla="*/ 5108 w 45"/>
                <a:gd name="T21" fmla="*/ 4123773 h 111"/>
                <a:gd name="T22" fmla="*/ 7086 w 45"/>
                <a:gd name="T23" fmla="*/ 2694745 h 111"/>
                <a:gd name="T24" fmla="*/ 7086 w 45"/>
                <a:gd name="T25" fmla="*/ 1581838 h 111"/>
                <a:gd name="T26" fmla="*/ 7045 w 45"/>
                <a:gd name="T27" fmla="*/ 916843 h 111"/>
                <a:gd name="T28" fmla="*/ 4566 w 45"/>
                <a:gd name="T29" fmla="*/ 0 h 111"/>
                <a:gd name="T30" fmla="*/ 3877 w 45"/>
                <a:gd name="T31" fmla="*/ 446834 h 111"/>
                <a:gd name="T32" fmla="*/ 3877 w 45"/>
                <a:gd name="T33" fmla="*/ 640060 h 111"/>
                <a:gd name="T34" fmla="*/ 3877 w 45"/>
                <a:gd name="T35" fmla="*/ 683792 h 111"/>
                <a:gd name="T36" fmla="*/ 2015 w 45"/>
                <a:gd name="T37" fmla="*/ 1240757 h 111"/>
                <a:gd name="T38" fmla="*/ 2 w 45"/>
                <a:gd name="T39" fmla="*/ 173813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
                <a:gd name="T61" fmla="*/ 0 h 111"/>
                <a:gd name="T62" fmla="*/ 45 w 45"/>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 h="111">
                  <a:moveTo>
                    <a:pt x="2" y="25"/>
                  </a:moveTo>
                  <a:lnTo>
                    <a:pt x="0" y="32"/>
                  </a:lnTo>
                  <a:lnTo>
                    <a:pt x="9" y="42"/>
                  </a:lnTo>
                  <a:lnTo>
                    <a:pt x="10" y="57"/>
                  </a:lnTo>
                  <a:lnTo>
                    <a:pt x="12" y="70"/>
                  </a:lnTo>
                  <a:lnTo>
                    <a:pt x="12" y="84"/>
                  </a:lnTo>
                  <a:lnTo>
                    <a:pt x="12" y="98"/>
                  </a:lnTo>
                  <a:lnTo>
                    <a:pt x="13" y="111"/>
                  </a:lnTo>
                  <a:lnTo>
                    <a:pt x="31" y="108"/>
                  </a:lnTo>
                  <a:lnTo>
                    <a:pt x="32" y="84"/>
                  </a:lnTo>
                  <a:lnTo>
                    <a:pt x="32" y="60"/>
                  </a:lnTo>
                  <a:lnTo>
                    <a:pt x="45" y="39"/>
                  </a:lnTo>
                  <a:lnTo>
                    <a:pt x="45" y="23"/>
                  </a:lnTo>
                  <a:lnTo>
                    <a:pt x="44" y="13"/>
                  </a:lnTo>
                  <a:lnTo>
                    <a:pt x="29" y="0"/>
                  </a:lnTo>
                  <a:lnTo>
                    <a:pt x="25" y="6"/>
                  </a:lnTo>
                  <a:lnTo>
                    <a:pt x="25" y="9"/>
                  </a:lnTo>
                  <a:lnTo>
                    <a:pt x="25" y="10"/>
                  </a:lnTo>
                  <a:lnTo>
                    <a:pt x="13" y="18"/>
                  </a:lnTo>
                  <a:lnTo>
                    <a:pt x="2" y="2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6" name="Freeform 37">
              <a:extLst>
                <a:ext uri="{FF2B5EF4-FFF2-40B4-BE49-F238E27FC236}">
                  <a16:creationId xmlns:a16="http://schemas.microsoft.com/office/drawing/2014/main" id="{AA274826-EC51-D692-F9BA-B3C5CCFD583F}"/>
                </a:ext>
              </a:extLst>
            </p:cNvPr>
            <p:cNvSpPr>
              <a:spLocks/>
            </p:cNvSpPr>
            <p:nvPr/>
          </p:nvSpPr>
          <p:spPr bwMode="auto">
            <a:xfrm>
              <a:off x="4134565" y="3441412"/>
              <a:ext cx="239874" cy="203494"/>
            </a:xfrm>
            <a:custGeom>
              <a:avLst/>
              <a:gdLst>
                <a:gd name="T0" fmla="*/ 28751 w 125"/>
                <a:gd name="T1" fmla="*/ 5423832 h 101"/>
                <a:gd name="T2" fmla="*/ 27534 w 125"/>
                <a:gd name="T3" fmla="*/ 5423832 h 101"/>
                <a:gd name="T4" fmla="*/ 23950 w 125"/>
                <a:gd name="T5" fmla="*/ 5165273 h 101"/>
                <a:gd name="T6" fmla="*/ 22810 w 125"/>
                <a:gd name="T7" fmla="*/ 5230558 h 101"/>
                <a:gd name="T8" fmla="*/ 17308 w 125"/>
                <a:gd name="T9" fmla="*/ 5423832 h 101"/>
                <a:gd name="T10" fmla="*/ 11864 w 125"/>
                <a:gd name="T11" fmla="*/ 5423832 h 101"/>
                <a:gd name="T12" fmla="*/ 12253 w 125"/>
                <a:gd name="T13" fmla="*/ 6424001 h 101"/>
                <a:gd name="T14" fmla="*/ 12960 w 125"/>
                <a:gd name="T15" fmla="*/ 7458548 h 101"/>
                <a:gd name="T16" fmla="*/ 8509 w 125"/>
                <a:gd name="T17" fmla="*/ 6814461 h 101"/>
                <a:gd name="T18" fmla="*/ 4643 w 125"/>
                <a:gd name="T19" fmla="*/ 7093688 h 101"/>
                <a:gd name="T20" fmla="*/ 1916 w 125"/>
                <a:gd name="T21" fmla="*/ 6341853 h 101"/>
                <a:gd name="T22" fmla="*/ 0 w 125"/>
                <a:gd name="T23" fmla="*/ 6118306 h 101"/>
                <a:gd name="T24" fmla="*/ 1109 w 125"/>
                <a:gd name="T25" fmla="*/ 4417429 h 101"/>
                <a:gd name="T26" fmla="*/ 2687 w 125"/>
                <a:gd name="T27" fmla="*/ 4058493 h 101"/>
                <a:gd name="T28" fmla="*/ 4768 w 125"/>
                <a:gd name="T29" fmla="*/ 3441746 h 101"/>
                <a:gd name="T30" fmla="*/ 5722 w 125"/>
                <a:gd name="T31" fmla="*/ 2943864 h 101"/>
                <a:gd name="T32" fmla="*/ 6686 w 125"/>
                <a:gd name="T33" fmla="*/ 2329754 h 101"/>
                <a:gd name="T34" fmla="*/ 9625 w 125"/>
                <a:gd name="T35" fmla="*/ 2506110 h 101"/>
                <a:gd name="T36" fmla="*/ 10211 w 125"/>
                <a:gd name="T37" fmla="*/ 2050554 h 101"/>
                <a:gd name="T38" fmla="*/ 11000 w 125"/>
                <a:gd name="T39" fmla="*/ 1879278 h 101"/>
                <a:gd name="T40" fmla="*/ 12960 w 125"/>
                <a:gd name="T41" fmla="*/ 1163158 h 101"/>
                <a:gd name="T42" fmla="*/ 15552 w 125"/>
                <a:gd name="T43" fmla="*/ 1163158 h 101"/>
                <a:gd name="T44" fmla="*/ 15840 w 125"/>
                <a:gd name="T45" fmla="*/ 724331 h 101"/>
                <a:gd name="T46" fmla="*/ 21434 w 125"/>
                <a:gd name="T47" fmla="*/ 0 h 101"/>
                <a:gd name="T48" fmla="*/ 25856 w 125"/>
                <a:gd name="T49" fmla="*/ 158894 h 101"/>
                <a:gd name="T50" fmla="*/ 26522 w 125"/>
                <a:gd name="T51" fmla="*/ 1163158 h 101"/>
                <a:gd name="T52" fmla="*/ 29909 w 125"/>
                <a:gd name="T53" fmla="*/ 2329754 h 101"/>
                <a:gd name="T54" fmla="*/ 29521 w 125"/>
                <a:gd name="T55" fmla="*/ 2329754 h 101"/>
                <a:gd name="T56" fmla="*/ 29521 w 125"/>
                <a:gd name="T57" fmla="*/ 2715810 h 101"/>
                <a:gd name="T58" fmla="*/ 31826 w 125"/>
                <a:gd name="T59" fmla="*/ 3222489 h 101"/>
                <a:gd name="T60" fmla="*/ 33716 w 125"/>
                <a:gd name="T61" fmla="*/ 3076969 h 101"/>
                <a:gd name="T62" fmla="*/ 34294 w 125"/>
                <a:gd name="T63" fmla="*/ 3547803 h 101"/>
                <a:gd name="T64" fmla="*/ 35654 w 125"/>
                <a:gd name="T65" fmla="*/ 4226340 h 101"/>
                <a:gd name="T66" fmla="*/ 35654 w 125"/>
                <a:gd name="T67" fmla="*/ 4261717 h 101"/>
                <a:gd name="T68" fmla="*/ 32248 w 125"/>
                <a:gd name="T69" fmla="*/ 4867868 h 101"/>
                <a:gd name="T70" fmla="*/ 28751 w 125"/>
                <a:gd name="T71" fmla="*/ 5423832 h 1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5"/>
                <a:gd name="T109" fmla="*/ 0 h 101"/>
                <a:gd name="T110" fmla="*/ 125 w 125"/>
                <a:gd name="T111" fmla="*/ 101 h 1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5" h="101">
                  <a:moveTo>
                    <a:pt x="102" y="73"/>
                  </a:moveTo>
                  <a:lnTo>
                    <a:pt x="97" y="73"/>
                  </a:lnTo>
                  <a:lnTo>
                    <a:pt x="84" y="70"/>
                  </a:lnTo>
                  <a:lnTo>
                    <a:pt x="80" y="71"/>
                  </a:lnTo>
                  <a:lnTo>
                    <a:pt x="61" y="73"/>
                  </a:lnTo>
                  <a:lnTo>
                    <a:pt x="42" y="73"/>
                  </a:lnTo>
                  <a:lnTo>
                    <a:pt x="43" y="87"/>
                  </a:lnTo>
                  <a:lnTo>
                    <a:pt x="45" y="101"/>
                  </a:lnTo>
                  <a:lnTo>
                    <a:pt x="30" y="92"/>
                  </a:lnTo>
                  <a:lnTo>
                    <a:pt x="16" y="96"/>
                  </a:lnTo>
                  <a:lnTo>
                    <a:pt x="7" y="86"/>
                  </a:lnTo>
                  <a:lnTo>
                    <a:pt x="0" y="83"/>
                  </a:lnTo>
                  <a:lnTo>
                    <a:pt x="4" y="60"/>
                  </a:lnTo>
                  <a:lnTo>
                    <a:pt x="9" y="55"/>
                  </a:lnTo>
                  <a:lnTo>
                    <a:pt x="17" y="47"/>
                  </a:lnTo>
                  <a:lnTo>
                    <a:pt x="20" y="40"/>
                  </a:lnTo>
                  <a:lnTo>
                    <a:pt x="23" y="31"/>
                  </a:lnTo>
                  <a:lnTo>
                    <a:pt x="33" y="34"/>
                  </a:lnTo>
                  <a:lnTo>
                    <a:pt x="36" y="28"/>
                  </a:lnTo>
                  <a:lnTo>
                    <a:pt x="39" y="25"/>
                  </a:lnTo>
                  <a:lnTo>
                    <a:pt x="45" y="16"/>
                  </a:lnTo>
                  <a:lnTo>
                    <a:pt x="54" y="16"/>
                  </a:lnTo>
                  <a:lnTo>
                    <a:pt x="56" y="10"/>
                  </a:lnTo>
                  <a:lnTo>
                    <a:pt x="75" y="0"/>
                  </a:lnTo>
                  <a:lnTo>
                    <a:pt x="91" y="2"/>
                  </a:lnTo>
                  <a:lnTo>
                    <a:pt x="93" y="16"/>
                  </a:lnTo>
                  <a:lnTo>
                    <a:pt x="106" y="31"/>
                  </a:lnTo>
                  <a:lnTo>
                    <a:pt x="103" y="31"/>
                  </a:lnTo>
                  <a:lnTo>
                    <a:pt x="103" y="37"/>
                  </a:lnTo>
                  <a:lnTo>
                    <a:pt x="112" y="44"/>
                  </a:lnTo>
                  <a:lnTo>
                    <a:pt x="118" y="42"/>
                  </a:lnTo>
                  <a:lnTo>
                    <a:pt x="120" y="48"/>
                  </a:lnTo>
                  <a:lnTo>
                    <a:pt x="125" y="57"/>
                  </a:lnTo>
                  <a:lnTo>
                    <a:pt x="125" y="58"/>
                  </a:lnTo>
                  <a:lnTo>
                    <a:pt x="113" y="66"/>
                  </a:lnTo>
                  <a:lnTo>
                    <a:pt x="102" y="7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7" name="Freeform 38">
              <a:extLst>
                <a:ext uri="{FF2B5EF4-FFF2-40B4-BE49-F238E27FC236}">
                  <a16:creationId xmlns:a16="http://schemas.microsoft.com/office/drawing/2014/main" id="{9AE8CCAB-49B2-155D-A3CB-AC8FDE89E053}"/>
                </a:ext>
              </a:extLst>
            </p:cNvPr>
            <p:cNvSpPr>
              <a:spLocks/>
            </p:cNvSpPr>
            <p:nvPr/>
          </p:nvSpPr>
          <p:spPr bwMode="auto">
            <a:xfrm>
              <a:off x="4559941" y="3511269"/>
              <a:ext cx="235077" cy="411545"/>
            </a:xfrm>
            <a:custGeom>
              <a:avLst/>
              <a:gdLst>
                <a:gd name="T0" fmla="*/ 36187 w 122"/>
                <a:gd name="T1" fmla="*/ 4276430 h 204"/>
                <a:gd name="T2" fmla="*/ 30512 w 122"/>
                <a:gd name="T3" fmla="*/ 4276430 h 204"/>
                <a:gd name="T4" fmla="*/ 27823 w 122"/>
                <a:gd name="T5" fmla="*/ 4574592 h 204"/>
                <a:gd name="T6" fmla="*/ 32363 w 122"/>
                <a:gd name="T7" fmla="*/ 5754804 h 204"/>
                <a:gd name="T8" fmla="*/ 35950 w 122"/>
                <a:gd name="T9" fmla="*/ 7503524 h 204"/>
                <a:gd name="T10" fmla="*/ 32923 w 122"/>
                <a:gd name="T11" fmla="*/ 8586331 h 204"/>
                <a:gd name="T12" fmla="*/ 30512 w 122"/>
                <a:gd name="T13" fmla="*/ 9665898 h 204"/>
                <a:gd name="T14" fmla="*/ 31634 w 122"/>
                <a:gd name="T15" fmla="*/ 11507747 h 204"/>
                <a:gd name="T16" fmla="*/ 35058 w 122"/>
                <a:gd name="T17" fmla="*/ 12532405 h 204"/>
                <a:gd name="T18" fmla="*/ 37732 w 122"/>
                <a:gd name="T19" fmla="*/ 13506141 h 204"/>
                <a:gd name="T20" fmla="*/ 39476 w 122"/>
                <a:gd name="T21" fmla="*/ 14716840 h 204"/>
                <a:gd name="T22" fmla="*/ 38068 w 122"/>
                <a:gd name="T23" fmla="*/ 15286880 h 204"/>
                <a:gd name="T24" fmla="*/ 34087 w 122"/>
                <a:gd name="T25" fmla="*/ 15053273 h 204"/>
                <a:gd name="T26" fmla="*/ 29836 w 122"/>
                <a:gd name="T27" fmla="*/ 14716840 h 204"/>
                <a:gd name="T28" fmla="*/ 24762 w 122"/>
                <a:gd name="T29" fmla="*/ 14716840 h 204"/>
                <a:gd name="T30" fmla="*/ 19486 w 122"/>
                <a:gd name="T31" fmla="*/ 14716840 h 204"/>
                <a:gd name="T32" fmla="*/ 14443 w 122"/>
                <a:gd name="T33" fmla="*/ 14716840 h 204"/>
                <a:gd name="T34" fmla="*/ 10576 w 122"/>
                <a:gd name="T35" fmla="*/ 14591999 h 204"/>
                <a:gd name="T36" fmla="*/ 6454 w 122"/>
                <a:gd name="T37" fmla="*/ 14469261 h 204"/>
                <a:gd name="T38" fmla="*/ 6454 w 122"/>
                <a:gd name="T39" fmla="*/ 13038329 h 204"/>
                <a:gd name="T40" fmla="*/ 6263 w 122"/>
                <a:gd name="T41" fmla="*/ 12414056 h 204"/>
                <a:gd name="T42" fmla="*/ 6120 w 122"/>
                <a:gd name="T43" fmla="*/ 12215839 h 204"/>
                <a:gd name="T44" fmla="*/ 2109 w 122"/>
                <a:gd name="T45" fmla="*/ 12047366 h 204"/>
                <a:gd name="T46" fmla="*/ 1000 w 122"/>
                <a:gd name="T47" fmla="*/ 11323346 h 204"/>
                <a:gd name="T48" fmla="*/ 0 w 122"/>
                <a:gd name="T49" fmla="*/ 11461102 h 204"/>
                <a:gd name="T50" fmla="*/ 2 w 122"/>
                <a:gd name="T51" fmla="*/ 11224944 h 204"/>
                <a:gd name="T52" fmla="*/ 1750 w 122"/>
                <a:gd name="T53" fmla="*/ 10006277 h 204"/>
                <a:gd name="T54" fmla="*/ 4314 w 122"/>
                <a:gd name="T55" fmla="*/ 9309707 h 204"/>
                <a:gd name="T56" fmla="*/ 6454 w 122"/>
                <a:gd name="T57" fmla="*/ 8463351 h 204"/>
                <a:gd name="T58" fmla="*/ 10576 w 122"/>
                <a:gd name="T59" fmla="*/ 8168743 h 204"/>
                <a:gd name="T60" fmla="*/ 13605 w 122"/>
                <a:gd name="T61" fmla="*/ 9077887 h 204"/>
                <a:gd name="T62" fmla="*/ 17056 w 122"/>
                <a:gd name="T63" fmla="*/ 7917383 h 204"/>
                <a:gd name="T64" fmla="*/ 18728 w 122"/>
                <a:gd name="T65" fmla="*/ 6729843 h 204"/>
                <a:gd name="T66" fmla="*/ 20686 w 122"/>
                <a:gd name="T67" fmla="*/ 6142126 h 204"/>
                <a:gd name="T68" fmla="*/ 22566 w 122"/>
                <a:gd name="T69" fmla="*/ 4997494 h 204"/>
                <a:gd name="T70" fmla="*/ 24762 w 122"/>
                <a:gd name="T71" fmla="*/ 4066119 h 204"/>
                <a:gd name="T72" fmla="*/ 26221 w 122"/>
                <a:gd name="T73" fmla="*/ 3077713 h 204"/>
                <a:gd name="T74" fmla="*/ 29836 w 122"/>
                <a:gd name="T75" fmla="*/ 2351380 h 204"/>
                <a:gd name="T76" fmla="*/ 31315 w 122"/>
                <a:gd name="T77" fmla="*/ 1523171 h 204"/>
                <a:gd name="T78" fmla="*/ 28677 w 122"/>
                <a:gd name="T79" fmla="*/ 978100 h 204"/>
                <a:gd name="T80" fmla="*/ 27823 w 122"/>
                <a:gd name="T81" fmla="*/ 0 h 204"/>
                <a:gd name="T82" fmla="*/ 29836 w 122"/>
                <a:gd name="T83" fmla="*/ 0 h 204"/>
                <a:gd name="T84" fmla="*/ 32363 w 122"/>
                <a:gd name="T85" fmla="*/ 1404820 h 204"/>
                <a:gd name="T86" fmla="*/ 32923 w 122"/>
                <a:gd name="T87" fmla="*/ 2856474 h 204"/>
                <a:gd name="T88" fmla="*/ 36187 w 122"/>
                <a:gd name="T89" fmla="*/ 4276430 h 20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2"/>
                <a:gd name="T136" fmla="*/ 0 h 204"/>
                <a:gd name="T137" fmla="*/ 122 w 122"/>
                <a:gd name="T138" fmla="*/ 204 h 20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2" h="204">
                  <a:moveTo>
                    <a:pt x="112" y="57"/>
                  </a:moveTo>
                  <a:lnTo>
                    <a:pt x="95" y="57"/>
                  </a:lnTo>
                  <a:lnTo>
                    <a:pt x="86" y="61"/>
                  </a:lnTo>
                  <a:lnTo>
                    <a:pt x="100" y="77"/>
                  </a:lnTo>
                  <a:lnTo>
                    <a:pt x="111" y="100"/>
                  </a:lnTo>
                  <a:lnTo>
                    <a:pt x="102" y="115"/>
                  </a:lnTo>
                  <a:lnTo>
                    <a:pt x="95" y="129"/>
                  </a:lnTo>
                  <a:lnTo>
                    <a:pt x="99" y="154"/>
                  </a:lnTo>
                  <a:lnTo>
                    <a:pt x="108" y="167"/>
                  </a:lnTo>
                  <a:lnTo>
                    <a:pt x="116" y="180"/>
                  </a:lnTo>
                  <a:lnTo>
                    <a:pt x="122" y="196"/>
                  </a:lnTo>
                  <a:lnTo>
                    <a:pt x="118" y="204"/>
                  </a:lnTo>
                  <a:lnTo>
                    <a:pt x="105" y="201"/>
                  </a:lnTo>
                  <a:lnTo>
                    <a:pt x="92" y="196"/>
                  </a:lnTo>
                  <a:lnTo>
                    <a:pt x="76" y="196"/>
                  </a:lnTo>
                  <a:lnTo>
                    <a:pt x="60" y="196"/>
                  </a:lnTo>
                  <a:lnTo>
                    <a:pt x="45" y="196"/>
                  </a:lnTo>
                  <a:lnTo>
                    <a:pt x="32" y="195"/>
                  </a:lnTo>
                  <a:lnTo>
                    <a:pt x="20" y="193"/>
                  </a:lnTo>
                  <a:lnTo>
                    <a:pt x="20" y="174"/>
                  </a:lnTo>
                  <a:lnTo>
                    <a:pt x="19" y="166"/>
                  </a:lnTo>
                  <a:lnTo>
                    <a:pt x="18" y="163"/>
                  </a:lnTo>
                  <a:lnTo>
                    <a:pt x="7" y="161"/>
                  </a:lnTo>
                  <a:lnTo>
                    <a:pt x="3" y="151"/>
                  </a:lnTo>
                  <a:lnTo>
                    <a:pt x="0" y="153"/>
                  </a:lnTo>
                  <a:lnTo>
                    <a:pt x="2" y="150"/>
                  </a:lnTo>
                  <a:lnTo>
                    <a:pt x="6" y="134"/>
                  </a:lnTo>
                  <a:lnTo>
                    <a:pt x="13" y="124"/>
                  </a:lnTo>
                  <a:lnTo>
                    <a:pt x="20" y="113"/>
                  </a:lnTo>
                  <a:lnTo>
                    <a:pt x="32" y="109"/>
                  </a:lnTo>
                  <a:lnTo>
                    <a:pt x="42" y="121"/>
                  </a:lnTo>
                  <a:lnTo>
                    <a:pt x="52" y="106"/>
                  </a:lnTo>
                  <a:lnTo>
                    <a:pt x="58" y="90"/>
                  </a:lnTo>
                  <a:lnTo>
                    <a:pt x="64" y="82"/>
                  </a:lnTo>
                  <a:lnTo>
                    <a:pt x="70" y="67"/>
                  </a:lnTo>
                  <a:lnTo>
                    <a:pt x="76" y="54"/>
                  </a:lnTo>
                  <a:lnTo>
                    <a:pt x="81" y="41"/>
                  </a:lnTo>
                  <a:lnTo>
                    <a:pt x="92" y="31"/>
                  </a:lnTo>
                  <a:lnTo>
                    <a:pt x="96" y="20"/>
                  </a:lnTo>
                  <a:lnTo>
                    <a:pt x="89" y="13"/>
                  </a:lnTo>
                  <a:lnTo>
                    <a:pt x="86" y="0"/>
                  </a:lnTo>
                  <a:lnTo>
                    <a:pt x="92" y="0"/>
                  </a:lnTo>
                  <a:lnTo>
                    <a:pt x="100" y="19"/>
                  </a:lnTo>
                  <a:lnTo>
                    <a:pt x="102" y="38"/>
                  </a:lnTo>
                  <a:lnTo>
                    <a:pt x="112" y="5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8" name="Freeform 39">
              <a:extLst>
                <a:ext uri="{FF2B5EF4-FFF2-40B4-BE49-F238E27FC236}">
                  <a16:creationId xmlns:a16="http://schemas.microsoft.com/office/drawing/2014/main" id="{9B2933F8-4BB5-42A6-9FF2-380D01798C7B}"/>
                </a:ext>
              </a:extLst>
            </p:cNvPr>
            <p:cNvSpPr>
              <a:spLocks/>
            </p:cNvSpPr>
            <p:nvPr/>
          </p:nvSpPr>
          <p:spPr bwMode="auto">
            <a:xfrm>
              <a:off x="4742246" y="3588718"/>
              <a:ext cx="391795" cy="317391"/>
            </a:xfrm>
            <a:custGeom>
              <a:avLst/>
              <a:gdLst>
                <a:gd name="T0" fmla="*/ 20712 w 204"/>
                <a:gd name="T1" fmla="*/ 3536583 h 157"/>
                <a:gd name="T2" fmla="*/ 19852 w 204"/>
                <a:gd name="T3" fmla="*/ 3062741 h 157"/>
                <a:gd name="T4" fmla="*/ 26592 w 204"/>
                <a:gd name="T5" fmla="*/ 2752767 h 157"/>
                <a:gd name="T6" fmla="*/ 30199 w 204"/>
                <a:gd name="T7" fmla="*/ 1514985 h 157"/>
                <a:gd name="T8" fmla="*/ 33797 w 204"/>
                <a:gd name="T9" fmla="*/ 373889 h 157"/>
                <a:gd name="T10" fmla="*/ 37865 w 204"/>
                <a:gd name="T11" fmla="*/ 0 h 157"/>
                <a:gd name="T12" fmla="*/ 40319 w 204"/>
                <a:gd name="T13" fmla="*/ 940920 h 157"/>
                <a:gd name="T14" fmla="*/ 41966 w 204"/>
                <a:gd name="T15" fmla="*/ 1949711 h 157"/>
                <a:gd name="T16" fmla="*/ 41070 w 204"/>
                <a:gd name="T17" fmla="*/ 3197330 h 157"/>
                <a:gd name="T18" fmla="*/ 44657 w 204"/>
                <a:gd name="T19" fmla="*/ 3435583 h 157"/>
                <a:gd name="T20" fmla="*/ 45234 w 204"/>
                <a:gd name="T21" fmla="*/ 3861747 h 157"/>
                <a:gd name="T22" fmla="*/ 49578 w 204"/>
                <a:gd name="T23" fmla="*/ 4602526 h 157"/>
                <a:gd name="T24" fmla="*/ 50400 w 204"/>
                <a:gd name="T25" fmla="*/ 5316947 h 157"/>
                <a:gd name="T26" fmla="*/ 54615 w 204"/>
                <a:gd name="T27" fmla="*/ 6428960 h 157"/>
                <a:gd name="T28" fmla="*/ 56487 w 204"/>
                <a:gd name="T29" fmla="*/ 7118977 h 157"/>
                <a:gd name="T30" fmla="*/ 58545 w 204"/>
                <a:gd name="T31" fmla="*/ 8089648 h 157"/>
                <a:gd name="T32" fmla="*/ 59542 w 204"/>
                <a:gd name="T33" fmla="*/ 8517292 h 157"/>
                <a:gd name="T34" fmla="*/ 57126 w 204"/>
                <a:gd name="T35" fmla="*/ 8388187 h 157"/>
                <a:gd name="T36" fmla="*/ 53708 w 204"/>
                <a:gd name="T37" fmla="*/ 8371535 h 157"/>
                <a:gd name="T38" fmla="*/ 49602 w 204"/>
                <a:gd name="T39" fmla="*/ 8210986 h 157"/>
                <a:gd name="T40" fmla="*/ 48112 w 204"/>
                <a:gd name="T41" fmla="*/ 8517292 h 157"/>
                <a:gd name="T42" fmla="*/ 45146 w 204"/>
                <a:gd name="T43" fmla="*/ 8517292 h 157"/>
                <a:gd name="T44" fmla="*/ 40319 w 204"/>
                <a:gd name="T45" fmla="*/ 8985172 h 157"/>
                <a:gd name="T46" fmla="*/ 37865 w 204"/>
                <a:gd name="T47" fmla="*/ 8985172 h 157"/>
                <a:gd name="T48" fmla="*/ 36164 w 204"/>
                <a:gd name="T49" fmla="*/ 9785586 h 157"/>
                <a:gd name="T50" fmla="*/ 31936 w 204"/>
                <a:gd name="T51" fmla="*/ 9487387 h 157"/>
                <a:gd name="T52" fmla="*/ 27459 w 204"/>
                <a:gd name="T53" fmla="*/ 9135581 h 157"/>
                <a:gd name="T54" fmla="*/ 22275 w 204"/>
                <a:gd name="T55" fmla="*/ 8388187 h 157"/>
                <a:gd name="T56" fmla="*/ 18437 w 204"/>
                <a:gd name="T57" fmla="*/ 9686342 h 157"/>
                <a:gd name="T58" fmla="*/ 19038 w 204"/>
                <a:gd name="T59" fmla="*/ 10759689 h 157"/>
                <a:gd name="T60" fmla="*/ 15443 w 204"/>
                <a:gd name="T61" fmla="*/ 10659702 h 157"/>
                <a:gd name="T62" fmla="*/ 11720 w 204"/>
                <a:gd name="T63" fmla="*/ 10659702 h 157"/>
                <a:gd name="T64" fmla="*/ 9257 w 204"/>
                <a:gd name="T65" fmla="*/ 11017409 h 157"/>
                <a:gd name="T66" fmla="*/ 7708 w 204"/>
                <a:gd name="T67" fmla="*/ 12591247 h 157"/>
                <a:gd name="T68" fmla="*/ 6033 w 204"/>
                <a:gd name="T69" fmla="*/ 11310489 h 157"/>
                <a:gd name="T70" fmla="*/ 4017 w 204"/>
                <a:gd name="T71" fmla="*/ 10247697 h 157"/>
                <a:gd name="T72" fmla="*/ 1118 w 204"/>
                <a:gd name="T73" fmla="*/ 9254426 h 157"/>
                <a:gd name="T74" fmla="*/ 0 w 204"/>
                <a:gd name="T75" fmla="*/ 7231954 h 157"/>
                <a:gd name="T76" fmla="*/ 1937 w 204"/>
                <a:gd name="T77" fmla="*/ 6076470 h 157"/>
                <a:gd name="T78" fmla="*/ 4824 w 204"/>
                <a:gd name="T79" fmla="*/ 4922582 h 157"/>
                <a:gd name="T80" fmla="*/ 8380 w 204"/>
                <a:gd name="T81" fmla="*/ 4578564 h 157"/>
                <a:gd name="T82" fmla="*/ 9759 w 204"/>
                <a:gd name="T83" fmla="*/ 4602526 h 157"/>
                <a:gd name="T84" fmla="*/ 12087 w 204"/>
                <a:gd name="T85" fmla="*/ 4578564 h 157"/>
                <a:gd name="T86" fmla="*/ 18437 w 204"/>
                <a:gd name="T87" fmla="*/ 4221265 h 157"/>
                <a:gd name="T88" fmla="*/ 20712 w 204"/>
                <a:gd name="T89" fmla="*/ 3536583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4"/>
                <a:gd name="T136" fmla="*/ 0 h 157"/>
                <a:gd name="T137" fmla="*/ 204 w 204"/>
                <a:gd name="T138" fmla="*/ 157 h 15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4" h="157">
                  <a:moveTo>
                    <a:pt x="71" y="44"/>
                  </a:moveTo>
                  <a:lnTo>
                    <a:pt x="68" y="38"/>
                  </a:lnTo>
                  <a:lnTo>
                    <a:pt x="91" y="34"/>
                  </a:lnTo>
                  <a:lnTo>
                    <a:pt x="103" y="19"/>
                  </a:lnTo>
                  <a:lnTo>
                    <a:pt x="116" y="5"/>
                  </a:lnTo>
                  <a:lnTo>
                    <a:pt x="130" y="0"/>
                  </a:lnTo>
                  <a:lnTo>
                    <a:pt x="138" y="12"/>
                  </a:lnTo>
                  <a:lnTo>
                    <a:pt x="143" y="24"/>
                  </a:lnTo>
                  <a:lnTo>
                    <a:pt x="140" y="40"/>
                  </a:lnTo>
                  <a:lnTo>
                    <a:pt x="152" y="43"/>
                  </a:lnTo>
                  <a:lnTo>
                    <a:pt x="155" y="48"/>
                  </a:lnTo>
                  <a:lnTo>
                    <a:pt x="170" y="58"/>
                  </a:lnTo>
                  <a:lnTo>
                    <a:pt x="172" y="66"/>
                  </a:lnTo>
                  <a:lnTo>
                    <a:pt x="187" y="80"/>
                  </a:lnTo>
                  <a:lnTo>
                    <a:pt x="193" y="89"/>
                  </a:lnTo>
                  <a:lnTo>
                    <a:pt x="201" y="101"/>
                  </a:lnTo>
                  <a:lnTo>
                    <a:pt x="204" y="106"/>
                  </a:lnTo>
                  <a:lnTo>
                    <a:pt x="196" y="105"/>
                  </a:lnTo>
                  <a:lnTo>
                    <a:pt x="184" y="104"/>
                  </a:lnTo>
                  <a:lnTo>
                    <a:pt x="171" y="102"/>
                  </a:lnTo>
                  <a:lnTo>
                    <a:pt x="165" y="106"/>
                  </a:lnTo>
                  <a:lnTo>
                    <a:pt x="154" y="106"/>
                  </a:lnTo>
                  <a:lnTo>
                    <a:pt x="138" y="112"/>
                  </a:lnTo>
                  <a:lnTo>
                    <a:pt x="130" y="112"/>
                  </a:lnTo>
                  <a:lnTo>
                    <a:pt x="123" y="122"/>
                  </a:lnTo>
                  <a:lnTo>
                    <a:pt x="109" y="118"/>
                  </a:lnTo>
                  <a:lnTo>
                    <a:pt x="94" y="114"/>
                  </a:lnTo>
                  <a:lnTo>
                    <a:pt x="77" y="105"/>
                  </a:lnTo>
                  <a:lnTo>
                    <a:pt x="63" y="121"/>
                  </a:lnTo>
                  <a:lnTo>
                    <a:pt x="65" y="134"/>
                  </a:lnTo>
                  <a:lnTo>
                    <a:pt x="53" y="133"/>
                  </a:lnTo>
                  <a:lnTo>
                    <a:pt x="40" y="133"/>
                  </a:lnTo>
                  <a:lnTo>
                    <a:pt x="32" y="137"/>
                  </a:lnTo>
                  <a:lnTo>
                    <a:pt x="27" y="157"/>
                  </a:lnTo>
                  <a:lnTo>
                    <a:pt x="21" y="141"/>
                  </a:lnTo>
                  <a:lnTo>
                    <a:pt x="13" y="128"/>
                  </a:lnTo>
                  <a:lnTo>
                    <a:pt x="4" y="115"/>
                  </a:lnTo>
                  <a:lnTo>
                    <a:pt x="0" y="90"/>
                  </a:lnTo>
                  <a:lnTo>
                    <a:pt x="7" y="76"/>
                  </a:lnTo>
                  <a:lnTo>
                    <a:pt x="16" y="61"/>
                  </a:lnTo>
                  <a:lnTo>
                    <a:pt x="29" y="57"/>
                  </a:lnTo>
                  <a:lnTo>
                    <a:pt x="33" y="58"/>
                  </a:lnTo>
                  <a:lnTo>
                    <a:pt x="42" y="57"/>
                  </a:lnTo>
                  <a:lnTo>
                    <a:pt x="63" y="53"/>
                  </a:lnTo>
                  <a:lnTo>
                    <a:pt x="71" y="4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99" name="Freeform 40">
              <a:extLst>
                <a:ext uri="{FF2B5EF4-FFF2-40B4-BE49-F238E27FC236}">
                  <a16:creationId xmlns:a16="http://schemas.microsoft.com/office/drawing/2014/main" id="{784B0AC7-0ADA-176E-8C2D-9270D36D9D6D}"/>
                </a:ext>
              </a:extLst>
            </p:cNvPr>
            <p:cNvSpPr>
              <a:spLocks/>
            </p:cNvSpPr>
            <p:nvPr/>
          </p:nvSpPr>
          <p:spPr bwMode="auto">
            <a:xfrm>
              <a:off x="3795543" y="3490008"/>
              <a:ext cx="87954" cy="25816"/>
            </a:xfrm>
            <a:custGeom>
              <a:avLst/>
              <a:gdLst>
                <a:gd name="T0" fmla="*/ 1 w 45"/>
                <a:gd name="T1" fmla="*/ 545481 h 13"/>
                <a:gd name="T2" fmla="*/ 0 w 45"/>
                <a:gd name="T3" fmla="*/ 1702985 h 13"/>
                <a:gd name="T4" fmla="*/ 6034 w 45"/>
                <a:gd name="T5" fmla="*/ 1081603 h 13"/>
                <a:gd name="T6" fmla="*/ 12396 w 45"/>
                <a:gd name="T7" fmla="*/ 545481 h 13"/>
                <a:gd name="T8" fmla="*/ 22391 w 45"/>
                <a:gd name="T9" fmla="*/ 1081603 h 13"/>
                <a:gd name="T10" fmla="*/ 20615 w 45"/>
                <a:gd name="T11" fmla="*/ 545481 h 13"/>
                <a:gd name="T12" fmla="*/ 11017 w 45"/>
                <a:gd name="T13" fmla="*/ 0 h 13"/>
                <a:gd name="T14" fmla="*/ 9785 w 45"/>
                <a:gd name="T15" fmla="*/ 255364 h 13"/>
                <a:gd name="T16" fmla="*/ 1608 w 45"/>
                <a:gd name="T17" fmla="*/ 255364 h 13"/>
                <a:gd name="T18" fmla="*/ 1608 w 45"/>
                <a:gd name="T19" fmla="*/ 545481 h 13"/>
                <a:gd name="T20" fmla="*/ 8947 w 45"/>
                <a:gd name="T21" fmla="*/ 545481 h 13"/>
                <a:gd name="T22" fmla="*/ 4385 w 45"/>
                <a:gd name="T23" fmla="*/ 1081603 h 13"/>
                <a:gd name="T24" fmla="*/ 1 w 45"/>
                <a:gd name="T25" fmla="*/ 545481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13"/>
                <a:gd name="T41" fmla="*/ 45 w 45"/>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13">
                  <a:moveTo>
                    <a:pt x="1" y="4"/>
                  </a:moveTo>
                  <a:lnTo>
                    <a:pt x="0" y="13"/>
                  </a:lnTo>
                  <a:lnTo>
                    <a:pt x="12" y="8"/>
                  </a:lnTo>
                  <a:lnTo>
                    <a:pt x="25" y="4"/>
                  </a:lnTo>
                  <a:lnTo>
                    <a:pt x="45" y="8"/>
                  </a:lnTo>
                  <a:lnTo>
                    <a:pt x="41" y="4"/>
                  </a:lnTo>
                  <a:lnTo>
                    <a:pt x="22" y="0"/>
                  </a:lnTo>
                  <a:lnTo>
                    <a:pt x="20" y="2"/>
                  </a:lnTo>
                  <a:lnTo>
                    <a:pt x="3" y="2"/>
                  </a:lnTo>
                  <a:lnTo>
                    <a:pt x="3" y="4"/>
                  </a:lnTo>
                  <a:lnTo>
                    <a:pt x="17" y="4"/>
                  </a:lnTo>
                  <a:lnTo>
                    <a:pt x="9" y="8"/>
                  </a:lnTo>
                  <a:lnTo>
                    <a:pt x="1"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0" name="Freeform 41">
              <a:extLst>
                <a:ext uri="{FF2B5EF4-FFF2-40B4-BE49-F238E27FC236}">
                  <a16:creationId xmlns:a16="http://schemas.microsoft.com/office/drawing/2014/main" id="{F100552C-CF16-1AEE-5DFC-3896417C420F}"/>
                </a:ext>
              </a:extLst>
            </p:cNvPr>
            <p:cNvSpPr>
              <a:spLocks/>
            </p:cNvSpPr>
            <p:nvPr/>
          </p:nvSpPr>
          <p:spPr bwMode="auto">
            <a:xfrm>
              <a:off x="4203329" y="3582644"/>
              <a:ext cx="134330" cy="230830"/>
            </a:xfrm>
            <a:custGeom>
              <a:avLst/>
              <a:gdLst>
                <a:gd name="T0" fmla="*/ 17308 w 70"/>
                <a:gd name="T1" fmla="*/ 5826469 h 115"/>
                <a:gd name="T2" fmla="*/ 14423 w 70"/>
                <a:gd name="T3" fmla="*/ 6112621 h 115"/>
                <a:gd name="T4" fmla="*/ 11000 w 70"/>
                <a:gd name="T5" fmla="*/ 6362579 h 115"/>
                <a:gd name="T6" fmla="*/ 8023 w 70"/>
                <a:gd name="T7" fmla="*/ 6615288 h 115"/>
                <a:gd name="T8" fmla="*/ 4643 w 70"/>
                <a:gd name="T9" fmla="*/ 6910128 h 115"/>
                <a:gd name="T10" fmla="*/ 2 w 70"/>
                <a:gd name="T11" fmla="*/ 6517481 h 115"/>
                <a:gd name="T12" fmla="*/ 1916 w 70"/>
                <a:gd name="T13" fmla="*/ 6362579 h 115"/>
                <a:gd name="T14" fmla="*/ 924 w 70"/>
                <a:gd name="T15" fmla="*/ 5527353 h 115"/>
                <a:gd name="T16" fmla="*/ 0 w 70"/>
                <a:gd name="T17" fmla="*/ 4662052 h 115"/>
                <a:gd name="T18" fmla="*/ 1597 w 70"/>
                <a:gd name="T19" fmla="*/ 3922550 h 115"/>
                <a:gd name="T20" fmla="*/ 3311 w 70"/>
                <a:gd name="T21" fmla="*/ 3252797 h 115"/>
                <a:gd name="T22" fmla="*/ 2687 w 70"/>
                <a:gd name="T23" fmla="*/ 1864164 h 115"/>
                <a:gd name="T24" fmla="*/ 1916 w 70"/>
                <a:gd name="T25" fmla="*/ 987815 h 115"/>
                <a:gd name="T26" fmla="*/ 1597 w 70"/>
                <a:gd name="T27" fmla="*/ 197003 h 115"/>
                <a:gd name="T28" fmla="*/ 7091 w 70"/>
                <a:gd name="T29" fmla="*/ 197003 h 115"/>
                <a:gd name="T30" fmla="*/ 12631 w 70"/>
                <a:gd name="T31" fmla="*/ 1 h 115"/>
                <a:gd name="T32" fmla="*/ 13860 w 70"/>
                <a:gd name="T33" fmla="*/ 0 h 115"/>
                <a:gd name="T34" fmla="*/ 14423 w 70"/>
                <a:gd name="T35" fmla="*/ 400649 h 115"/>
                <a:gd name="T36" fmla="*/ 16260 w 70"/>
                <a:gd name="T37" fmla="*/ 1307188 h 115"/>
                <a:gd name="T38" fmla="*/ 16260 w 70"/>
                <a:gd name="T39" fmla="*/ 1864164 h 115"/>
                <a:gd name="T40" fmla="*/ 16632 w 70"/>
                <a:gd name="T41" fmla="*/ 2547760 h 115"/>
                <a:gd name="T42" fmla="*/ 17308 w 70"/>
                <a:gd name="T43" fmla="*/ 3252797 h 115"/>
                <a:gd name="T44" fmla="*/ 17308 w 70"/>
                <a:gd name="T45" fmla="*/ 4085634 h 115"/>
                <a:gd name="T46" fmla="*/ 17308 w 70"/>
                <a:gd name="T47" fmla="*/ 4969753 h 115"/>
                <a:gd name="T48" fmla="*/ 19958 w 70"/>
                <a:gd name="T49" fmla="*/ 5527353 h 115"/>
                <a:gd name="T50" fmla="*/ 17956 w 70"/>
                <a:gd name="T51" fmla="*/ 5826469 h 115"/>
                <a:gd name="T52" fmla="*/ 15655 w 70"/>
                <a:gd name="T53" fmla="*/ 5527353 h 115"/>
                <a:gd name="T54" fmla="*/ 17308 w 70"/>
                <a:gd name="T55" fmla="*/ 5826469 h 11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0"/>
                <a:gd name="T85" fmla="*/ 0 h 115"/>
                <a:gd name="T86" fmla="*/ 70 w 70"/>
                <a:gd name="T87" fmla="*/ 115 h 11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0" h="115">
                  <a:moveTo>
                    <a:pt x="61" y="97"/>
                  </a:moveTo>
                  <a:lnTo>
                    <a:pt x="51" y="102"/>
                  </a:lnTo>
                  <a:lnTo>
                    <a:pt x="39" y="106"/>
                  </a:lnTo>
                  <a:lnTo>
                    <a:pt x="28" y="110"/>
                  </a:lnTo>
                  <a:lnTo>
                    <a:pt x="16" y="115"/>
                  </a:lnTo>
                  <a:lnTo>
                    <a:pt x="2" y="109"/>
                  </a:lnTo>
                  <a:lnTo>
                    <a:pt x="7" y="106"/>
                  </a:lnTo>
                  <a:lnTo>
                    <a:pt x="3" y="92"/>
                  </a:lnTo>
                  <a:lnTo>
                    <a:pt x="0" y="78"/>
                  </a:lnTo>
                  <a:lnTo>
                    <a:pt x="6" y="65"/>
                  </a:lnTo>
                  <a:lnTo>
                    <a:pt x="12" y="54"/>
                  </a:lnTo>
                  <a:lnTo>
                    <a:pt x="9" y="31"/>
                  </a:lnTo>
                  <a:lnTo>
                    <a:pt x="7" y="17"/>
                  </a:lnTo>
                  <a:lnTo>
                    <a:pt x="6" y="3"/>
                  </a:lnTo>
                  <a:lnTo>
                    <a:pt x="25" y="3"/>
                  </a:lnTo>
                  <a:lnTo>
                    <a:pt x="44" y="1"/>
                  </a:lnTo>
                  <a:lnTo>
                    <a:pt x="48" y="0"/>
                  </a:lnTo>
                  <a:lnTo>
                    <a:pt x="51" y="6"/>
                  </a:lnTo>
                  <a:lnTo>
                    <a:pt x="57" y="22"/>
                  </a:lnTo>
                  <a:lnTo>
                    <a:pt x="57" y="31"/>
                  </a:lnTo>
                  <a:lnTo>
                    <a:pt x="58" y="42"/>
                  </a:lnTo>
                  <a:lnTo>
                    <a:pt x="61" y="54"/>
                  </a:lnTo>
                  <a:lnTo>
                    <a:pt x="61" y="68"/>
                  </a:lnTo>
                  <a:lnTo>
                    <a:pt x="61" y="83"/>
                  </a:lnTo>
                  <a:lnTo>
                    <a:pt x="70" y="92"/>
                  </a:lnTo>
                  <a:lnTo>
                    <a:pt x="63" y="97"/>
                  </a:lnTo>
                  <a:lnTo>
                    <a:pt x="55" y="92"/>
                  </a:lnTo>
                  <a:lnTo>
                    <a:pt x="61" y="9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1" name="Freeform 42">
              <a:extLst>
                <a:ext uri="{FF2B5EF4-FFF2-40B4-BE49-F238E27FC236}">
                  <a16:creationId xmlns:a16="http://schemas.microsoft.com/office/drawing/2014/main" id="{4724DE8C-DFCD-8C43-6ABD-54E12B72B59B}"/>
                </a:ext>
              </a:extLst>
            </p:cNvPr>
            <p:cNvSpPr>
              <a:spLocks/>
            </p:cNvSpPr>
            <p:nvPr/>
          </p:nvSpPr>
          <p:spPr bwMode="auto">
            <a:xfrm>
              <a:off x="3845117" y="3526455"/>
              <a:ext cx="222282" cy="195901"/>
            </a:xfrm>
            <a:custGeom>
              <a:avLst/>
              <a:gdLst>
                <a:gd name="T0" fmla="*/ 36666 w 115"/>
                <a:gd name="T1" fmla="*/ 1520592 h 98"/>
                <a:gd name="T2" fmla="*/ 36283 w 115"/>
                <a:gd name="T3" fmla="*/ 1824353 h 98"/>
                <a:gd name="T4" fmla="*/ 36666 w 115"/>
                <a:gd name="T5" fmla="*/ 1824353 h 98"/>
                <a:gd name="T6" fmla="*/ 39754 w 115"/>
                <a:gd name="T7" fmla="*/ 2836680 h 98"/>
                <a:gd name="T8" fmla="*/ 39474 w 115"/>
                <a:gd name="T9" fmla="*/ 3825700 h 98"/>
                <a:gd name="T10" fmla="*/ 39754 w 115"/>
                <a:gd name="T11" fmla="*/ 4006066 h 98"/>
                <a:gd name="T12" fmla="*/ 40819 w 115"/>
                <a:gd name="T13" fmla="*/ 4152894 h 98"/>
                <a:gd name="T14" fmla="*/ 40891 w 115"/>
                <a:gd name="T15" fmla="*/ 4625789 h 98"/>
                <a:gd name="T16" fmla="*/ 40819 w 115"/>
                <a:gd name="T17" fmla="*/ 4869917 h 98"/>
                <a:gd name="T18" fmla="*/ 38472 w 115"/>
                <a:gd name="T19" fmla="*/ 4869917 h 98"/>
                <a:gd name="T20" fmla="*/ 38978 w 115"/>
                <a:gd name="T21" fmla="*/ 5465285 h 98"/>
                <a:gd name="T22" fmla="*/ 37594 w 115"/>
                <a:gd name="T23" fmla="*/ 5795194 h 98"/>
                <a:gd name="T24" fmla="*/ 36666 w 115"/>
                <a:gd name="T25" fmla="*/ 5891734 h 98"/>
                <a:gd name="T26" fmla="*/ 35304 w 115"/>
                <a:gd name="T27" fmla="*/ 5891734 h 98"/>
                <a:gd name="T28" fmla="*/ 32658 w 115"/>
                <a:gd name="T29" fmla="*/ 6214664 h 98"/>
                <a:gd name="T30" fmla="*/ 31829 w 115"/>
                <a:gd name="T31" fmla="*/ 6032744 h 98"/>
                <a:gd name="T32" fmla="*/ 30018 w 115"/>
                <a:gd name="T33" fmla="*/ 4857417 h 98"/>
                <a:gd name="T34" fmla="*/ 26333 w 115"/>
                <a:gd name="T35" fmla="*/ 4857417 h 98"/>
                <a:gd name="T36" fmla="*/ 24165 w 115"/>
                <a:gd name="T37" fmla="*/ 4869917 h 98"/>
                <a:gd name="T38" fmla="*/ 25097 w 115"/>
                <a:gd name="T39" fmla="*/ 4152894 h 98"/>
                <a:gd name="T40" fmla="*/ 21387 w 115"/>
                <a:gd name="T41" fmla="*/ 3059020 h 98"/>
                <a:gd name="T42" fmla="*/ 13797 w 115"/>
                <a:gd name="T43" fmla="*/ 3408943 h 98"/>
                <a:gd name="T44" fmla="*/ 10020 w 115"/>
                <a:gd name="T45" fmla="*/ 4152894 h 98"/>
                <a:gd name="T46" fmla="*/ 8977 w 115"/>
                <a:gd name="T47" fmla="*/ 3847657 h 98"/>
                <a:gd name="T48" fmla="*/ 8049 w 115"/>
                <a:gd name="T49" fmla="*/ 3546880 h 98"/>
                <a:gd name="T50" fmla="*/ 6859 w 115"/>
                <a:gd name="T51" fmla="*/ 3238052 h 98"/>
                <a:gd name="T52" fmla="*/ 5509 w 115"/>
                <a:gd name="T53" fmla="*/ 3059020 h 98"/>
                <a:gd name="T54" fmla="*/ 2135 w 115"/>
                <a:gd name="T55" fmla="*/ 2386260 h 98"/>
                <a:gd name="T56" fmla="*/ 2581 w 115"/>
                <a:gd name="T57" fmla="*/ 2192517 h 98"/>
                <a:gd name="T58" fmla="*/ 2135 w 115"/>
                <a:gd name="T59" fmla="*/ 2192517 h 98"/>
                <a:gd name="T60" fmla="*/ 1766 w 115"/>
                <a:gd name="T61" fmla="*/ 1962972 h 98"/>
                <a:gd name="T62" fmla="*/ 0 w 115"/>
                <a:gd name="T63" fmla="*/ 2034919 h 98"/>
                <a:gd name="T64" fmla="*/ 1766 w 115"/>
                <a:gd name="T65" fmla="*/ 1586645 h 98"/>
                <a:gd name="T66" fmla="*/ 6859 w 115"/>
                <a:gd name="T67" fmla="*/ 1216580 h 98"/>
                <a:gd name="T68" fmla="*/ 6859 w 115"/>
                <a:gd name="T69" fmla="*/ 596124 h 98"/>
                <a:gd name="T70" fmla="*/ 8049 w 115"/>
                <a:gd name="T71" fmla="*/ 0 h 98"/>
                <a:gd name="T72" fmla="*/ 12609 w 115"/>
                <a:gd name="T73" fmla="*/ 306619 h 98"/>
                <a:gd name="T74" fmla="*/ 20764 w 115"/>
                <a:gd name="T75" fmla="*/ 417287 h 98"/>
                <a:gd name="T76" fmla="*/ 19471 w 115"/>
                <a:gd name="T77" fmla="*/ 716171 h 98"/>
                <a:gd name="T78" fmla="*/ 23535 w 115"/>
                <a:gd name="T79" fmla="*/ 716171 h 98"/>
                <a:gd name="T80" fmla="*/ 25395 w 115"/>
                <a:gd name="T81" fmla="*/ 745090 h 98"/>
                <a:gd name="T82" fmla="*/ 28447 w 115"/>
                <a:gd name="T83" fmla="*/ 745090 h 98"/>
                <a:gd name="T84" fmla="*/ 32248 w 115"/>
                <a:gd name="T85" fmla="*/ 501320 h 98"/>
                <a:gd name="T86" fmla="*/ 32890 w 115"/>
                <a:gd name="T87" fmla="*/ 306619 h 98"/>
                <a:gd name="T88" fmla="*/ 34976 w 115"/>
                <a:gd name="T89" fmla="*/ 1216580 h 98"/>
                <a:gd name="T90" fmla="*/ 36666 w 115"/>
                <a:gd name="T91" fmla="*/ 1520592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
                <a:gd name="T139" fmla="*/ 0 h 98"/>
                <a:gd name="T140" fmla="*/ 115 w 115"/>
                <a:gd name="T141" fmla="*/ 98 h 9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 h="98">
                  <a:moveTo>
                    <a:pt x="103" y="24"/>
                  </a:moveTo>
                  <a:lnTo>
                    <a:pt x="102" y="29"/>
                  </a:lnTo>
                  <a:lnTo>
                    <a:pt x="103" y="29"/>
                  </a:lnTo>
                  <a:lnTo>
                    <a:pt x="112" y="45"/>
                  </a:lnTo>
                  <a:lnTo>
                    <a:pt x="111" y="60"/>
                  </a:lnTo>
                  <a:lnTo>
                    <a:pt x="112" y="63"/>
                  </a:lnTo>
                  <a:lnTo>
                    <a:pt x="114" y="66"/>
                  </a:lnTo>
                  <a:lnTo>
                    <a:pt x="115" y="73"/>
                  </a:lnTo>
                  <a:lnTo>
                    <a:pt x="114" y="77"/>
                  </a:lnTo>
                  <a:lnTo>
                    <a:pt x="108" y="77"/>
                  </a:lnTo>
                  <a:lnTo>
                    <a:pt x="109" y="86"/>
                  </a:lnTo>
                  <a:lnTo>
                    <a:pt x="105" y="92"/>
                  </a:lnTo>
                  <a:lnTo>
                    <a:pt x="103" y="93"/>
                  </a:lnTo>
                  <a:lnTo>
                    <a:pt x="99" y="93"/>
                  </a:lnTo>
                  <a:lnTo>
                    <a:pt x="92" y="98"/>
                  </a:lnTo>
                  <a:lnTo>
                    <a:pt x="89" y="95"/>
                  </a:lnTo>
                  <a:lnTo>
                    <a:pt x="84" y="76"/>
                  </a:lnTo>
                  <a:lnTo>
                    <a:pt x="74" y="76"/>
                  </a:lnTo>
                  <a:lnTo>
                    <a:pt x="68" y="77"/>
                  </a:lnTo>
                  <a:lnTo>
                    <a:pt x="70" y="66"/>
                  </a:lnTo>
                  <a:lnTo>
                    <a:pt x="60" y="48"/>
                  </a:lnTo>
                  <a:lnTo>
                    <a:pt x="39" y="54"/>
                  </a:lnTo>
                  <a:lnTo>
                    <a:pt x="28" y="66"/>
                  </a:lnTo>
                  <a:lnTo>
                    <a:pt x="26" y="61"/>
                  </a:lnTo>
                  <a:lnTo>
                    <a:pt x="22" y="56"/>
                  </a:lnTo>
                  <a:lnTo>
                    <a:pt x="19" y="51"/>
                  </a:lnTo>
                  <a:lnTo>
                    <a:pt x="15" y="48"/>
                  </a:lnTo>
                  <a:lnTo>
                    <a:pt x="6" y="38"/>
                  </a:lnTo>
                  <a:lnTo>
                    <a:pt x="7" y="35"/>
                  </a:lnTo>
                  <a:lnTo>
                    <a:pt x="6" y="35"/>
                  </a:lnTo>
                  <a:lnTo>
                    <a:pt x="5" y="31"/>
                  </a:lnTo>
                  <a:lnTo>
                    <a:pt x="0" y="32"/>
                  </a:lnTo>
                  <a:lnTo>
                    <a:pt x="5" y="25"/>
                  </a:lnTo>
                  <a:lnTo>
                    <a:pt x="19" y="19"/>
                  </a:lnTo>
                  <a:lnTo>
                    <a:pt x="19" y="9"/>
                  </a:lnTo>
                  <a:lnTo>
                    <a:pt x="22" y="0"/>
                  </a:lnTo>
                  <a:lnTo>
                    <a:pt x="35" y="5"/>
                  </a:lnTo>
                  <a:lnTo>
                    <a:pt x="58" y="6"/>
                  </a:lnTo>
                  <a:lnTo>
                    <a:pt x="55" y="11"/>
                  </a:lnTo>
                  <a:lnTo>
                    <a:pt x="66" y="11"/>
                  </a:lnTo>
                  <a:lnTo>
                    <a:pt x="71" y="12"/>
                  </a:lnTo>
                  <a:lnTo>
                    <a:pt x="80" y="12"/>
                  </a:lnTo>
                  <a:lnTo>
                    <a:pt x="90" y="8"/>
                  </a:lnTo>
                  <a:lnTo>
                    <a:pt x="93" y="5"/>
                  </a:lnTo>
                  <a:lnTo>
                    <a:pt x="98" y="19"/>
                  </a:lnTo>
                  <a:lnTo>
                    <a:pt x="103" y="2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2" name="Freeform 43">
              <a:extLst>
                <a:ext uri="{FF2B5EF4-FFF2-40B4-BE49-F238E27FC236}">
                  <a16:creationId xmlns:a16="http://schemas.microsoft.com/office/drawing/2014/main" id="{484FB408-347A-86F9-A87A-B0B8FE84520A}"/>
                </a:ext>
              </a:extLst>
            </p:cNvPr>
            <p:cNvSpPr>
              <a:spLocks/>
            </p:cNvSpPr>
            <p:nvPr/>
          </p:nvSpPr>
          <p:spPr bwMode="auto">
            <a:xfrm>
              <a:off x="3795543" y="3526455"/>
              <a:ext cx="92751" cy="62263"/>
            </a:xfrm>
            <a:custGeom>
              <a:avLst/>
              <a:gdLst>
                <a:gd name="T0" fmla="*/ 8148 w 48"/>
                <a:gd name="T1" fmla="*/ 743268 h 32"/>
                <a:gd name="T2" fmla="*/ 7992 w 48"/>
                <a:gd name="T3" fmla="*/ 961989 h 32"/>
                <a:gd name="T4" fmla="*/ 8699 w 48"/>
                <a:gd name="T5" fmla="*/ 1146437 h 32"/>
                <a:gd name="T6" fmla="*/ 8940 w 48"/>
                <a:gd name="T7" fmla="*/ 1241046 h 32"/>
                <a:gd name="T8" fmla="*/ 10803 w 48"/>
                <a:gd name="T9" fmla="*/ 961989 h 32"/>
                <a:gd name="T10" fmla="*/ 15774 w 48"/>
                <a:gd name="T11" fmla="*/ 743268 h 32"/>
                <a:gd name="T12" fmla="*/ 15774 w 48"/>
                <a:gd name="T13" fmla="*/ 345926 h 32"/>
                <a:gd name="T14" fmla="*/ 17037 w 48"/>
                <a:gd name="T15" fmla="*/ 0 h 32"/>
                <a:gd name="T16" fmla="*/ 11669 w 48"/>
                <a:gd name="T17" fmla="*/ 76222 h 32"/>
                <a:gd name="T18" fmla="*/ 7120 w 48"/>
                <a:gd name="T19" fmla="*/ 107187 h 32"/>
                <a:gd name="T20" fmla="*/ 0 w 48"/>
                <a:gd name="T21" fmla="*/ 298079 h 32"/>
                <a:gd name="T22" fmla="*/ 2568 w 48"/>
                <a:gd name="T23" fmla="*/ 298079 h 32"/>
                <a:gd name="T24" fmla="*/ 2125 w 48"/>
                <a:gd name="T25" fmla="*/ 472746 h 32"/>
                <a:gd name="T26" fmla="*/ 4618 w 48"/>
                <a:gd name="T27" fmla="*/ 486458 h 32"/>
                <a:gd name="T28" fmla="*/ 4530 w 48"/>
                <a:gd name="T29" fmla="*/ 589463 h 32"/>
                <a:gd name="T30" fmla="*/ 8148 w 48"/>
                <a:gd name="T31" fmla="*/ 589463 h 32"/>
                <a:gd name="T32" fmla="*/ 8940 w 48"/>
                <a:gd name="T33" fmla="*/ 627571 h 32"/>
                <a:gd name="T34" fmla="*/ 6743 w 48"/>
                <a:gd name="T35" fmla="*/ 684081 h 32"/>
                <a:gd name="T36" fmla="*/ 8148 w 48"/>
                <a:gd name="T37" fmla="*/ 743268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
                <a:gd name="T58" fmla="*/ 0 h 32"/>
                <a:gd name="T59" fmla="*/ 48 w 48"/>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 h="32">
                  <a:moveTo>
                    <a:pt x="23" y="19"/>
                  </a:moveTo>
                  <a:lnTo>
                    <a:pt x="22" y="25"/>
                  </a:lnTo>
                  <a:lnTo>
                    <a:pt x="25" y="29"/>
                  </a:lnTo>
                  <a:lnTo>
                    <a:pt x="26" y="32"/>
                  </a:lnTo>
                  <a:lnTo>
                    <a:pt x="31" y="25"/>
                  </a:lnTo>
                  <a:lnTo>
                    <a:pt x="45" y="19"/>
                  </a:lnTo>
                  <a:lnTo>
                    <a:pt x="45" y="9"/>
                  </a:lnTo>
                  <a:lnTo>
                    <a:pt x="48" y="0"/>
                  </a:lnTo>
                  <a:lnTo>
                    <a:pt x="33" y="2"/>
                  </a:lnTo>
                  <a:lnTo>
                    <a:pt x="20" y="3"/>
                  </a:lnTo>
                  <a:lnTo>
                    <a:pt x="0" y="8"/>
                  </a:lnTo>
                  <a:lnTo>
                    <a:pt x="7" y="8"/>
                  </a:lnTo>
                  <a:lnTo>
                    <a:pt x="6" y="12"/>
                  </a:lnTo>
                  <a:lnTo>
                    <a:pt x="13" y="13"/>
                  </a:lnTo>
                  <a:lnTo>
                    <a:pt x="12" y="15"/>
                  </a:lnTo>
                  <a:lnTo>
                    <a:pt x="23" y="15"/>
                  </a:lnTo>
                  <a:lnTo>
                    <a:pt x="26" y="16"/>
                  </a:lnTo>
                  <a:lnTo>
                    <a:pt x="19" y="18"/>
                  </a:lnTo>
                  <a:lnTo>
                    <a:pt x="23" y="1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3" name="Freeform 44">
              <a:extLst>
                <a:ext uri="{FF2B5EF4-FFF2-40B4-BE49-F238E27FC236}">
                  <a16:creationId xmlns:a16="http://schemas.microsoft.com/office/drawing/2014/main" id="{ACF3596D-3073-9709-53D6-2052BE72D396}"/>
                </a:ext>
              </a:extLst>
            </p:cNvPr>
            <p:cNvSpPr>
              <a:spLocks/>
            </p:cNvSpPr>
            <p:nvPr/>
          </p:nvSpPr>
          <p:spPr bwMode="auto">
            <a:xfrm>
              <a:off x="4043413" y="3600867"/>
              <a:ext cx="183903" cy="226275"/>
            </a:xfrm>
            <a:custGeom>
              <a:avLst/>
              <a:gdLst>
                <a:gd name="T0" fmla="*/ 20034 w 95"/>
                <a:gd name="T1" fmla="*/ 486214 h 113"/>
                <a:gd name="T2" fmla="*/ 17653 w 95"/>
                <a:gd name="T3" fmla="*/ 318673 h 113"/>
                <a:gd name="T4" fmla="*/ 13672 w 95"/>
                <a:gd name="T5" fmla="*/ 486214 h 113"/>
                <a:gd name="T6" fmla="*/ 12967 w 95"/>
                <a:gd name="T7" fmla="*/ 0 h 113"/>
                <a:gd name="T8" fmla="*/ 10770 w 95"/>
                <a:gd name="T9" fmla="*/ 318673 h 113"/>
                <a:gd name="T10" fmla="*/ 8408 w 95"/>
                <a:gd name="T11" fmla="*/ 547219 h 113"/>
                <a:gd name="T12" fmla="*/ 4740 w 95"/>
                <a:gd name="T13" fmla="*/ 456859 h 113"/>
                <a:gd name="T14" fmla="*/ 3404 w 95"/>
                <a:gd name="T15" fmla="*/ 547219 h 113"/>
                <a:gd name="T16" fmla="*/ 3235 w 95"/>
                <a:gd name="T17" fmla="*/ 1612393 h 113"/>
                <a:gd name="T18" fmla="*/ 3404 w 95"/>
                <a:gd name="T19" fmla="*/ 1823230 h 113"/>
                <a:gd name="T20" fmla="*/ 4121 w 95"/>
                <a:gd name="T21" fmla="*/ 2053875 h 113"/>
                <a:gd name="T22" fmla="*/ 4740 w 95"/>
                <a:gd name="T23" fmla="*/ 2593041 h 113"/>
                <a:gd name="T24" fmla="*/ 4121 w 95"/>
                <a:gd name="T25" fmla="*/ 2825264 h 113"/>
                <a:gd name="T26" fmla="*/ 1823 w 95"/>
                <a:gd name="T27" fmla="*/ 2825264 h 113"/>
                <a:gd name="T28" fmla="*/ 2207 w 95"/>
                <a:gd name="T29" fmla="*/ 3433724 h 113"/>
                <a:gd name="T30" fmla="*/ 2 w 95"/>
                <a:gd name="T31" fmla="*/ 3887441 h 113"/>
                <a:gd name="T32" fmla="*/ 0 w 95"/>
                <a:gd name="T33" fmla="*/ 3966446 h 113"/>
                <a:gd name="T34" fmla="*/ 0 w 95"/>
                <a:gd name="T35" fmla="*/ 5092529 h 113"/>
                <a:gd name="T36" fmla="*/ 0 w 95"/>
                <a:gd name="T37" fmla="*/ 5329450 h 113"/>
                <a:gd name="T38" fmla="*/ 4121 w 95"/>
                <a:gd name="T39" fmla="*/ 5933079 h 113"/>
                <a:gd name="T40" fmla="*/ 6946 w 95"/>
                <a:gd name="T41" fmla="*/ 6407993 h 113"/>
                <a:gd name="T42" fmla="*/ 5738 w 95"/>
                <a:gd name="T43" fmla="*/ 7989818 h 113"/>
                <a:gd name="T44" fmla="*/ 13037 w 95"/>
                <a:gd name="T45" fmla="*/ 7518487 h 113"/>
                <a:gd name="T46" fmla="*/ 20896 w 95"/>
                <a:gd name="T47" fmla="*/ 7057300 h 113"/>
                <a:gd name="T48" fmla="*/ 19002 w 95"/>
                <a:gd name="T49" fmla="*/ 7021156 h 113"/>
                <a:gd name="T50" fmla="*/ 26457 w 95"/>
                <a:gd name="T51" fmla="*/ 6839285 h 113"/>
                <a:gd name="T52" fmla="*/ 22533 w 95"/>
                <a:gd name="T53" fmla="*/ 7021156 h 113"/>
                <a:gd name="T54" fmla="*/ 27277 w 95"/>
                <a:gd name="T55" fmla="*/ 6839285 h 113"/>
                <a:gd name="T56" fmla="*/ 30802 w 95"/>
                <a:gd name="T57" fmla="*/ 6839285 h 113"/>
                <a:gd name="T58" fmla="*/ 32027 w 95"/>
                <a:gd name="T59" fmla="*/ 7057300 h 113"/>
                <a:gd name="T60" fmla="*/ 33707 w 95"/>
                <a:gd name="T61" fmla="*/ 6839285 h 113"/>
                <a:gd name="T62" fmla="*/ 32179 w 95"/>
                <a:gd name="T63" fmla="*/ 5874217 h 113"/>
                <a:gd name="T64" fmla="*/ 30802 w 95"/>
                <a:gd name="T65" fmla="*/ 4897472 h 113"/>
                <a:gd name="T66" fmla="*/ 33360 w 95"/>
                <a:gd name="T67" fmla="*/ 3966446 h 113"/>
                <a:gd name="T68" fmla="*/ 35364 w 95"/>
                <a:gd name="T69" fmla="*/ 3198021 h 113"/>
                <a:gd name="T70" fmla="*/ 33996 w 95"/>
                <a:gd name="T71" fmla="*/ 1588261 h 113"/>
                <a:gd name="T72" fmla="*/ 28865 w 95"/>
                <a:gd name="T73" fmla="*/ 938978 h 113"/>
                <a:gd name="T74" fmla="*/ 23200 w 95"/>
                <a:gd name="T75" fmla="*/ 1165348 h 113"/>
                <a:gd name="T76" fmla="*/ 20034 w 95"/>
                <a:gd name="T77" fmla="*/ 486214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5"/>
                <a:gd name="T118" fmla="*/ 0 h 113"/>
                <a:gd name="T119" fmla="*/ 95 w 95"/>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5" h="113">
                  <a:moveTo>
                    <a:pt x="54" y="7"/>
                  </a:moveTo>
                  <a:lnTo>
                    <a:pt x="47" y="4"/>
                  </a:lnTo>
                  <a:lnTo>
                    <a:pt x="37" y="7"/>
                  </a:lnTo>
                  <a:lnTo>
                    <a:pt x="34" y="0"/>
                  </a:lnTo>
                  <a:lnTo>
                    <a:pt x="29" y="4"/>
                  </a:lnTo>
                  <a:lnTo>
                    <a:pt x="22" y="8"/>
                  </a:lnTo>
                  <a:lnTo>
                    <a:pt x="12" y="6"/>
                  </a:lnTo>
                  <a:lnTo>
                    <a:pt x="9" y="8"/>
                  </a:lnTo>
                  <a:lnTo>
                    <a:pt x="8" y="23"/>
                  </a:lnTo>
                  <a:lnTo>
                    <a:pt x="9" y="26"/>
                  </a:lnTo>
                  <a:lnTo>
                    <a:pt x="11" y="29"/>
                  </a:lnTo>
                  <a:lnTo>
                    <a:pt x="12" y="36"/>
                  </a:lnTo>
                  <a:lnTo>
                    <a:pt x="11" y="40"/>
                  </a:lnTo>
                  <a:lnTo>
                    <a:pt x="5" y="40"/>
                  </a:lnTo>
                  <a:lnTo>
                    <a:pt x="6" y="49"/>
                  </a:lnTo>
                  <a:lnTo>
                    <a:pt x="2" y="55"/>
                  </a:lnTo>
                  <a:lnTo>
                    <a:pt x="0" y="56"/>
                  </a:lnTo>
                  <a:lnTo>
                    <a:pt x="0" y="72"/>
                  </a:lnTo>
                  <a:lnTo>
                    <a:pt x="0" y="75"/>
                  </a:lnTo>
                  <a:lnTo>
                    <a:pt x="11" y="84"/>
                  </a:lnTo>
                  <a:lnTo>
                    <a:pt x="18" y="91"/>
                  </a:lnTo>
                  <a:lnTo>
                    <a:pt x="15" y="113"/>
                  </a:lnTo>
                  <a:lnTo>
                    <a:pt x="35" y="106"/>
                  </a:lnTo>
                  <a:lnTo>
                    <a:pt x="56" y="100"/>
                  </a:lnTo>
                  <a:lnTo>
                    <a:pt x="50" y="99"/>
                  </a:lnTo>
                  <a:lnTo>
                    <a:pt x="70" y="97"/>
                  </a:lnTo>
                  <a:lnTo>
                    <a:pt x="60" y="99"/>
                  </a:lnTo>
                  <a:lnTo>
                    <a:pt x="73" y="97"/>
                  </a:lnTo>
                  <a:lnTo>
                    <a:pt x="83" y="97"/>
                  </a:lnTo>
                  <a:lnTo>
                    <a:pt x="85" y="100"/>
                  </a:lnTo>
                  <a:lnTo>
                    <a:pt x="90" y="97"/>
                  </a:lnTo>
                  <a:lnTo>
                    <a:pt x="86" y="83"/>
                  </a:lnTo>
                  <a:lnTo>
                    <a:pt x="83" y="69"/>
                  </a:lnTo>
                  <a:lnTo>
                    <a:pt x="89" y="56"/>
                  </a:lnTo>
                  <a:lnTo>
                    <a:pt x="95" y="45"/>
                  </a:lnTo>
                  <a:lnTo>
                    <a:pt x="92" y="22"/>
                  </a:lnTo>
                  <a:lnTo>
                    <a:pt x="77" y="13"/>
                  </a:lnTo>
                  <a:lnTo>
                    <a:pt x="63" y="17"/>
                  </a:lnTo>
                  <a:lnTo>
                    <a:pt x="54"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4" name="Freeform 45">
              <a:extLst>
                <a:ext uri="{FF2B5EF4-FFF2-40B4-BE49-F238E27FC236}">
                  <a16:creationId xmlns:a16="http://schemas.microsoft.com/office/drawing/2014/main" id="{332B0CDB-4B0B-36B3-C1F6-E4E6C40C513C}"/>
                </a:ext>
              </a:extLst>
            </p:cNvPr>
            <p:cNvSpPr>
              <a:spLocks/>
            </p:cNvSpPr>
            <p:nvPr/>
          </p:nvSpPr>
          <p:spPr bwMode="auto">
            <a:xfrm>
              <a:off x="3899489" y="3622127"/>
              <a:ext cx="89553" cy="112378"/>
            </a:xfrm>
            <a:custGeom>
              <a:avLst/>
              <a:gdLst>
                <a:gd name="T0" fmla="*/ 20513 w 46"/>
                <a:gd name="T1" fmla="*/ 1766529 h 56"/>
                <a:gd name="T2" fmla="*/ 16970 w 46"/>
                <a:gd name="T3" fmla="*/ 2523613 h 56"/>
                <a:gd name="T4" fmla="*/ 13940 w 46"/>
                <a:gd name="T5" fmla="*/ 3132166 h 56"/>
                <a:gd name="T6" fmla="*/ 12044 w 46"/>
                <a:gd name="T7" fmla="*/ 3546880 h 56"/>
                <a:gd name="T8" fmla="*/ 4614 w 46"/>
                <a:gd name="T9" fmla="*/ 3059021 h 56"/>
                <a:gd name="T10" fmla="*/ 6346 w 46"/>
                <a:gd name="T11" fmla="*/ 2836681 h 56"/>
                <a:gd name="T12" fmla="*/ 4614 w 46"/>
                <a:gd name="T13" fmla="*/ 2677994 h 56"/>
                <a:gd name="T14" fmla="*/ 0 w 46"/>
                <a:gd name="T15" fmla="*/ 1962972 h 56"/>
                <a:gd name="T16" fmla="*/ 2557 w 46"/>
                <a:gd name="T17" fmla="*/ 1737972 h 56"/>
                <a:gd name="T18" fmla="*/ 0 w 46"/>
                <a:gd name="T19" fmla="*/ 1586645 h 56"/>
                <a:gd name="T20" fmla="*/ 1725 w 46"/>
                <a:gd name="T21" fmla="*/ 1374080 h 56"/>
                <a:gd name="T22" fmla="*/ 0 w 46"/>
                <a:gd name="T23" fmla="*/ 1166266 h 56"/>
                <a:gd name="T24" fmla="*/ 4614 w 46"/>
                <a:gd name="T25" fmla="*/ 417287 h 56"/>
                <a:gd name="T26" fmla="*/ 13940 w 46"/>
                <a:gd name="T27" fmla="*/ 0 h 56"/>
                <a:gd name="T28" fmla="*/ 18391 w 46"/>
                <a:gd name="T29" fmla="*/ 1166266 h 56"/>
                <a:gd name="T30" fmla="*/ 17849 w 46"/>
                <a:gd name="T31" fmla="*/ 1824353 h 56"/>
                <a:gd name="T32" fmla="*/ 20513 w 46"/>
                <a:gd name="T33" fmla="*/ 1766529 h 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56"/>
                <a:gd name="T53" fmla="*/ 46 w 46"/>
                <a:gd name="T54" fmla="*/ 56 h 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56">
                  <a:moveTo>
                    <a:pt x="46" y="28"/>
                  </a:moveTo>
                  <a:lnTo>
                    <a:pt x="39" y="40"/>
                  </a:lnTo>
                  <a:lnTo>
                    <a:pt x="32" y="50"/>
                  </a:lnTo>
                  <a:lnTo>
                    <a:pt x="27" y="56"/>
                  </a:lnTo>
                  <a:lnTo>
                    <a:pt x="11" y="48"/>
                  </a:lnTo>
                  <a:lnTo>
                    <a:pt x="14" y="45"/>
                  </a:lnTo>
                  <a:lnTo>
                    <a:pt x="11" y="42"/>
                  </a:lnTo>
                  <a:lnTo>
                    <a:pt x="0" y="31"/>
                  </a:lnTo>
                  <a:lnTo>
                    <a:pt x="6" y="27"/>
                  </a:lnTo>
                  <a:lnTo>
                    <a:pt x="0" y="25"/>
                  </a:lnTo>
                  <a:lnTo>
                    <a:pt x="4" y="22"/>
                  </a:lnTo>
                  <a:lnTo>
                    <a:pt x="0" y="18"/>
                  </a:lnTo>
                  <a:lnTo>
                    <a:pt x="11" y="6"/>
                  </a:lnTo>
                  <a:lnTo>
                    <a:pt x="32" y="0"/>
                  </a:lnTo>
                  <a:lnTo>
                    <a:pt x="42" y="18"/>
                  </a:lnTo>
                  <a:lnTo>
                    <a:pt x="40" y="29"/>
                  </a:lnTo>
                  <a:lnTo>
                    <a:pt x="46" y="2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5" name="Freeform 46">
              <a:extLst>
                <a:ext uri="{FF2B5EF4-FFF2-40B4-BE49-F238E27FC236}">
                  <a16:creationId xmlns:a16="http://schemas.microsoft.com/office/drawing/2014/main" id="{E5AA0AD1-950D-91EF-AB0D-027033E111DF}"/>
                </a:ext>
              </a:extLst>
            </p:cNvPr>
            <p:cNvSpPr>
              <a:spLocks/>
            </p:cNvSpPr>
            <p:nvPr/>
          </p:nvSpPr>
          <p:spPr bwMode="auto">
            <a:xfrm>
              <a:off x="4296081" y="3582644"/>
              <a:ext cx="55970" cy="183753"/>
            </a:xfrm>
            <a:custGeom>
              <a:avLst/>
              <a:gdLst>
                <a:gd name="T0" fmla="*/ 4478 w 29"/>
                <a:gd name="T1" fmla="*/ 184523 h 92"/>
                <a:gd name="T2" fmla="*/ 0 w 29"/>
                <a:gd name="T3" fmla="*/ 0 h 92"/>
                <a:gd name="T4" fmla="*/ 1064 w 29"/>
                <a:gd name="T5" fmla="*/ 374126 h 92"/>
                <a:gd name="T6" fmla="*/ 3074 w 29"/>
                <a:gd name="T7" fmla="*/ 1249998 h 92"/>
                <a:gd name="T8" fmla="*/ 3074 w 29"/>
                <a:gd name="T9" fmla="*/ 1779889 h 92"/>
                <a:gd name="T10" fmla="*/ 3289 w 29"/>
                <a:gd name="T11" fmla="*/ 2398364 h 92"/>
                <a:gd name="T12" fmla="*/ 4478 w 29"/>
                <a:gd name="T13" fmla="*/ 3118304 h 92"/>
                <a:gd name="T14" fmla="*/ 4478 w 29"/>
                <a:gd name="T15" fmla="*/ 3918839 h 92"/>
                <a:gd name="T16" fmla="*/ 4478 w 29"/>
                <a:gd name="T17" fmla="*/ 4735431 h 92"/>
                <a:gd name="T18" fmla="*/ 7612 w 29"/>
                <a:gd name="T19" fmla="*/ 5284412 h 92"/>
                <a:gd name="T20" fmla="*/ 10026 w 29"/>
                <a:gd name="T21" fmla="*/ 5122567 h 92"/>
                <a:gd name="T22" fmla="*/ 9499 w 29"/>
                <a:gd name="T23" fmla="*/ 4345167 h 92"/>
                <a:gd name="T24" fmla="*/ 9499 w 29"/>
                <a:gd name="T25" fmla="*/ 3520508 h 92"/>
                <a:gd name="T26" fmla="*/ 9499 w 29"/>
                <a:gd name="T27" fmla="*/ 2752163 h 92"/>
                <a:gd name="T28" fmla="*/ 8528 w 29"/>
                <a:gd name="T29" fmla="*/ 2005593 h 92"/>
                <a:gd name="T30" fmla="*/ 8421 w 29"/>
                <a:gd name="T31" fmla="*/ 1128015 h 92"/>
                <a:gd name="T32" fmla="*/ 5404 w 29"/>
                <a:gd name="T33" fmla="*/ 556350 h 92"/>
                <a:gd name="T34" fmla="*/ 6307 w 29"/>
                <a:gd name="T35" fmla="*/ 184523 h 92"/>
                <a:gd name="T36" fmla="*/ 4478 w 29"/>
                <a:gd name="T37" fmla="*/ 184523 h 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
                <a:gd name="T58" fmla="*/ 0 h 92"/>
                <a:gd name="T59" fmla="*/ 29 w 29"/>
                <a:gd name="T60" fmla="*/ 92 h 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 h="92">
                  <a:moveTo>
                    <a:pt x="13" y="3"/>
                  </a:moveTo>
                  <a:lnTo>
                    <a:pt x="0" y="0"/>
                  </a:lnTo>
                  <a:lnTo>
                    <a:pt x="3" y="6"/>
                  </a:lnTo>
                  <a:lnTo>
                    <a:pt x="9" y="22"/>
                  </a:lnTo>
                  <a:lnTo>
                    <a:pt x="9" y="31"/>
                  </a:lnTo>
                  <a:lnTo>
                    <a:pt x="10" y="42"/>
                  </a:lnTo>
                  <a:lnTo>
                    <a:pt x="13" y="54"/>
                  </a:lnTo>
                  <a:lnTo>
                    <a:pt x="13" y="68"/>
                  </a:lnTo>
                  <a:lnTo>
                    <a:pt x="13" y="83"/>
                  </a:lnTo>
                  <a:lnTo>
                    <a:pt x="22" y="92"/>
                  </a:lnTo>
                  <a:lnTo>
                    <a:pt x="29" y="89"/>
                  </a:lnTo>
                  <a:lnTo>
                    <a:pt x="28" y="76"/>
                  </a:lnTo>
                  <a:lnTo>
                    <a:pt x="28" y="62"/>
                  </a:lnTo>
                  <a:lnTo>
                    <a:pt x="28" y="48"/>
                  </a:lnTo>
                  <a:lnTo>
                    <a:pt x="26" y="35"/>
                  </a:lnTo>
                  <a:lnTo>
                    <a:pt x="25" y="20"/>
                  </a:lnTo>
                  <a:lnTo>
                    <a:pt x="16" y="10"/>
                  </a:lnTo>
                  <a:lnTo>
                    <a:pt x="18" y="3"/>
                  </a:lnTo>
                  <a:lnTo>
                    <a:pt x="13"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6" name="Freeform 47">
              <a:extLst>
                <a:ext uri="{FF2B5EF4-FFF2-40B4-BE49-F238E27FC236}">
                  <a16:creationId xmlns:a16="http://schemas.microsoft.com/office/drawing/2014/main" id="{0957DF01-E974-5DFF-D806-A4CE45A8310A}"/>
                </a:ext>
              </a:extLst>
            </p:cNvPr>
            <p:cNvSpPr>
              <a:spLocks/>
            </p:cNvSpPr>
            <p:nvPr/>
          </p:nvSpPr>
          <p:spPr bwMode="auto">
            <a:xfrm>
              <a:off x="4046611" y="2651731"/>
              <a:ext cx="610879" cy="639338"/>
            </a:xfrm>
            <a:custGeom>
              <a:avLst/>
              <a:gdLst>
                <a:gd name="T0" fmla="*/ 0 w 318"/>
                <a:gd name="T1" fmla="*/ 11806865 h 318"/>
                <a:gd name="T2" fmla="*/ 4036 w 318"/>
                <a:gd name="T3" fmla="*/ 13021388 h 318"/>
                <a:gd name="T4" fmla="*/ 12624 w 318"/>
                <a:gd name="T5" fmla="*/ 14453904 h 318"/>
                <a:gd name="T6" fmla="*/ 20516 w 318"/>
                <a:gd name="T7" fmla="*/ 15802046 h 318"/>
                <a:gd name="T8" fmla="*/ 27554 w 318"/>
                <a:gd name="T9" fmla="*/ 17085006 h 318"/>
                <a:gd name="T10" fmla="*/ 34046 w 318"/>
                <a:gd name="T11" fmla="*/ 18325555 h 318"/>
                <a:gd name="T12" fmla="*/ 40475 w 318"/>
                <a:gd name="T13" fmla="*/ 19574386 h 318"/>
                <a:gd name="T14" fmla="*/ 43774 w 318"/>
                <a:gd name="T15" fmla="*/ 20579479 h 318"/>
                <a:gd name="T16" fmla="*/ 52747 w 318"/>
                <a:gd name="T17" fmla="*/ 21712882 h 318"/>
                <a:gd name="T18" fmla="*/ 58406 w 318"/>
                <a:gd name="T19" fmla="*/ 22659526 h 318"/>
                <a:gd name="T20" fmla="*/ 65512 w 318"/>
                <a:gd name="T21" fmla="*/ 22332273 h 318"/>
                <a:gd name="T22" fmla="*/ 73039 w 318"/>
                <a:gd name="T23" fmla="*/ 20501242 h 318"/>
                <a:gd name="T24" fmla="*/ 83203 w 318"/>
                <a:gd name="T25" fmla="*/ 18820237 h 318"/>
                <a:gd name="T26" fmla="*/ 93489 w 318"/>
                <a:gd name="T27" fmla="*/ 17186048 h 318"/>
                <a:gd name="T28" fmla="*/ 86240 w 318"/>
                <a:gd name="T29" fmla="*/ 15941232 h 318"/>
                <a:gd name="T30" fmla="*/ 81314 w 318"/>
                <a:gd name="T31" fmla="*/ 13747546 h 318"/>
                <a:gd name="T32" fmla="*/ 83203 w 318"/>
                <a:gd name="T33" fmla="*/ 11806865 h 318"/>
                <a:gd name="T34" fmla="*/ 81314 w 318"/>
                <a:gd name="T35" fmla="*/ 8912138 h 318"/>
                <a:gd name="T36" fmla="*/ 80206 w 318"/>
                <a:gd name="T37" fmla="*/ 7344703 h 318"/>
                <a:gd name="T38" fmla="*/ 75775 w 318"/>
                <a:gd name="T39" fmla="*/ 5243693 h 318"/>
                <a:gd name="T40" fmla="*/ 74053 w 318"/>
                <a:gd name="T41" fmla="*/ 3113508 h 318"/>
                <a:gd name="T42" fmla="*/ 75775 w 318"/>
                <a:gd name="T43" fmla="*/ 460229 h 318"/>
                <a:gd name="T44" fmla="*/ 69677 w 318"/>
                <a:gd name="T45" fmla="*/ 0 h 318"/>
                <a:gd name="T46" fmla="*/ 61026 w 318"/>
                <a:gd name="T47" fmla="*/ 223820 h 318"/>
                <a:gd name="T48" fmla="*/ 51318 w 318"/>
                <a:gd name="T49" fmla="*/ 223820 h 318"/>
                <a:gd name="T50" fmla="*/ 39760 w 318"/>
                <a:gd name="T51" fmla="*/ 1115952 h 318"/>
                <a:gd name="T52" fmla="*/ 33149 w 318"/>
                <a:gd name="T53" fmla="*/ 1833565 h 318"/>
                <a:gd name="T54" fmla="*/ 30335 w 318"/>
                <a:gd name="T55" fmla="*/ 2606306 h 318"/>
                <a:gd name="T56" fmla="*/ 31577 w 318"/>
                <a:gd name="T57" fmla="*/ 4571506 h 318"/>
                <a:gd name="T58" fmla="*/ 33149 w 318"/>
                <a:gd name="T59" fmla="*/ 5965916 h 318"/>
                <a:gd name="T60" fmla="*/ 22637 w 318"/>
                <a:gd name="T61" fmla="*/ 6626787 h 318"/>
                <a:gd name="T62" fmla="*/ 19123 w 318"/>
                <a:gd name="T63" fmla="*/ 8005886 h 318"/>
                <a:gd name="T64" fmla="*/ 12127 w 318"/>
                <a:gd name="T65" fmla="*/ 8912138 h 318"/>
                <a:gd name="T66" fmla="*/ 4842 w 318"/>
                <a:gd name="T67" fmla="*/ 9833177 h 31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8"/>
                <a:gd name="T103" fmla="*/ 0 h 318"/>
                <a:gd name="T104" fmla="*/ 318 w 318"/>
                <a:gd name="T105" fmla="*/ 318 h 31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8" h="318">
                  <a:moveTo>
                    <a:pt x="3" y="145"/>
                  </a:moveTo>
                  <a:lnTo>
                    <a:pt x="0" y="166"/>
                  </a:lnTo>
                  <a:lnTo>
                    <a:pt x="0" y="173"/>
                  </a:lnTo>
                  <a:lnTo>
                    <a:pt x="14" y="183"/>
                  </a:lnTo>
                  <a:lnTo>
                    <a:pt x="29" y="193"/>
                  </a:lnTo>
                  <a:lnTo>
                    <a:pt x="43" y="203"/>
                  </a:lnTo>
                  <a:lnTo>
                    <a:pt x="58" y="214"/>
                  </a:lnTo>
                  <a:lnTo>
                    <a:pt x="70" y="222"/>
                  </a:lnTo>
                  <a:lnTo>
                    <a:pt x="81" y="231"/>
                  </a:lnTo>
                  <a:lnTo>
                    <a:pt x="93" y="240"/>
                  </a:lnTo>
                  <a:lnTo>
                    <a:pt x="104" y="248"/>
                  </a:lnTo>
                  <a:lnTo>
                    <a:pt x="116" y="257"/>
                  </a:lnTo>
                  <a:lnTo>
                    <a:pt x="128" y="266"/>
                  </a:lnTo>
                  <a:lnTo>
                    <a:pt x="138" y="275"/>
                  </a:lnTo>
                  <a:lnTo>
                    <a:pt x="149" y="283"/>
                  </a:lnTo>
                  <a:lnTo>
                    <a:pt x="149" y="289"/>
                  </a:lnTo>
                  <a:lnTo>
                    <a:pt x="158" y="296"/>
                  </a:lnTo>
                  <a:lnTo>
                    <a:pt x="180" y="305"/>
                  </a:lnTo>
                  <a:lnTo>
                    <a:pt x="180" y="318"/>
                  </a:lnTo>
                  <a:lnTo>
                    <a:pt x="199" y="318"/>
                  </a:lnTo>
                  <a:lnTo>
                    <a:pt x="210" y="317"/>
                  </a:lnTo>
                  <a:lnTo>
                    <a:pt x="222" y="314"/>
                  </a:lnTo>
                  <a:lnTo>
                    <a:pt x="235" y="301"/>
                  </a:lnTo>
                  <a:lnTo>
                    <a:pt x="248" y="288"/>
                  </a:lnTo>
                  <a:lnTo>
                    <a:pt x="266" y="276"/>
                  </a:lnTo>
                  <a:lnTo>
                    <a:pt x="283" y="264"/>
                  </a:lnTo>
                  <a:lnTo>
                    <a:pt x="301" y="253"/>
                  </a:lnTo>
                  <a:lnTo>
                    <a:pt x="318" y="241"/>
                  </a:lnTo>
                  <a:lnTo>
                    <a:pt x="311" y="227"/>
                  </a:lnTo>
                  <a:lnTo>
                    <a:pt x="293" y="224"/>
                  </a:lnTo>
                  <a:lnTo>
                    <a:pt x="286" y="208"/>
                  </a:lnTo>
                  <a:lnTo>
                    <a:pt x="276" y="193"/>
                  </a:lnTo>
                  <a:lnTo>
                    <a:pt x="283" y="187"/>
                  </a:lnTo>
                  <a:lnTo>
                    <a:pt x="283" y="166"/>
                  </a:lnTo>
                  <a:lnTo>
                    <a:pt x="283" y="145"/>
                  </a:lnTo>
                  <a:lnTo>
                    <a:pt x="276" y="125"/>
                  </a:lnTo>
                  <a:lnTo>
                    <a:pt x="277" y="121"/>
                  </a:lnTo>
                  <a:lnTo>
                    <a:pt x="273" y="103"/>
                  </a:lnTo>
                  <a:lnTo>
                    <a:pt x="269" y="87"/>
                  </a:lnTo>
                  <a:lnTo>
                    <a:pt x="257" y="73"/>
                  </a:lnTo>
                  <a:lnTo>
                    <a:pt x="245" y="57"/>
                  </a:lnTo>
                  <a:lnTo>
                    <a:pt x="251" y="44"/>
                  </a:lnTo>
                  <a:lnTo>
                    <a:pt x="258" y="29"/>
                  </a:lnTo>
                  <a:lnTo>
                    <a:pt x="257" y="6"/>
                  </a:lnTo>
                  <a:lnTo>
                    <a:pt x="260" y="0"/>
                  </a:lnTo>
                  <a:lnTo>
                    <a:pt x="237" y="0"/>
                  </a:lnTo>
                  <a:lnTo>
                    <a:pt x="225" y="0"/>
                  </a:lnTo>
                  <a:lnTo>
                    <a:pt x="208" y="3"/>
                  </a:lnTo>
                  <a:lnTo>
                    <a:pt x="192" y="3"/>
                  </a:lnTo>
                  <a:lnTo>
                    <a:pt x="174" y="3"/>
                  </a:lnTo>
                  <a:lnTo>
                    <a:pt x="155" y="9"/>
                  </a:lnTo>
                  <a:lnTo>
                    <a:pt x="135" y="15"/>
                  </a:lnTo>
                  <a:lnTo>
                    <a:pt x="128" y="19"/>
                  </a:lnTo>
                  <a:lnTo>
                    <a:pt x="113" y="26"/>
                  </a:lnTo>
                  <a:lnTo>
                    <a:pt x="99" y="33"/>
                  </a:lnTo>
                  <a:lnTo>
                    <a:pt x="103" y="36"/>
                  </a:lnTo>
                  <a:lnTo>
                    <a:pt x="104" y="51"/>
                  </a:lnTo>
                  <a:lnTo>
                    <a:pt x="107" y="64"/>
                  </a:lnTo>
                  <a:lnTo>
                    <a:pt x="116" y="80"/>
                  </a:lnTo>
                  <a:lnTo>
                    <a:pt x="113" y="84"/>
                  </a:lnTo>
                  <a:lnTo>
                    <a:pt x="97" y="86"/>
                  </a:lnTo>
                  <a:lnTo>
                    <a:pt x="77" y="93"/>
                  </a:lnTo>
                  <a:lnTo>
                    <a:pt x="77" y="105"/>
                  </a:lnTo>
                  <a:lnTo>
                    <a:pt x="65" y="112"/>
                  </a:lnTo>
                  <a:lnTo>
                    <a:pt x="55" y="119"/>
                  </a:lnTo>
                  <a:lnTo>
                    <a:pt x="42" y="125"/>
                  </a:lnTo>
                  <a:lnTo>
                    <a:pt x="27" y="131"/>
                  </a:lnTo>
                  <a:lnTo>
                    <a:pt x="16" y="138"/>
                  </a:lnTo>
                  <a:lnTo>
                    <a:pt x="3" y="14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7" name="Freeform 48">
              <a:extLst>
                <a:ext uri="{FF2B5EF4-FFF2-40B4-BE49-F238E27FC236}">
                  <a16:creationId xmlns:a16="http://schemas.microsoft.com/office/drawing/2014/main" id="{FF3F6CD9-1EFF-A4F4-E311-894BF32A4314}"/>
                </a:ext>
              </a:extLst>
            </p:cNvPr>
            <p:cNvSpPr>
              <a:spLocks/>
            </p:cNvSpPr>
            <p:nvPr/>
          </p:nvSpPr>
          <p:spPr bwMode="auto">
            <a:xfrm>
              <a:off x="4577533" y="2786887"/>
              <a:ext cx="470153" cy="492032"/>
            </a:xfrm>
            <a:custGeom>
              <a:avLst/>
              <a:gdLst>
                <a:gd name="T0" fmla="*/ 65230 w 245"/>
                <a:gd name="T1" fmla="*/ 16975152 h 245"/>
                <a:gd name="T2" fmla="*/ 65230 w 245"/>
                <a:gd name="T3" fmla="*/ 16437529 h 245"/>
                <a:gd name="T4" fmla="*/ 69913 w 245"/>
                <a:gd name="T5" fmla="*/ 16437529 h 245"/>
                <a:gd name="T6" fmla="*/ 69509 w 245"/>
                <a:gd name="T7" fmla="*/ 15193712 h 245"/>
                <a:gd name="T8" fmla="*/ 69509 w 245"/>
                <a:gd name="T9" fmla="*/ 13867087 h 245"/>
                <a:gd name="T10" fmla="*/ 68801 w 245"/>
                <a:gd name="T11" fmla="*/ 12754133 h 245"/>
                <a:gd name="T12" fmla="*/ 68801 w 245"/>
                <a:gd name="T13" fmla="*/ 11537608 h 245"/>
                <a:gd name="T14" fmla="*/ 68647 w 245"/>
                <a:gd name="T15" fmla="*/ 10442150 h 245"/>
                <a:gd name="T16" fmla="*/ 68514 w 245"/>
                <a:gd name="T17" fmla="*/ 9271398 h 245"/>
                <a:gd name="T18" fmla="*/ 67882 w 245"/>
                <a:gd name="T19" fmla="*/ 8037053 h 245"/>
                <a:gd name="T20" fmla="*/ 67882 w 245"/>
                <a:gd name="T21" fmla="*/ 6923939 h 245"/>
                <a:gd name="T22" fmla="*/ 67458 w 245"/>
                <a:gd name="T23" fmla="*/ 5752171 h 245"/>
                <a:gd name="T24" fmla="*/ 66871 w 245"/>
                <a:gd name="T25" fmla="*/ 4664762 h 245"/>
                <a:gd name="T26" fmla="*/ 66648 w 245"/>
                <a:gd name="T27" fmla="*/ 3579427 h 245"/>
                <a:gd name="T28" fmla="*/ 66648 w 245"/>
                <a:gd name="T29" fmla="*/ 2705431 h 245"/>
                <a:gd name="T30" fmla="*/ 67458 w 245"/>
                <a:gd name="T31" fmla="*/ 1888406 h 245"/>
                <a:gd name="T32" fmla="*/ 65172 w 245"/>
                <a:gd name="T33" fmla="*/ 1560251 h 245"/>
                <a:gd name="T34" fmla="*/ 58328 w 245"/>
                <a:gd name="T35" fmla="*/ 1107300 h 245"/>
                <a:gd name="T36" fmla="*/ 57334 w 245"/>
                <a:gd name="T37" fmla="*/ 642203 h 245"/>
                <a:gd name="T38" fmla="*/ 51371 w 245"/>
                <a:gd name="T39" fmla="*/ 312889 h 245"/>
                <a:gd name="T40" fmla="*/ 48551 w 245"/>
                <a:gd name="T41" fmla="*/ 772902 h 245"/>
                <a:gd name="T42" fmla="*/ 45258 w 245"/>
                <a:gd name="T43" fmla="*/ 1318118 h 245"/>
                <a:gd name="T44" fmla="*/ 45377 w 245"/>
                <a:gd name="T45" fmla="*/ 2891327 h 245"/>
                <a:gd name="T46" fmla="*/ 41386 w 245"/>
                <a:gd name="T47" fmla="*/ 3579427 h 245"/>
                <a:gd name="T48" fmla="*/ 36589 w 245"/>
                <a:gd name="T49" fmla="*/ 3001559 h 245"/>
                <a:gd name="T50" fmla="*/ 31429 w 245"/>
                <a:gd name="T51" fmla="*/ 2438059 h 245"/>
                <a:gd name="T52" fmla="*/ 26522 w 245"/>
                <a:gd name="T53" fmla="*/ 2095105 h 245"/>
                <a:gd name="T54" fmla="*/ 24601 w 245"/>
                <a:gd name="T55" fmla="*/ 983273 h 245"/>
                <a:gd name="T56" fmla="*/ 19512 w 245"/>
                <a:gd name="T57" fmla="*/ 686330 h 245"/>
                <a:gd name="T58" fmla="*/ 14704 w 245"/>
                <a:gd name="T59" fmla="*/ 448261 h 245"/>
                <a:gd name="T60" fmla="*/ 8239 w 245"/>
                <a:gd name="T61" fmla="*/ 0 h 245"/>
                <a:gd name="T62" fmla="*/ 8239 w 245"/>
                <a:gd name="T63" fmla="*/ 983273 h 245"/>
                <a:gd name="T64" fmla="*/ 5572 w 245"/>
                <a:gd name="T65" fmla="*/ 1586377 h 245"/>
                <a:gd name="T66" fmla="*/ 2687 w 245"/>
                <a:gd name="T67" fmla="*/ 2235299 h 245"/>
                <a:gd name="T68" fmla="*/ 2687 w 245"/>
                <a:gd name="T69" fmla="*/ 3202407 h 245"/>
                <a:gd name="T70" fmla="*/ 1 w 245"/>
                <a:gd name="T71" fmla="*/ 3717824 h 245"/>
                <a:gd name="T72" fmla="*/ 0 w 245"/>
                <a:gd name="T73" fmla="*/ 4015048 h 245"/>
                <a:gd name="T74" fmla="*/ 1916 w 245"/>
                <a:gd name="T75" fmla="*/ 5387644 h 245"/>
                <a:gd name="T76" fmla="*/ 1916 w 245"/>
                <a:gd name="T77" fmla="*/ 6845997 h 245"/>
                <a:gd name="T78" fmla="*/ 1916 w 245"/>
                <a:gd name="T79" fmla="*/ 8277853 h 245"/>
                <a:gd name="T80" fmla="*/ 0 w 245"/>
                <a:gd name="T81" fmla="*/ 8743843 h 245"/>
                <a:gd name="T82" fmla="*/ 2759 w 245"/>
                <a:gd name="T83" fmla="*/ 9755417 h 245"/>
                <a:gd name="T84" fmla="*/ 4768 w 245"/>
                <a:gd name="T85" fmla="*/ 10850651 h 245"/>
                <a:gd name="T86" fmla="*/ 9887 w 245"/>
                <a:gd name="T87" fmla="*/ 11058110 h 245"/>
                <a:gd name="T88" fmla="*/ 11864 w 245"/>
                <a:gd name="T89" fmla="*/ 12036982 h 245"/>
                <a:gd name="T90" fmla="*/ 18188 w 245"/>
                <a:gd name="T91" fmla="*/ 12389254 h 245"/>
                <a:gd name="T92" fmla="*/ 21826 w 245"/>
                <a:gd name="T93" fmla="*/ 13175528 h 245"/>
                <a:gd name="T94" fmla="*/ 24760 w 245"/>
                <a:gd name="T95" fmla="*/ 12644770 h 245"/>
                <a:gd name="T96" fmla="*/ 29521 w 245"/>
                <a:gd name="T97" fmla="*/ 12036982 h 245"/>
                <a:gd name="T98" fmla="*/ 33842 w 245"/>
                <a:gd name="T99" fmla="*/ 12644770 h 245"/>
                <a:gd name="T100" fmla="*/ 38462 w 245"/>
                <a:gd name="T101" fmla="*/ 13282691 h 245"/>
                <a:gd name="T102" fmla="*/ 42809 w 245"/>
                <a:gd name="T103" fmla="*/ 13867087 h 245"/>
                <a:gd name="T104" fmla="*/ 47579 w 245"/>
                <a:gd name="T105" fmla="*/ 14432159 h 245"/>
                <a:gd name="T106" fmla="*/ 52141 w 245"/>
                <a:gd name="T107" fmla="*/ 15193712 h 245"/>
                <a:gd name="T108" fmla="*/ 56094 w 245"/>
                <a:gd name="T109" fmla="*/ 15773546 h 245"/>
                <a:gd name="T110" fmla="*/ 60712 w 245"/>
                <a:gd name="T111" fmla="*/ 16437529 h 245"/>
                <a:gd name="T112" fmla="*/ 65230 w 245"/>
                <a:gd name="T113" fmla="*/ 16975152 h 24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5"/>
                <a:gd name="T172" fmla="*/ 0 h 245"/>
                <a:gd name="T173" fmla="*/ 245 w 245"/>
                <a:gd name="T174" fmla="*/ 245 h 24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5" h="245">
                  <a:moveTo>
                    <a:pt x="229" y="245"/>
                  </a:moveTo>
                  <a:lnTo>
                    <a:pt x="229" y="237"/>
                  </a:lnTo>
                  <a:lnTo>
                    <a:pt x="245" y="237"/>
                  </a:lnTo>
                  <a:lnTo>
                    <a:pt x="244" y="219"/>
                  </a:lnTo>
                  <a:lnTo>
                    <a:pt x="244" y="200"/>
                  </a:lnTo>
                  <a:lnTo>
                    <a:pt x="242" y="184"/>
                  </a:lnTo>
                  <a:lnTo>
                    <a:pt x="242" y="167"/>
                  </a:lnTo>
                  <a:lnTo>
                    <a:pt x="241" y="151"/>
                  </a:lnTo>
                  <a:lnTo>
                    <a:pt x="240" y="134"/>
                  </a:lnTo>
                  <a:lnTo>
                    <a:pt x="238" y="116"/>
                  </a:lnTo>
                  <a:lnTo>
                    <a:pt x="238" y="100"/>
                  </a:lnTo>
                  <a:lnTo>
                    <a:pt x="237" y="83"/>
                  </a:lnTo>
                  <a:lnTo>
                    <a:pt x="235" y="67"/>
                  </a:lnTo>
                  <a:lnTo>
                    <a:pt x="234" y="52"/>
                  </a:lnTo>
                  <a:lnTo>
                    <a:pt x="234" y="39"/>
                  </a:lnTo>
                  <a:lnTo>
                    <a:pt x="237" y="27"/>
                  </a:lnTo>
                  <a:lnTo>
                    <a:pt x="228" y="22"/>
                  </a:lnTo>
                  <a:lnTo>
                    <a:pt x="205" y="16"/>
                  </a:lnTo>
                  <a:lnTo>
                    <a:pt x="202" y="9"/>
                  </a:lnTo>
                  <a:lnTo>
                    <a:pt x="181" y="4"/>
                  </a:lnTo>
                  <a:lnTo>
                    <a:pt x="170" y="11"/>
                  </a:lnTo>
                  <a:lnTo>
                    <a:pt x="158" y="19"/>
                  </a:lnTo>
                  <a:lnTo>
                    <a:pt x="160" y="42"/>
                  </a:lnTo>
                  <a:lnTo>
                    <a:pt x="145" y="52"/>
                  </a:lnTo>
                  <a:lnTo>
                    <a:pt x="128" y="43"/>
                  </a:lnTo>
                  <a:lnTo>
                    <a:pt x="110" y="35"/>
                  </a:lnTo>
                  <a:lnTo>
                    <a:pt x="93" y="30"/>
                  </a:lnTo>
                  <a:lnTo>
                    <a:pt x="86" y="14"/>
                  </a:lnTo>
                  <a:lnTo>
                    <a:pt x="68" y="10"/>
                  </a:lnTo>
                  <a:lnTo>
                    <a:pt x="52" y="6"/>
                  </a:lnTo>
                  <a:lnTo>
                    <a:pt x="29" y="0"/>
                  </a:lnTo>
                  <a:lnTo>
                    <a:pt x="29" y="14"/>
                  </a:lnTo>
                  <a:lnTo>
                    <a:pt x="19" y="23"/>
                  </a:lnTo>
                  <a:lnTo>
                    <a:pt x="9" y="32"/>
                  </a:lnTo>
                  <a:lnTo>
                    <a:pt x="9" y="46"/>
                  </a:lnTo>
                  <a:lnTo>
                    <a:pt x="1" y="54"/>
                  </a:lnTo>
                  <a:lnTo>
                    <a:pt x="0" y="58"/>
                  </a:lnTo>
                  <a:lnTo>
                    <a:pt x="7" y="78"/>
                  </a:lnTo>
                  <a:lnTo>
                    <a:pt x="7" y="99"/>
                  </a:lnTo>
                  <a:lnTo>
                    <a:pt x="7" y="120"/>
                  </a:lnTo>
                  <a:lnTo>
                    <a:pt x="0" y="126"/>
                  </a:lnTo>
                  <a:lnTo>
                    <a:pt x="10" y="141"/>
                  </a:lnTo>
                  <a:lnTo>
                    <a:pt x="17" y="157"/>
                  </a:lnTo>
                  <a:lnTo>
                    <a:pt x="35" y="160"/>
                  </a:lnTo>
                  <a:lnTo>
                    <a:pt x="42" y="174"/>
                  </a:lnTo>
                  <a:lnTo>
                    <a:pt x="64" y="179"/>
                  </a:lnTo>
                  <a:lnTo>
                    <a:pt x="77" y="190"/>
                  </a:lnTo>
                  <a:lnTo>
                    <a:pt x="87" y="183"/>
                  </a:lnTo>
                  <a:lnTo>
                    <a:pt x="103" y="174"/>
                  </a:lnTo>
                  <a:lnTo>
                    <a:pt x="119" y="183"/>
                  </a:lnTo>
                  <a:lnTo>
                    <a:pt x="135" y="192"/>
                  </a:lnTo>
                  <a:lnTo>
                    <a:pt x="151" y="200"/>
                  </a:lnTo>
                  <a:lnTo>
                    <a:pt x="167" y="209"/>
                  </a:lnTo>
                  <a:lnTo>
                    <a:pt x="183" y="219"/>
                  </a:lnTo>
                  <a:lnTo>
                    <a:pt x="197" y="228"/>
                  </a:lnTo>
                  <a:lnTo>
                    <a:pt x="213" y="237"/>
                  </a:lnTo>
                  <a:lnTo>
                    <a:pt x="229" y="24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8" name="Freeform 49">
              <a:extLst>
                <a:ext uri="{FF2B5EF4-FFF2-40B4-BE49-F238E27FC236}">
                  <a16:creationId xmlns:a16="http://schemas.microsoft.com/office/drawing/2014/main" id="{CB0F1674-9688-ACCF-CCC4-703DEC2DA416}"/>
                </a:ext>
              </a:extLst>
            </p:cNvPr>
            <p:cNvSpPr>
              <a:spLocks/>
            </p:cNvSpPr>
            <p:nvPr/>
          </p:nvSpPr>
          <p:spPr bwMode="auto">
            <a:xfrm>
              <a:off x="3933071" y="3083018"/>
              <a:ext cx="497340" cy="533034"/>
            </a:xfrm>
            <a:custGeom>
              <a:avLst/>
              <a:gdLst>
                <a:gd name="T0" fmla="*/ 16503 w 259"/>
                <a:gd name="T1" fmla="*/ 17737101 h 265"/>
                <a:gd name="T2" fmla="*/ 19308 w 259"/>
                <a:gd name="T3" fmla="*/ 18877215 h 265"/>
                <a:gd name="T4" fmla="*/ 23185 w 259"/>
                <a:gd name="T5" fmla="*/ 18877215 h 265"/>
                <a:gd name="T6" fmla="*/ 26712 w 259"/>
                <a:gd name="T7" fmla="*/ 18325553 h 265"/>
                <a:gd name="T8" fmla="*/ 30372 w 259"/>
                <a:gd name="T9" fmla="*/ 18592752 h 265"/>
                <a:gd name="T10" fmla="*/ 33245 w 259"/>
                <a:gd name="T11" fmla="*/ 16590919 h 265"/>
                <a:gd name="T12" fmla="*/ 36194 w 259"/>
                <a:gd name="T13" fmla="*/ 15560107 h 265"/>
                <a:gd name="T14" fmla="*/ 40141 w 259"/>
                <a:gd name="T15" fmla="*/ 15102501 h 265"/>
                <a:gd name="T16" fmla="*/ 41860 w 259"/>
                <a:gd name="T17" fmla="*/ 14453891 h 265"/>
                <a:gd name="T18" fmla="*/ 46248 w 259"/>
                <a:gd name="T19" fmla="*/ 13815515 h 265"/>
                <a:gd name="T20" fmla="*/ 52187 w 259"/>
                <a:gd name="T21" fmla="*/ 12689924 h 265"/>
                <a:gd name="T22" fmla="*/ 57559 w 259"/>
                <a:gd name="T23" fmla="*/ 12814288 h 265"/>
                <a:gd name="T24" fmla="*/ 66693 w 259"/>
                <a:gd name="T25" fmla="*/ 12396936 h 265"/>
                <a:gd name="T26" fmla="*/ 74365 w 259"/>
                <a:gd name="T27" fmla="*/ 11293712 h 265"/>
                <a:gd name="T28" fmla="*/ 74711 w 259"/>
                <a:gd name="T29" fmla="*/ 9400143 h 265"/>
                <a:gd name="T30" fmla="*/ 75246 w 259"/>
                <a:gd name="T31" fmla="*/ 7416097 h 265"/>
                <a:gd name="T32" fmla="*/ 69614 w 259"/>
                <a:gd name="T33" fmla="*/ 6452234 h 265"/>
                <a:gd name="T34" fmla="*/ 60408 w 259"/>
                <a:gd name="T35" fmla="*/ 5359209 h 265"/>
                <a:gd name="T36" fmla="*/ 57559 w 259"/>
                <a:gd name="T37" fmla="*/ 4334179 h 265"/>
                <a:gd name="T38" fmla="*/ 51056 w 259"/>
                <a:gd name="T39" fmla="*/ 3104112 h 265"/>
                <a:gd name="T40" fmla="*/ 44538 w 259"/>
                <a:gd name="T41" fmla="*/ 1833564 h 265"/>
                <a:gd name="T42" fmla="*/ 37684 w 259"/>
                <a:gd name="T43" fmla="*/ 550038 h 265"/>
                <a:gd name="T44" fmla="*/ 30372 w 259"/>
                <a:gd name="T45" fmla="*/ 0 h 265"/>
                <a:gd name="T46" fmla="*/ 26712 w 259"/>
                <a:gd name="T47" fmla="*/ 1278670 h 265"/>
                <a:gd name="T48" fmla="*/ 27840 w 259"/>
                <a:gd name="T49" fmla="*/ 4121979 h 265"/>
                <a:gd name="T50" fmla="*/ 29011 w 259"/>
                <a:gd name="T51" fmla="*/ 6766025 h 265"/>
                <a:gd name="T52" fmla="*/ 29366 w 259"/>
                <a:gd name="T53" fmla="*/ 9502557 h 265"/>
                <a:gd name="T54" fmla="*/ 31770 w 259"/>
                <a:gd name="T55" fmla="*/ 11019854 h 265"/>
                <a:gd name="T56" fmla="*/ 26136 w 259"/>
                <a:gd name="T57" fmla="*/ 12153977 h 265"/>
                <a:gd name="T58" fmla="*/ 17752 w 259"/>
                <a:gd name="T59" fmla="*/ 12153977 h 265"/>
                <a:gd name="T60" fmla="*/ 12848 w 259"/>
                <a:gd name="T61" fmla="*/ 11984991 h 265"/>
                <a:gd name="T62" fmla="*/ 5659 w 259"/>
                <a:gd name="T63" fmla="*/ 12458539 h 265"/>
                <a:gd name="T64" fmla="*/ 929 w 259"/>
                <a:gd name="T65" fmla="*/ 13124643 h 265"/>
                <a:gd name="T66" fmla="*/ 1340 w 259"/>
                <a:gd name="T67" fmla="*/ 14407649 h 265"/>
                <a:gd name="T68" fmla="*/ 3925 w 259"/>
                <a:gd name="T69" fmla="*/ 16104863 h 265"/>
                <a:gd name="T70" fmla="*/ 5988 w 259"/>
                <a:gd name="T71" fmla="*/ 16462023 h 265"/>
                <a:gd name="T72" fmla="*/ 10030 w 259"/>
                <a:gd name="T73" fmla="*/ 16538091 h 265"/>
                <a:gd name="T74" fmla="*/ 13977 w 259"/>
                <a:gd name="T75" fmla="*/ 16032935 h 265"/>
                <a:gd name="T76" fmla="*/ 16783 w 259"/>
                <a:gd name="T77" fmla="*/ 17387926 h 2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9"/>
                <a:gd name="T118" fmla="*/ 0 h 265"/>
                <a:gd name="T119" fmla="*/ 259 w 259"/>
                <a:gd name="T120" fmla="*/ 265 h 2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9" h="265">
                  <a:moveTo>
                    <a:pt x="58" y="244"/>
                  </a:moveTo>
                  <a:lnTo>
                    <a:pt x="57" y="249"/>
                  </a:lnTo>
                  <a:lnTo>
                    <a:pt x="58" y="249"/>
                  </a:lnTo>
                  <a:lnTo>
                    <a:pt x="67" y="265"/>
                  </a:lnTo>
                  <a:lnTo>
                    <a:pt x="70" y="263"/>
                  </a:lnTo>
                  <a:lnTo>
                    <a:pt x="80" y="265"/>
                  </a:lnTo>
                  <a:lnTo>
                    <a:pt x="87" y="261"/>
                  </a:lnTo>
                  <a:lnTo>
                    <a:pt x="92" y="257"/>
                  </a:lnTo>
                  <a:lnTo>
                    <a:pt x="95" y="264"/>
                  </a:lnTo>
                  <a:lnTo>
                    <a:pt x="105" y="261"/>
                  </a:lnTo>
                  <a:lnTo>
                    <a:pt x="109" y="238"/>
                  </a:lnTo>
                  <a:lnTo>
                    <a:pt x="114" y="233"/>
                  </a:lnTo>
                  <a:lnTo>
                    <a:pt x="122" y="225"/>
                  </a:lnTo>
                  <a:lnTo>
                    <a:pt x="125" y="218"/>
                  </a:lnTo>
                  <a:lnTo>
                    <a:pt x="128" y="209"/>
                  </a:lnTo>
                  <a:lnTo>
                    <a:pt x="138" y="212"/>
                  </a:lnTo>
                  <a:lnTo>
                    <a:pt x="141" y="206"/>
                  </a:lnTo>
                  <a:lnTo>
                    <a:pt x="144" y="203"/>
                  </a:lnTo>
                  <a:lnTo>
                    <a:pt x="150" y="194"/>
                  </a:lnTo>
                  <a:lnTo>
                    <a:pt x="159" y="194"/>
                  </a:lnTo>
                  <a:lnTo>
                    <a:pt x="161" y="188"/>
                  </a:lnTo>
                  <a:lnTo>
                    <a:pt x="180" y="178"/>
                  </a:lnTo>
                  <a:lnTo>
                    <a:pt x="196" y="180"/>
                  </a:lnTo>
                  <a:lnTo>
                    <a:pt x="198" y="180"/>
                  </a:lnTo>
                  <a:lnTo>
                    <a:pt x="212" y="174"/>
                  </a:lnTo>
                  <a:lnTo>
                    <a:pt x="230" y="174"/>
                  </a:lnTo>
                  <a:lnTo>
                    <a:pt x="247" y="172"/>
                  </a:lnTo>
                  <a:lnTo>
                    <a:pt x="256" y="158"/>
                  </a:lnTo>
                  <a:lnTo>
                    <a:pt x="256" y="145"/>
                  </a:lnTo>
                  <a:lnTo>
                    <a:pt x="257" y="132"/>
                  </a:lnTo>
                  <a:lnTo>
                    <a:pt x="257" y="117"/>
                  </a:lnTo>
                  <a:lnTo>
                    <a:pt x="259" y="104"/>
                  </a:lnTo>
                  <a:lnTo>
                    <a:pt x="240" y="104"/>
                  </a:lnTo>
                  <a:lnTo>
                    <a:pt x="240" y="91"/>
                  </a:lnTo>
                  <a:lnTo>
                    <a:pt x="218" y="82"/>
                  </a:lnTo>
                  <a:lnTo>
                    <a:pt x="209" y="75"/>
                  </a:lnTo>
                  <a:lnTo>
                    <a:pt x="209" y="69"/>
                  </a:lnTo>
                  <a:lnTo>
                    <a:pt x="198" y="61"/>
                  </a:lnTo>
                  <a:lnTo>
                    <a:pt x="188" y="52"/>
                  </a:lnTo>
                  <a:lnTo>
                    <a:pt x="176" y="43"/>
                  </a:lnTo>
                  <a:lnTo>
                    <a:pt x="164" y="34"/>
                  </a:lnTo>
                  <a:lnTo>
                    <a:pt x="153" y="26"/>
                  </a:lnTo>
                  <a:lnTo>
                    <a:pt x="141" y="17"/>
                  </a:lnTo>
                  <a:lnTo>
                    <a:pt x="130" y="8"/>
                  </a:lnTo>
                  <a:lnTo>
                    <a:pt x="118" y="0"/>
                  </a:lnTo>
                  <a:lnTo>
                    <a:pt x="105" y="0"/>
                  </a:lnTo>
                  <a:lnTo>
                    <a:pt x="90" y="0"/>
                  </a:lnTo>
                  <a:lnTo>
                    <a:pt x="92" y="18"/>
                  </a:lnTo>
                  <a:lnTo>
                    <a:pt x="93" y="37"/>
                  </a:lnTo>
                  <a:lnTo>
                    <a:pt x="96" y="58"/>
                  </a:lnTo>
                  <a:lnTo>
                    <a:pt x="98" y="77"/>
                  </a:lnTo>
                  <a:lnTo>
                    <a:pt x="99" y="95"/>
                  </a:lnTo>
                  <a:lnTo>
                    <a:pt x="100" y="114"/>
                  </a:lnTo>
                  <a:lnTo>
                    <a:pt x="102" y="133"/>
                  </a:lnTo>
                  <a:lnTo>
                    <a:pt x="105" y="152"/>
                  </a:lnTo>
                  <a:lnTo>
                    <a:pt x="109" y="155"/>
                  </a:lnTo>
                  <a:lnTo>
                    <a:pt x="106" y="171"/>
                  </a:lnTo>
                  <a:lnTo>
                    <a:pt x="90" y="171"/>
                  </a:lnTo>
                  <a:lnTo>
                    <a:pt x="76" y="171"/>
                  </a:lnTo>
                  <a:lnTo>
                    <a:pt x="61" y="171"/>
                  </a:lnTo>
                  <a:lnTo>
                    <a:pt x="45" y="171"/>
                  </a:lnTo>
                  <a:lnTo>
                    <a:pt x="44" y="168"/>
                  </a:lnTo>
                  <a:lnTo>
                    <a:pt x="22" y="174"/>
                  </a:lnTo>
                  <a:lnTo>
                    <a:pt x="19" y="175"/>
                  </a:lnTo>
                  <a:lnTo>
                    <a:pt x="10" y="170"/>
                  </a:lnTo>
                  <a:lnTo>
                    <a:pt x="3" y="184"/>
                  </a:lnTo>
                  <a:lnTo>
                    <a:pt x="0" y="184"/>
                  </a:lnTo>
                  <a:lnTo>
                    <a:pt x="5" y="202"/>
                  </a:lnTo>
                  <a:lnTo>
                    <a:pt x="9" y="209"/>
                  </a:lnTo>
                  <a:lnTo>
                    <a:pt x="13" y="226"/>
                  </a:lnTo>
                  <a:lnTo>
                    <a:pt x="10" y="231"/>
                  </a:lnTo>
                  <a:lnTo>
                    <a:pt x="21" y="231"/>
                  </a:lnTo>
                  <a:lnTo>
                    <a:pt x="26" y="232"/>
                  </a:lnTo>
                  <a:lnTo>
                    <a:pt x="35" y="232"/>
                  </a:lnTo>
                  <a:lnTo>
                    <a:pt x="45" y="228"/>
                  </a:lnTo>
                  <a:lnTo>
                    <a:pt x="48" y="225"/>
                  </a:lnTo>
                  <a:lnTo>
                    <a:pt x="53" y="239"/>
                  </a:lnTo>
                  <a:lnTo>
                    <a:pt x="58" y="24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09" name="Freeform 50">
              <a:extLst>
                <a:ext uri="{FF2B5EF4-FFF2-40B4-BE49-F238E27FC236}">
                  <a16:creationId xmlns:a16="http://schemas.microsoft.com/office/drawing/2014/main" id="{F37052EF-202B-5BD7-D02A-FFD0C4CE45C3}"/>
                </a:ext>
              </a:extLst>
            </p:cNvPr>
            <p:cNvSpPr>
              <a:spLocks/>
            </p:cNvSpPr>
            <p:nvPr/>
          </p:nvSpPr>
          <p:spPr bwMode="auto">
            <a:xfrm>
              <a:off x="4710262" y="2686659"/>
              <a:ext cx="6396" cy="4556"/>
            </a:xfrm>
            <a:custGeom>
              <a:avLst/>
              <a:gdLst>
                <a:gd name="T0" fmla="*/ 2147483647 w 2"/>
                <a:gd name="T1" fmla="*/ 2 h 3"/>
                <a:gd name="T2" fmla="*/ 2147483647 w 2"/>
                <a:gd name="T3" fmla="*/ 3 h 3"/>
                <a:gd name="T4" fmla="*/ 0 w 2"/>
                <a:gd name="T5" fmla="*/ 0 h 3"/>
                <a:gd name="T6" fmla="*/ 2147483647 w 2"/>
                <a:gd name="T7" fmla="*/ 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2"/>
                  </a:moveTo>
                  <a:lnTo>
                    <a:pt x="1" y="3"/>
                  </a:lnTo>
                  <a:lnTo>
                    <a:pt x="0" y="0"/>
                  </a:lnTo>
                  <a:lnTo>
                    <a:pt x="2"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0" name="Freeform 51">
              <a:extLst>
                <a:ext uri="{FF2B5EF4-FFF2-40B4-BE49-F238E27FC236}">
                  <a16:creationId xmlns:a16="http://schemas.microsoft.com/office/drawing/2014/main" id="{21DE2BC1-D3D3-17A7-062E-E1031C76D9A3}"/>
                </a:ext>
              </a:extLst>
            </p:cNvPr>
            <p:cNvSpPr>
              <a:spLocks/>
            </p:cNvSpPr>
            <p:nvPr/>
          </p:nvSpPr>
          <p:spPr bwMode="auto">
            <a:xfrm>
              <a:off x="3793945" y="2999494"/>
              <a:ext cx="364609" cy="454068"/>
            </a:xfrm>
            <a:custGeom>
              <a:avLst/>
              <a:gdLst>
                <a:gd name="T0" fmla="*/ 2299 w 190"/>
                <a:gd name="T1" fmla="*/ 14376585 h 225"/>
                <a:gd name="T2" fmla="*/ 1331 w 190"/>
                <a:gd name="T3" fmla="*/ 14873965 h 225"/>
                <a:gd name="T4" fmla="*/ 2759 w 190"/>
                <a:gd name="T5" fmla="*/ 13225075 h 225"/>
                <a:gd name="T6" fmla="*/ 3973 w 190"/>
                <a:gd name="T7" fmla="*/ 11799922 h 225"/>
                <a:gd name="T8" fmla="*/ 2299 w 190"/>
                <a:gd name="T9" fmla="*/ 10361122 h 225"/>
                <a:gd name="T10" fmla="*/ 2759 w 190"/>
                <a:gd name="T11" fmla="*/ 9094406 h 225"/>
                <a:gd name="T12" fmla="*/ 0 w 190"/>
                <a:gd name="T13" fmla="*/ 8279682 h 225"/>
                <a:gd name="T14" fmla="*/ 0 w 190"/>
                <a:gd name="T15" fmla="*/ 8689125 h 225"/>
                <a:gd name="T16" fmla="*/ 1 w 190"/>
                <a:gd name="T17" fmla="*/ 7892059 h 225"/>
                <a:gd name="T18" fmla="*/ 4643 w 190"/>
                <a:gd name="T19" fmla="*/ 7892059 h 225"/>
                <a:gd name="T20" fmla="*/ 9060 w 190"/>
                <a:gd name="T21" fmla="*/ 7892059 h 225"/>
                <a:gd name="T22" fmla="*/ 13860 w 190"/>
                <a:gd name="T23" fmla="*/ 7892059 h 225"/>
                <a:gd name="T24" fmla="*/ 17645 w 190"/>
                <a:gd name="T25" fmla="*/ 7892059 h 225"/>
                <a:gd name="T26" fmla="*/ 17645 w 190"/>
                <a:gd name="T27" fmla="*/ 6737838 h 225"/>
                <a:gd name="T28" fmla="*/ 18188 w 190"/>
                <a:gd name="T29" fmla="*/ 5668845 h 225"/>
                <a:gd name="T30" fmla="*/ 22394 w 190"/>
                <a:gd name="T31" fmla="*/ 5027675 h 225"/>
                <a:gd name="T32" fmla="*/ 22543 w 190"/>
                <a:gd name="T33" fmla="*/ 3385135 h 225"/>
                <a:gd name="T34" fmla="*/ 22543 w 190"/>
                <a:gd name="T35" fmla="*/ 1668357 h 225"/>
                <a:gd name="T36" fmla="*/ 26522 w 190"/>
                <a:gd name="T37" fmla="*/ 1668357 h 225"/>
                <a:gd name="T38" fmla="*/ 29909 w 190"/>
                <a:gd name="T39" fmla="*/ 1668357 h 225"/>
                <a:gd name="T40" fmla="*/ 33179 w 190"/>
                <a:gd name="T41" fmla="*/ 1668357 h 225"/>
                <a:gd name="T42" fmla="*/ 37038 w 190"/>
                <a:gd name="T43" fmla="*/ 1668357 h 225"/>
                <a:gd name="T44" fmla="*/ 37715 w 190"/>
                <a:gd name="T45" fmla="*/ 0 h 225"/>
                <a:gd name="T46" fmla="*/ 41401 w 190"/>
                <a:gd name="T47" fmla="*/ 723826 h 225"/>
                <a:gd name="T48" fmla="*/ 45829 w 190"/>
                <a:gd name="T49" fmla="*/ 1491676 h 225"/>
                <a:gd name="T50" fmla="*/ 49681 w 190"/>
                <a:gd name="T51" fmla="*/ 2222865 h 225"/>
                <a:gd name="T52" fmla="*/ 54310 w 190"/>
                <a:gd name="T53" fmla="*/ 3032419 h 225"/>
                <a:gd name="T54" fmla="*/ 50214 w 190"/>
                <a:gd name="T55" fmla="*/ 3032419 h 225"/>
                <a:gd name="T56" fmla="*/ 46154 w 190"/>
                <a:gd name="T57" fmla="*/ 3032419 h 225"/>
                <a:gd name="T58" fmla="*/ 46745 w 190"/>
                <a:gd name="T59" fmla="*/ 4353205 h 225"/>
                <a:gd name="T60" fmla="*/ 47140 w 190"/>
                <a:gd name="T61" fmla="*/ 5767580 h 225"/>
                <a:gd name="T62" fmla="*/ 47778 w 190"/>
                <a:gd name="T63" fmla="*/ 7303390 h 225"/>
                <a:gd name="T64" fmla="*/ 48551 w 190"/>
                <a:gd name="T65" fmla="*/ 8689125 h 225"/>
                <a:gd name="T66" fmla="*/ 48607 w 190"/>
                <a:gd name="T67" fmla="*/ 10014654 h 225"/>
                <a:gd name="T68" fmla="*/ 48732 w 190"/>
                <a:gd name="T69" fmla="*/ 11438903 h 225"/>
                <a:gd name="T70" fmla="*/ 49663 w 190"/>
                <a:gd name="T71" fmla="*/ 12827426 h 225"/>
                <a:gd name="T72" fmla="*/ 50214 w 190"/>
                <a:gd name="T73" fmla="*/ 14236533 h 225"/>
                <a:gd name="T74" fmla="*/ 51371 w 190"/>
                <a:gd name="T75" fmla="*/ 14429598 h 225"/>
                <a:gd name="T76" fmla="*/ 50832 w 190"/>
                <a:gd name="T77" fmla="*/ 15609991 h 225"/>
                <a:gd name="T78" fmla="*/ 46154 w 190"/>
                <a:gd name="T79" fmla="*/ 15609991 h 225"/>
                <a:gd name="T80" fmla="*/ 42360 w 190"/>
                <a:gd name="T81" fmla="*/ 15609991 h 225"/>
                <a:gd name="T82" fmla="*/ 37814 w 190"/>
                <a:gd name="T83" fmla="*/ 15609991 h 225"/>
                <a:gd name="T84" fmla="*/ 33179 w 190"/>
                <a:gd name="T85" fmla="*/ 15609991 h 225"/>
                <a:gd name="T86" fmla="*/ 33041 w 190"/>
                <a:gd name="T87" fmla="*/ 15434911 h 225"/>
                <a:gd name="T88" fmla="*/ 26873 w 190"/>
                <a:gd name="T89" fmla="*/ 15860800 h 225"/>
                <a:gd name="T90" fmla="*/ 25856 w 190"/>
                <a:gd name="T91" fmla="*/ 15911871 h 225"/>
                <a:gd name="T92" fmla="*/ 23414 w 190"/>
                <a:gd name="T93" fmla="*/ 15550112 h 225"/>
                <a:gd name="T94" fmla="*/ 21434 w 190"/>
                <a:gd name="T95" fmla="*/ 16593530 h 225"/>
                <a:gd name="T96" fmla="*/ 20501 w 190"/>
                <a:gd name="T97" fmla="*/ 16593530 h 225"/>
                <a:gd name="T98" fmla="*/ 17308 w 190"/>
                <a:gd name="T99" fmla="*/ 15609991 h 225"/>
                <a:gd name="T100" fmla="*/ 13865 w 190"/>
                <a:gd name="T101" fmla="*/ 14714848 h 225"/>
                <a:gd name="T102" fmla="*/ 9628 w 190"/>
                <a:gd name="T103" fmla="*/ 14153649 h 225"/>
                <a:gd name="T104" fmla="*/ 5909 w 190"/>
                <a:gd name="T105" fmla="*/ 14236533 h 225"/>
                <a:gd name="T106" fmla="*/ 2299 w 190"/>
                <a:gd name="T107" fmla="*/ 14376585 h 22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0"/>
                <a:gd name="T163" fmla="*/ 0 h 225"/>
                <a:gd name="T164" fmla="*/ 190 w 190"/>
                <a:gd name="T165" fmla="*/ 225 h 22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0" h="225">
                  <a:moveTo>
                    <a:pt x="8" y="195"/>
                  </a:moveTo>
                  <a:lnTo>
                    <a:pt x="5" y="202"/>
                  </a:lnTo>
                  <a:lnTo>
                    <a:pt x="10" y="180"/>
                  </a:lnTo>
                  <a:lnTo>
                    <a:pt x="14" y="160"/>
                  </a:lnTo>
                  <a:lnTo>
                    <a:pt x="8" y="141"/>
                  </a:lnTo>
                  <a:lnTo>
                    <a:pt x="10" y="123"/>
                  </a:lnTo>
                  <a:lnTo>
                    <a:pt x="0" y="112"/>
                  </a:lnTo>
                  <a:lnTo>
                    <a:pt x="0" y="118"/>
                  </a:lnTo>
                  <a:lnTo>
                    <a:pt x="1" y="107"/>
                  </a:lnTo>
                  <a:lnTo>
                    <a:pt x="16" y="107"/>
                  </a:lnTo>
                  <a:lnTo>
                    <a:pt x="32" y="107"/>
                  </a:lnTo>
                  <a:lnTo>
                    <a:pt x="48" y="107"/>
                  </a:lnTo>
                  <a:lnTo>
                    <a:pt x="62" y="107"/>
                  </a:lnTo>
                  <a:lnTo>
                    <a:pt x="62" y="91"/>
                  </a:lnTo>
                  <a:lnTo>
                    <a:pt x="64" y="77"/>
                  </a:lnTo>
                  <a:lnTo>
                    <a:pt x="78" y="68"/>
                  </a:lnTo>
                  <a:lnTo>
                    <a:pt x="79" y="46"/>
                  </a:lnTo>
                  <a:lnTo>
                    <a:pt x="79" y="23"/>
                  </a:lnTo>
                  <a:lnTo>
                    <a:pt x="93" y="23"/>
                  </a:lnTo>
                  <a:lnTo>
                    <a:pt x="106" y="23"/>
                  </a:lnTo>
                  <a:lnTo>
                    <a:pt x="117" y="23"/>
                  </a:lnTo>
                  <a:lnTo>
                    <a:pt x="130" y="23"/>
                  </a:lnTo>
                  <a:lnTo>
                    <a:pt x="132" y="0"/>
                  </a:lnTo>
                  <a:lnTo>
                    <a:pt x="146" y="10"/>
                  </a:lnTo>
                  <a:lnTo>
                    <a:pt x="161" y="20"/>
                  </a:lnTo>
                  <a:lnTo>
                    <a:pt x="175" y="30"/>
                  </a:lnTo>
                  <a:lnTo>
                    <a:pt x="190" y="41"/>
                  </a:lnTo>
                  <a:lnTo>
                    <a:pt x="177" y="41"/>
                  </a:lnTo>
                  <a:lnTo>
                    <a:pt x="162" y="41"/>
                  </a:lnTo>
                  <a:lnTo>
                    <a:pt x="164" y="59"/>
                  </a:lnTo>
                  <a:lnTo>
                    <a:pt x="165" y="78"/>
                  </a:lnTo>
                  <a:lnTo>
                    <a:pt x="168" y="99"/>
                  </a:lnTo>
                  <a:lnTo>
                    <a:pt x="170" y="118"/>
                  </a:lnTo>
                  <a:lnTo>
                    <a:pt x="171" y="136"/>
                  </a:lnTo>
                  <a:lnTo>
                    <a:pt x="172" y="155"/>
                  </a:lnTo>
                  <a:lnTo>
                    <a:pt x="174" y="174"/>
                  </a:lnTo>
                  <a:lnTo>
                    <a:pt x="177" y="193"/>
                  </a:lnTo>
                  <a:lnTo>
                    <a:pt x="181" y="196"/>
                  </a:lnTo>
                  <a:lnTo>
                    <a:pt x="178" y="212"/>
                  </a:lnTo>
                  <a:lnTo>
                    <a:pt x="162" y="212"/>
                  </a:lnTo>
                  <a:lnTo>
                    <a:pt x="148" y="212"/>
                  </a:lnTo>
                  <a:lnTo>
                    <a:pt x="133" y="212"/>
                  </a:lnTo>
                  <a:lnTo>
                    <a:pt x="117" y="212"/>
                  </a:lnTo>
                  <a:lnTo>
                    <a:pt x="116" y="209"/>
                  </a:lnTo>
                  <a:lnTo>
                    <a:pt x="94" y="215"/>
                  </a:lnTo>
                  <a:lnTo>
                    <a:pt x="91" y="216"/>
                  </a:lnTo>
                  <a:lnTo>
                    <a:pt x="82" y="211"/>
                  </a:lnTo>
                  <a:lnTo>
                    <a:pt x="75" y="225"/>
                  </a:lnTo>
                  <a:lnTo>
                    <a:pt x="72" y="225"/>
                  </a:lnTo>
                  <a:lnTo>
                    <a:pt x="61" y="212"/>
                  </a:lnTo>
                  <a:lnTo>
                    <a:pt x="49" y="200"/>
                  </a:lnTo>
                  <a:lnTo>
                    <a:pt x="34" y="192"/>
                  </a:lnTo>
                  <a:lnTo>
                    <a:pt x="21" y="193"/>
                  </a:lnTo>
                  <a:lnTo>
                    <a:pt x="8" y="19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1" name="Freeform 52">
              <a:extLst>
                <a:ext uri="{FF2B5EF4-FFF2-40B4-BE49-F238E27FC236}">
                  <a16:creationId xmlns:a16="http://schemas.microsoft.com/office/drawing/2014/main" id="{C5414475-9299-41C1-DBDB-70C43F03AE0A}"/>
                </a:ext>
              </a:extLst>
            </p:cNvPr>
            <p:cNvSpPr>
              <a:spLocks/>
            </p:cNvSpPr>
            <p:nvPr/>
          </p:nvSpPr>
          <p:spPr bwMode="auto">
            <a:xfrm>
              <a:off x="3913881" y="2689696"/>
              <a:ext cx="356613" cy="296131"/>
            </a:xfrm>
            <a:custGeom>
              <a:avLst/>
              <a:gdLst>
                <a:gd name="T0" fmla="*/ 26485 w 186"/>
                <a:gd name="T1" fmla="*/ 2677739 h 147"/>
                <a:gd name="T2" fmla="*/ 23086 w 186"/>
                <a:gd name="T3" fmla="*/ 3302032 h 147"/>
                <a:gd name="T4" fmla="*/ 18756 w 186"/>
                <a:gd name="T5" fmla="*/ 4006700 h 147"/>
                <a:gd name="T6" fmla="*/ 16949 w 186"/>
                <a:gd name="T7" fmla="*/ 5014889 h 147"/>
                <a:gd name="T8" fmla="*/ 15152 w 186"/>
                <a:gd name="T9" fmla="*/ 5953779 h 147"/>
                <a:gd name="T10" fmla="*/ 15302 w 186"/>
                <a:gd name="T11" fmla="*/ 7121281 h 147"/>
                <a:gd name="T12" fmla="*/ 13602 w 186"/>
                <a:gd name="T13" fmla="*/ 8104754 h 147"/>
                <a:gd name="T14" fmla="*/ 11354 w 186"/>
                <a:gd name="T15" fmla="*/ 9059794 h 147"/>
                <a:gd name="T16" fmla="*/ 7943 w 186"/>
                <a:gd name="T17" fmla="*/ 9639828 h 147"/>
                <a:gd name="T18" fmla="*/ 4609 w 186"/>
                <a:gd name="T19" fmla="*/ 10221700 h 147"/>
                <a:gd name="T20" fmla="*/ 0 w 186"/>
                <a:gd name="T21" fmla="*/ 10801022 h 147"/>
                <a:gd name="T22" fmla="*/ 4609 w 186"/>
                <a:gd name="T23" fmla="*/ 10801022 h 147"/>
                <a:gd name="T24" fmla="*/ 9523 w 186"/>
                <a:gd name="T25" fmla="*/ 10801022 h 147"/>
                <a:gd name="T26" fmla="*/ 14230 w 186"/>
                <a:gd name="T27" fmla="*/ 10801022 h 147"/>
                <a:gd name="T28" fmla="*/ 19552 w 186"/>
                <a:gd name="T29" fmla="*/ 10801022 h 147"/>
                <a:gd name="T30" fmla="*/ 20321 w 186"/>
                <a:gd name="T31" fmla="*/ 9255826 h 147"/>
                <a:gd name="T32" fmla="*/ 23590 w 186"/>
                <a:gd name="T33" fmla="*/ 8737529 h 147"/>
                <a:gd name="T34" fmla="*/ 26839 w 186"/>
                <a:gd name="T35" fmla="*/ 8254997 h 147"/>
                <a:gd name="T36" fmla="*/ 30962 w 186"/>
                <a:gd name="T37" fmla="*/ 7756107 h 147"/>
                <a:gd name="T38" fmla="*/ 34793 w 186"/>
                <a:gd name="T39" fmla="*/ 7365456 h 147"/>
                <a:gd name="T40" fmla="*/ 37536 w 186"/>
                <a:gd name="T41" fmla="*/ 6803168 h 147"/>
                <a:gd name="T42" fmla="*/ 40654 w 186"/>
                <a:gd name="T43" fmla="*/ 6311800 h 147"/>
                <a:gd name="T44" fmla="*/ 40654 w 186"/>
                <a:gd name="T45" fmla="*/ 5403546 h 147"/>
                <a:gd name="T46" fmla="*/ 46253 w 186"/>
                <a:gd name="T47" fmla="*/ 4917198 h 147"/>
                <a:gd name="T48" fmla="*/ 50670 w 186"/>
                <a:gd name="T49" fmla="*/ 4739651 h 147"/>
                <a:gd name="T50" fmla="*/ 51509 w 186"/>
                <a:gd name="T51" fmla="*/ 4492468 h 147"/>
                <a:gd name="T52" fmla="*/ 49211 w 186"/>
                <a:gd name="T53" fmla="*/ 3302032 h 147"/>
                <a:gd name="T54" fmla="*/ 48434 w 186"/>
                <a:gd name="T55" fmla="*/ 2349340 h 147"/>
                <a:gd name="T56" fmla="*/ 47699 w 186"/>
                <a:gd name="T57" fmla="*/ 1208856 h 147"/>
                <a:gd name="T58" fmla="*/ 46772 w 186"/>
                <a:gd name="T59" fmla="*/ 1035924 h 147"/>
                <a:gd name="T60" fmla="*/ 43732 w 186"/>
                <a:gd name="T61" fmla="*/ 721710 h 147"/>
                <a:gd name="T62" fmla="*/ 42712 w 186"/>
                <a:gd name="T63" fmla="*/ 842189 h 147"/>
                <a:gd name="T64" fmla="*/ 35835 w 186"/>
                <a:gd name="T65" fmla="*/ 721710 h 147"/>
                <a:gd name="T66" fmla="*/ 33695 w 186"/>
                <a:gd name="T67" fmla="*/ 0 h 147"/>
                <a:gd name="T68" fmla="*/ 30962 w 186"/>
                <a:gd name="T69" fmla="*/ 502803 h 147"/>
                <a:gd name="T70" fmla="*/ 29082 w 186"/>
                <a:gd name="T71" fmla="*/ 1636744 h 147"/>
                <a:gd name="T72" fmla="*/ 26485 w 186"/>
                <a:gd name="T73" fmla="*/ 2677739 h 1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7"/>
                <a:gd name="T113" fmla="*/ 186 w 186"/>
                <a:gd name="T114" fmla="*/ 147 h 1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7">
                  <a:moveTo>
                    <a:pt x="96" y="36"/>
                  </a:moveTo>
                  <a:lnTo>
                    <a:pt x="83" y="45"/>
                  </a:lnTo>
                  <a:lnTo>
                    <a:pt x="68" y="54"/>
                  </a:lnTo>
                  <a:lnTo>
                    <a:pt x="61" y="68"/>
                  </a:lnTo>
                  <a:lnTo>
                    <a:pt x="54" y="81"/>
                  </a:lnTo>
                  <a:lnTo>
                    <a:pt x="55" y="97"/>
                  </a:lnTo>
                  <a:lnTo>
                    <a:pt x="48" y="110"/>
                  </a:lnTo>
                  <a:lnTo>
                    <a:pt x="41" y="123"/>
                  </a:lnTo>
                  <a:lnTo>
                    <a:pt x="29" y="131"/>
                  </a:lnTo>
                  <a:lnTo>
                    <a:pt x="17" y="139"/>
                  </a:lnTo>
                  <a:lnTo>
                    <a:pt x="0" y="147"/>
                  </a:lnTo>
                  <a:lnTo>
                    <a:pt x="17" y="147"/>
                  </a:lnTo>
                  <a:lnTo>
                    <a:pt x="35" y="147"/>
                  </a:lnTo>
                  <a:lnTo>
                    <a:pt x="52" y="147"/>
                  </a:lnTo>
                  <a:lnTo>
                    <a:pt x="70" y="147"/>
                  </a:lnTo>
                  <a:lnTo>
                    <a:pt x="73" y="126"/>
                  </a:lnTo>
                  <a:lnTo>
                    <a:pt x="86" y="119"/>
                  </a:lnTo>
                  <a:lnTo>
                    <a:pt x="97" y="112"/>
                  </a:lnTo>
                  <a:lnTo>
                    <a:pt x="112" y="106"/>
                  </a:lnTo>
                  <a:lnTo>
                    <a:pt x="125" y="100"/>
                  </a:lnTo>
                  <a:lnTo>
                    <a:pt x="135" y="93"/>
                  </a:lnTo>
                  <a:lnTo>
                    <a:pt x="147" y="86"/>
                  </a:lnTo>
                  <a:lnTo>
                    <a:pt x="147" y="74"/>
                  </a:lnTo>
                  <a:lnTo>
                    <a:pt x="167" y="67"/>
                  </a:lnTo>
                  <a:lnTo>
                    <a:pt x="183" y="65"/>
                  </a:lnTo>
                  <a:lnTo>
                    <a:pt x="186" y="61"/>
                  </a:lnTo>
                  <a:lnTo>
                    <a:pt x="177" y="45"/>
                  </a:lnTo>
                  <a:lnTo>
                    <a:pt x="174" y="32"/>
                  </a:lnTo>
                  <a:lnTo>
                    <a:pt x="173" y="17"/>
                  </a:lnTo>
                  <a:lnTo>
                    <a:pt x="169" y="14"/>
                  </a:lnTo>
                  <a:lnTo>
                    <a:pt x="158" y="10"/>
                  </a:lnTo>
                  <a:lnTo>
                    <a:pt x="154" y="12"/>
                  </a:lnTo>
                  <a:lnTo>
                    <a:pt x="129" y="10"/>
                  </a:lnTo>
                  <a:lnTo>
                    <a:pt x="121" y="0"/>
                  </a:lnTo>
                  <a:lnTo>
                    <a:pt x="112" y="7"/>
                  </a:lnTo>
                  <a:lnTo>
                    <a:pt x="105" y="22"/>
                  </a:lnTo>
                  <a:lnTo>
                    <a:pt x="96" y="3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2" name="Freeform 53">
              <a:extLst>
                <a:ext uri="{FF2B5EF4-FFF2-40B4-BE49-F238E27FC236}">
                  <a16:creationId xmlns:a16="http://schemas.microsoft.com/office/drawing/2014/main" id="{23B821A7-8808-87F1-59B0-F18A84C908DF}"/>
                </a:ext>
              </a:extLst>
            </p:cNvPr>
            <p:cNvSpPr>
              <a:spLocks/>
            </p:cNvSpPr>
            <p:nvPr/>
          </p:nvSpPr>
          <p:spPr bwMode="auto">
            <a:xfrm>
              <a:off x="4308874" y="3136169"/>
              <a:ext cx="468554" cy="428250"/>
            </a:xfrm>
            <a:custGeom>
              <a:avLst/>
              <a:gdLst>
                <a:gd name="T0" fmla="*/ 7692 w 244"/>
                <a:gd name="T1" fmla="*/ 15223829 h 212"/>
                <a:gd name="T2" fmla="*/ 5991 w 244"/>
                <a:gd name="T3" fmla="*/ 15391890 h 212"/>
                <a:gd name="T4" fmla="*/ 3354 w 244"/>
                <a:gd name="T5" fmla="*/ 14780463 h 212"/>
                <a:gd name="T6" fmla="*/ 3354 w 244"/>
                <a:gd name="T7" fmla="*/ 14358746 h 212"/>
                <a:gd name="T8" fmla="*/ 4286 w 244"/>
                <a:gd name="T9" fmla="*/ 14358746 h 212"/>
                <a:gd name="T10" fmla="*/ 2 w 244"/>
                <a:gd name="T11" fmla="*/ 13145548 h 212"/>
                <a:gd name="T12" fmla="*/ 0 w 244"/>
                <a:gd name="T13" fmla="*/ 12078750 h 212"/>
                <a:gd name="T14" fmla="*/ 2 w 244"/>
                <a:gd name="T15" fmla="*/ 12078750 h 212"/>
                <a:gd name="T16" fmla="*/ 4783 w 244"/>
                <a:gd name="T17" fmla="*/ 11580073 h 212"/>
                <a:gd name="T18" fmla="*/ 9946 w 244"/>
                <a:gd name="T19" fmla="*/ 11580073 h 212"/>
                <a:gd name="T20" fmla="*/ 14869 w 244"/>
                <a:gd name="T21" fmla="*/ 11460213 h 212"/>
                <a:gd name="T22" fmla="*/ 17414 w 244"/>
                <a:gd name="T23" fmla="*/ 10273637 h 212"/>
                <a:gd name="T24" fmla="*/ 17414 w 244"/>
                <a:gd name="T25" fmla="*/ 9313377 h 212"/>
                <a:gd name="T26" fmla="*/ 17855 w 244"/>
                <a:gd name="T27" fmla="*/ 8267307 h 212"/>
                <a:gd name="T28" fmla="*/ 17855 w 244"/>
                <a:gd name="T29" fmla="*/ 7099486 h 212"/>
                <a:gd name="T30" fmla="*/ 18375 w 244"/>
                <a:gd name="T31" fmla="*/ 6089107 h 212"/>
                <a:gd name="T32" fmla="*/ 21570 w 244"/>
                <a:gd name="T33" fmla="*/ 5986206 h 212"/>
                <a:gd name="T34" fmla="*/ 25110 w 244"/>
                <a:gd name="T35" fmla="*/ 5746459 h 212"/>
                <a:gd name="T36" fmla="*/ 29039 w 244"/>
                <a:gd name="T37" fmla="*/ 4703998 h 212"/>
                <a:gd name="T38" fmla="*/ 32491 w 244"/>
                <a:gd name="T39" fmla="*/ 3733491 h 212"/>
                <a:gd name="T40" fmla="*/ 37739 w 244"/>
                <a:gd name="T41" fmla="*/ 2763746 h 212"/>
                <a:gd name="T42" fmla="*/ 42998 w 244"/>
                <a:gd name="T43" fmla="*/ 1803795 h 212"/>
                <a:gd name="T44" fmla="*/ 47956 w 244"/>
                <a:gd name="T45" fmla="*/ 928124 h 212"/>
                <a:gd name="T46" fmla="*/ 53013 w 244"/>
                <a:gd name="T47" fmla="*/ 0 h 212"/>
                <a:gd name="T48" fmla="*/ 59272 w 244"/>
                <a:gd name="T49" fmla="*/ 368739 h 212"/>
                <a:gd name="T50" fmla="*/ 63302 w 244"/>
                <a:gd name="T51" fmla="*/ 1253785 h 212"/>
                <a:gd name="T52" fmla="*/ 66156 w 244"/>
                <a:gd name="T53" fmla="*/ 723171 h 212"/>
                <a:gd name="T54" fmla="*/ 66285 w 244"/>
                <a:gd name="T55" fmla="*/ 723171 h 212"/>
                <a:gd name="T56" fmla="*/ 66732 w 244"/>
                <a:gd name="T57" fmla="*/ 1749903 h 212"/>
                <a:gd name="T58" fmla="*/ 67180 w 244"/>
                <a:gd name="T59" fmla="*/ 2763746 h 212"/>
                <a:gd name="T60" fmla="*/ 71125 w 244"/>
                <a:gd name="T61" fmla="*/ 4499659 h 212"/>
                <a:gd name="T62" fmla="*/ 70410 w 244"/>
                <a:gd name="T63" fmla="*/ 5026049 h 212"/>
                <a:gd name="T64" fmla="*/ 69663 w 244"/>
                <a:gd name="T65" fmla="*/ 6089107 h 212"/>
                <a:gd name="T66" fmla="*/ 69663 w 244"/>
                <a:gd name="T67" fmla="*/ 7230872 h 212"/>
                <a:gd name="T68" fmla="*/ 69544 w 244"/>
                <a:gd name="T69" fmla="*/ 8267307 h 212"/>
                <a:gd name="T70" fmla="*/ 69544 w 244"/>
                <a:gd name="T71" fmla="*/ 9313377 h 212"/>
                <a:gd name="T72" fmla="*/ 67180 w 244"/>
                <a:gd name="T73" fmla="*/ 10213880 h 212"/>
                <a:gd name="T74" fmla="*/ 65257 w 244"/>
                <a:gd name="T75" fmla="*/ 11002719 h 212"/>
                <a:gd name="T76" fmla="*/ 63302 w 244"/>
                <a:gd name="T77" fmla="*/ 11840065 h 212"/>
                <a:gd name="T78" fmla="*/ 61177 w 244"/>
                <a:gd name="T79" fmla="*/ 12750395 h 212"/>
                <a:gd name="T80" fmla="*/ 61177 w 244"/>
                <a:gd name="T81" fmla="*/ 13881921 h 212"/>
                <a:gd name="T82" fmla="*/ 55945 w 244"/>
                <a:gd name="T83" fmla="*/ 14694499 h 212"/>
                <a:gd name="T84" fmla="*/ 51076 w 244"/>
                <a:gd name="T85" fmla="*/ 14603666 h 212"/>
                <a:gd name="T86" fmla="*/ 46589 w 244"/>
                <a:gd name="T87" fmla="*/ 14411666 h 212"/>
                <a:gd name="T88" fmla="*/ 41874 w 244"/>
                <a:gd name="T89" fmla="*/ 15107469 h 212"/>
                <a:gd name="T90" fmla="*/ 38206 w 244"/>
                <a:gd name="T91" fmla="*/ 14694499 h 212"/>
                <a:gd name="T92" fmla="*/ 34871 w 244"/>
                <a:gd name="T93" fmla="*/ 14358746 h 212"/>
                <a:gd name="T94" fmla="*/ 30162 w 244"/>
                <a:gd name="T95" fmla="*/ 14694499 h 212"/>
                <a:gd name="T96" fmla="*/ 26721 w 244"/>
                <a:gd name="T97" fmla="*/ 13881921 h 212"/>
                <a:gd name="T98" fmla="*/ 22065 w 244"/>
                <a:gd name="T99" fmla="*/ 13822268 h 212"/>
                <a:gd name="T100" fmla="*/ 17855 w 244"/>
                <a:gd name="T101" fmla="*/ 14146063 h 212"/>
                <a:gd name="T102" fmla="*/ 16814 w 244"/>
                <a:gd name="T103" fmla="*/ 15223829 h 212"/>
                <a:gd name="T104" fmla="*/ 15432 w 244"/>
                <a:gd name="T105" fmla="*/ 16161652 h 212"/>
                <a:gd name="T106" fmla="*/ 15432 w 244"/>
                <a:gd name="T107" fmla="*/ 16742107 h 212"/>
                <a:gd name="T108" fmla="*/ 11092 w 244"/>
                <a:gd name="T109" fmla="*/ 15654270 h 212"/>
                <a:gd name="T110" fmla="*/ 9946 w 244"/>
                <a:gd name="T111" fmla="*/ 16161652 h 212"/>
                <a:gd name="T112" fmla="*/ 9946 w 244"/>
                <a:gd name="T113" fmla="*/ 16401255 h 212"/>
                <a:gd name="T114" fmla="*/ 8375 w 244"/>
                <a:gd name="T115" fmla="*/ 15654270 h 212"/>
                <a:gd name="T116" fmla="*/ 7692 w 244"/>
                <a:gd name="T117" fmla="*/ 15223829 h 2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4"/>
                <a:gd name="T178" fmla="*/ 0 h 212"/>
                <a:gd name="T179" fmla="*/ 244 w 244"/>
                <a:gd name="T180" fmla="*/ 212 h 2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4" h="212">
                  <a:moveTo>
                    <a:pt x="27" y="193"/>
                  </a:moveTo>
                  <a:lnTo>
                    <a:pt x="21" y="195"/>
                  </a:lnTo>
                  <a:lnTo>
                    <a:pt x="12" y="188"/>
                  </a:lnTo>
                  <a:lnTo>
                    <a:pt x="12" y="182"/>
                  </a:lnTo>
                  <a:lnTo>
                    <a:pt x="15" y="182"/>
                  </a:lnTo>
                  <a:lnTo>
                    <a:pt x="2" y="167"/>
                  </a:lnTo>
                  <a:lnTo>
                    <a:pt x="0" y="153"/>
                  </a:lnTo>
                  <a:lnTo>
                    <a:pt x="2" y="153"/>
                  </a:lnTo>
                  <a:lnTo>
                    <a:pt x="16" y="147"/>
                  </a:lnTo>
                  <a:lnTo>
                    <a:pt x="34" y="147"/>
                  </a:lnTo>
                  <a:lnTo>
                    <a:pt x="51" y="145"/>
                  </a:lnTo>
                  <a:lnTo>
                    <a:pt x="60" y="131"/>
                  </a:lnTo>
                  <a:lnTo>
                    <a:pt x="60" y="118"/>
                  </a:lnTo>
                  <a:lnTo>
                    <a:pt x="61" y="105"/>
                  </a:lnTo>
                  <a:lnTo>
                    <a:pt x="61" y="90"/>
                  </a:lnTo>
                  <a:lnTo>
                    <a:pt x="63" y="77"/>
                  </a:lnTo>
                  <a:lnTo>
                    <a:pt x="74" y="76"/>
                  </a:lnTo>
                  <a:lnTo>
                    <a:pt x="86" y="73"/>
                  </a:lnTo>
                  <a:lnTo>
                    <a:pt x="99" y="60"/>
                  </a:lnTo>
                  <a:lnTo>
                    <a:pt x="112" y="47"/>
                  </a:lnTo>
                  <a:lnTo>
                    <a:pt x="130" y="35"/>
                  </a:lnTo>
                  <a:lnTo>
                    <a:pt x="147" y="23"/>
                  </a:lnTo>
                  <a:lnTo>
                    <a:pt x="165" y="12"/>
                  </a:lnTo>
                  <a:lnTo>
                    <a:pt x="182" y="0"/>
                  </a:lnTo>
                  <a:lnTo>
                    <a:pt x="204" y="5"/>
                  </a:lnTo>
                  <a:lnTo>
                    <a:pt x="217" y="16"/>
                  </a:lnTo>
                  <a:lnTo>
                    <a:pt x="227" y="9"/>
                  </a:lnTo>
                  <a:lnTo>
                    <a:pt x="228" y="9"/>
                  </a:lnTo>
                  <a:lnTo>
                    <a:pt x="230" y="22"/>
                  </a:lnTo>
                  <a:lnTo>
                    <a:pt x="231" y="35"/>
                  </a:lnTo>
                  <a:lnTo>
                    <a:pt x="244" y="57"/>
                  </a:lnTo>
                  <a:lnTo>
                    <a:pt x="242" y="64"/>
                  </a:lnTo>
                  <a:lnTo>
                    <a:pt x="240" y="77"/>
                  </a:lnTo>
                  <a:lnTo>
                    <a:pt x="240" y="92"/>
                  </a:lnTo>
                  <a:lnTo>
                    <a:pt x="239" y="105"/>
                  </a:lnTo>
                  <a:lnTo>
                    <a:pt x="239" y="118"/>
                  </a:lnTo>
                  <a:lnTo>
                    <a:pt x="231" y="129"/>
                  </a:lnTo>
                  <a:lnTo>
                    <a:pt x="224" y="140"/>
                  </a:lnTo>
                  <a:lnTo>
                    <a:pt x="217" y="150"/>
                  </a:lnTo>
                  <a:lnTo>
                    <a:pt x="210" y="161"/>
                  </a:lnTo>
                  <a:lnTo>
                    <a:pt x="210" y="176"/>
                  </a:lnTo>
                  <a:lnTo>
                    <a:pt x="192" y="186"/>
                  </a:lnTo>
                  <a:lnTo>
                    <a:pt x="176" y="185"/>
                  </a:lnTo>
                  <a:lnTo>
                    <a:pt x="160" y="183"/>
                  </a:lnTo>
                  <a:lnTo>
                    <a:pt x="143" y="192"/>
                  </a:lnTo>
                  <a:lnTo>
                    <a:pt x="131" y="186"/>
                  </a:lnTo>
                  <a:lnTo>
                    <a:pt x="119" y="182"/>
                  </a:lnTo>
                  <a:lnTo>
                    <a:pt x="104" y="186"/>
                  </a:lnTo>
                  <a:lnTo>
                    <a:pt x="92" y="176"/>
                  </a:lnTo>
                  <a:lnTo>
                    <a:pt x="76" y="175"/>
                  </a:lnTo>
                  <a:lnTo>
                    <a:pt x="61" y="179"/>
                  </a:lnTo>
                  <a:lnTo>
                    <a:pt x="58" y="193"/>
                  </a:lnTo>
                  <a:lnTo>
                    <a:pt x="53" y="205"/>
                  </a:lnTo>
                  <a:lnTo>
                    <a:pt x="53" y="212"/>
                  </a:lnTo>
                  <a:lnTo>
                    <a:pt x="38" y="199"/>
                  </a:lnTo>
                  <a:lnTo>
                    <a:pt x="34" y="205"/>
                  </a:lnTo>
                  <a:lnTo>
                    <a:pt x="34" y="208"/>
                  </a:lnTo>
                  <a:lnTo>
                    <a:pt x="29" y="199"/>
                  </a:lnTo>
                  <a:lnTo>
                    <a:pt x="27" y="19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3" name="Freeform 54">
              <a:extLst>
                <a:ext uri="{FF2B5EF4-FFF2-40B4-BE49-F238E27FC236}">
                  <a16:creationId xmlns:a16="http://schemas.microsoft.com/office/drawing/2014/main" id="{32CB5AC4-E541-E8B1-2EB6-DD64F09DB851}"/>
                </a:ext>
              </a:extLst>
            </p:cNvPr>
            <p:cNvSpPr>
              <a:spLocks/>
            </p:cNvSpPr>
            <p:nvPr/>
          </p:nvSpPr>
          <p:spPr bwMode="auto">
            <a:xfrm>
              <a:off x="3776353" y="3385223"/>
              <a:ext cx="182304" cy="156418"/>
            </a:xfrm>
            <a:custGeom>
              <a:avLst/>
              <a:gdLst>
                <a:gd name="T0" fmla="*/ 6597 w 94"/>
                <a:gd name="T1" fmla="*/ 254252 h 77"/>
                <a:gd name="T2" fmla="*/ 5440 w 94"/>
                <a:gd name="T3" fmla="*/ 823526 h 77"/>
                <a:gd name="T4" fmla="*/ 2815 w 94"/>
                <a:gd name="T5" fmla="*/ 1731831 h 77"/>
                <a:gd name="T6" fmla="*/ 0 w 94"/>
                <a:gd name="T7" fmla="*/ 2906349 h 77"/>
                <a:gd name="T8" fmla="*/ 4140 w 94"/>
                <a:gd name="T9" fmla="*/ 4000985 h 77"/>
                <a:gd name="T10" fmla="*/ 5146 w 94"/>
                <a:gd name="T11" fmla="*/ 3598900 h 77"/>
                <a:gd name="T12" fmla="*/ 4140 w 94"/>
                <a:gd name="T13" fmla="*/ 3829676 h 77"/>
                <a:gd name="T14" fmla="*/ 5146 w 94"/>
                <a:gd name="T15" fmla="*/ 4126386 h 77"/>
                <a:gd name="T16" fmla="*/ 5146 w 94"/>
                <a:gd name="T17" fmla="*/ 4451927 h 77"/>
                <a:gd name="T18" fmla="*/ 11767 w 94"/>
                <a:gd name="T19" fmla="*/ 4451927 h 77"/>
                <a:gd name="T20" fmla="*/ 12699 w 94"/>
                <a:gd name="T21" fmla="*/ 4313255 h 77"/>
                <a:gd name="T22" fmla="*/ 19968 w 94"/>
                <a:gd name="T23" fmla="*/ 4581463 h 77"/>
                <a:gd name="T24" fmla="*/ 21694 w 94"/>
                <a:gd name="T25" fmla="*/ 4952733 h 77"/>
                <a:gd name="T26" fmla="*/ 13576 w 94"/>
                <a:gd name="T27" fmla="*/ 4581463 h 77"/>
                <a:gd name="T28" fmla="*/ 8956 w 94"/>
                <a:gd name="T29" fmla="*/ 4952733 h 77"/>
                <a:gd name="T30" fmla="*/ 4140 w 94"/>
                <a:gd name="T31" fmla="*/ 5378073 h 77"/>
                <a:gd name="T32" fmla="*/ 4243 w 94"/>
                <a:gd name="T33" fmla="*/ 5948426 h 77"/>
                <a:gd name="T34" fmla="*/ 9179 w 94"/>
                <a:gd name="T35" fmla="*/ 5767651 h 77"/>
                <a:gd name="T36" fmla="*/ 11194 w 94"/>
                <a:gd name="T37" fmla="*/ 5683456 h 77"/>
                <a:gd name="T38" fmla="*/ 11194 w 94"/>
                <a:gd name="T39" fmla="*/ 5767651 h 77"/>
                <a:gd name="T40" fmla="*/ 5146 w 94"/>
                <a:gd name="T41" fmla="*/ 5948426 h 77"/>
                <a:gd name="T42" fmla="*/ 4140 w 94"/>
                <a:gd name="T43" fmla="*/ 6472967 h 77"/>
                <a:gd name="T44" fmla="*/ 11767 w 94"/>
                <a:gd name="T45" fmla="*/ 6039653 h 77"/>
                <a:gd name="T46" fmla="*/ 16957 w 94"/>
                <a:gd name="T47" fmla="*/ 5948426 h 77"/>
                <a:gd name="T48" fmla="*/ 22745 w 94"/>
                <a:gd name="T49" fmla="*/ 5767651 h 77"/>
                <a:gd name="T50" fmla="*/ 28088 w 94"/>
                <a:gd name="T51" fmla="*/ 6217805 h 77"/>
                <a:gd name="T52" fmla="*/ 36970 w 94"/>
                <a:gd name="T53" fmla="*/ 6290102 h 77"/>
                <a:gd name="T54" fmla="*/ 35421 w 94"/>
                <a:gd name="T55" fmla="*/ 4877688 h 77"/>
                <a:gd name="T56" fmla="*/ 34064 w 94"/>
                <a:gd name="T57" fmla="*/ 4313255 h 77"/>
                <a:gd name="T58" fmla="*/ 31908 w 94"/>
                <a:gd name="T59" fmla="*/ 2775459 h 77"/>
                <a:gd name="T60" fmla="*/ 27584 w 94"/>
                <a:gd name="T61" fmla="*/ 1711362 h 77"/>
                <a:gd name="T62" fmla="*/ 22745 w 94"/>
                <a:gd name="T63" fmla="*/ 700913 h 77"/>
                <a:gd name="T64" fmla="*/ 16957 w 94"/>
                <a:gd name="T65" fmla="*/ 0 h 77"/>
                <a:gd name="T66" fmla="*/ 11767 w 94"/>
                <a:gd name="T67" fmla="*/ 1 h 77"/>
                <a:gd name="T68" fmla="*/ 6597 w 94"/>
                <a:gd name="T69" fmla="*/ 254252 h 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4"/>
                <a:gd name="T106" fmla="*/ 0 h 77"/>
                <a:gd name="T107" fmla="*/ 94 w 94"/>
                <a:gd name="T108" fmla="*/ 77 h 7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4" h="77">
                  <a:moveTo>
                    <a:pt x="17" y="3"/>
                  </a:moveTo>
                  <a:lnTo>
                    <a:pt x="14" y="10"/>
                  </a:lnTo>
                  <a:lnTo>
                    <a:pt x="7" y="21"/>
                  </a:lnTo>
                  <a:lnTo>
                    <a:pt x="0" y="35"/>
                  </a:lnTo>
                  <a:lnTo>
                    <a:pt x="10" y="48"/>
                  </a:lnTo>
                  <a:lnTo>
                    <a:pt x="13" y="43"/>
                  </a:lnTo>
                  <a:lnTo>
                    <a:pt x="10" y="46"/>
                  </a:lnTo>
                  <a:lnTo>
                    <a:pt x="13" y="49"/>
                  </a:lnTo>
                  <a:lnTo>
                    <a:pt x="13" y="53"/>
                  </a:lnTo>
                  <a:lnTo>
                    <a:pt x="30" y="53"/>
                  </a:lnTo>
                  <a:lnTo>
                    <a:pt x="32" y="51"/>
                  </a:lnTo>
                  <a:lnTo>
                    <a:pt x="51" y="55"/>
                  </a:lnTo>
                  <a:lnTo>
                    <a:pt x="55" y="59"/>
                  </a:lnTo>
                  <a:lnTo>
                    <a:pt x="35" y="55"/>
                  </a:lnTo>
                  <a:lnTo>
                    <a:pt x="22" y="59"/>
                  </a:lnTo>
                  <a:lnTo>
                    <a:pt x="10" y="64"/>
                  </a:lnTo>
                  <a:lnTo>
                    <a:pt x="11" y="71"/>
                  </a:lnTo>
                  <a:lnTo>
                    <a:pt x="23" y="69"/>
                  </a:lnTo>
                  <a:lnTo>
                    <a:pt x="29" y="68"/>
                  </a:lnTo>
                  <a:lnTo>
                    <a:pt x="29" y="69"/>
                  </a:lnTo>
                  <a:lnTo>
                    <a:pt x="13" y="71"/>
                  </a:lnTo>
                  <a:lnTo>
                    <a:pt x="10" y="77"/>
                  </a:lnTo>
                  <a:lnTo>
                    <a:pt x="30" y="72"/>
                  </a:lnTo>
                  <a:lnTo>
                    <a:pt x="43" y="71"/>
                  </a:lnTo>
                  <a:lnTo>
                    <a:pt x="58" y="69"/>
                  </a:lnTo>
                  <a:lnTo>
                    <a:pt x="71" y="74"/>
                  </a:lnTo>
                  <a:lnTo>
                    <a:pt x="94" y="75"/>
                  </a:lnTo>
                  <a:lnTo>
                    <a:pt x="90" y="58"/>
                  </a:lnTo>
                  <a:lnTo>
                    <a:pt x="86" y="51"/>
                  </a:lnTo>
                  <a:lnTo>
                    <a:pt x="81" y="33"/>
                  </a:lnTo>
                  <a:lnTo>
                    <a:pt x="70" y="20"/>
                  </a:lnTo>
                  <a:lnTo>
                    <a:pt x="58" y="8"/>
                  </a:lnTo>
                  <a:lnTo>
                    <a:pt x="43" y="0"/>
                  </a:lnTo>
                  <a:lnTo>
                    <a:pt x="30" y="1"/>
                  </a:lnTo>
                  <a:lnTo>
                    <a:pt x="17"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4" name="Freeform 55">
              <a:extLst>
                <a:ext uri="{FF2B5EF4-FFF2-40B4-BE49-F238E27FC236}">
                  <a16:creationId xmlns:a16="http://schemas.microsoft.com/office/drawing/2014/main" id="{D4805201-989F-7DE1-39AF-2C73B4B6F2EF}"/>
                </a:ext>
              </a:extLst>
            </p:cNvPr>
            <p:cNvSpPr>
              <a:spLocks/>
            </p:cNvSpPr>
            <p:nvPr/>
          </p:nvSpPr>
          <p:spPr bwMode="auto">
            <a:xfrm>
              <a:off x="4518363" y="2639582"/>
              <a:ext cx="113540" cy="255128"/>
            </a:xfrm>
            <a:custGeom>
              <a:avLst/>
              <a:gdLst>
                <a:gd name="T0" fmla="*/ 7338 w 60"/>
                <a:gd name="T1" fmla="*/ 8332826 h 127"/>
                <a:gd name="T2" fmla="*/ 5986 w 60"/>
                <a:gd name="T3" fmla="*/ 8880758 h 127"/>
                <a:gd name="T4" fmla="*/ 5172 w 60"/>
                <a:gd name="T5" fmla="*/ 7618492 h 127"/>
                <a:gd name="T6" fmla="*/ 4371 w 60"/>
                <a:gd name="T7" fmla="*/ 6510952 h 127"/>
                <a:gd name="T8" fmla="*/ 2229 w 60"/>
                <a:gd name="T9" fmla="*/ 5498363 h 127"/>
                <a:gd name="T10" fmla="*/ 0 w 60"/>
                <a:gd name="T11" fmla="*/ 4397803 h 127"/>
                <a:gd name="T12" fmla="*/ 1039 w 60"/>
                <a:gd name="T13" fmla="*/ 3519703 h 127"/>
                <a:gd name="T14" fmla="*/ 2410 w 60"/>
                <a:gd name="T15" fmla="*/ 2456056 h 127"/>
                <a:gd name="T16" fmla="*/ 2229 w 60"/>
                <a:gd name="T17" fmla="*/ 804417 h 127"/>
                <a:gd name="T18" fmla="*/ 2852 w 60"/>
                <a:gd name="T19" fmla="*/ 451297 h 127"/>
                <a:gd name="T20" fmla="*/ 5986 w 60"/>
                <a:gd name="T21" fmla="*/ 0 h 127"/>
                <a:gd name="T22" fmla="*/ 7083 w 60"/>
                <a:gd name="T23" fmla="*/ 336091 h 127"/>
                <a:gd name="T24" fmla="*/ 7745 w 60"/>
                <a:gd name="T25" fmla="*/ 690227 h 127"/>
                <a:gd name="T26" fmla="*/ 9265 w 60"/>
                <a:gd name="T27" fmla="*/ 336091 h 127"/>
                <a:gd name="T28" fmla="*/ 8116 w 60"/>
                <a:gd name="T29" fmla="*/ 1597099 h 127"/>
                <a:gd name="T30" fmla="*/ 9919 w 60"/>
                <a:gd name="T31" fmla="*/ 2588609 h 127"/>
                <a:gd name="T32" fmla="*/ 8382 w 60"/>
                <a:gd name="T33" fmla="*/ 3279950 h 127"/>
                <a:gd name="T34" fmla="*/ 7083 w 60"/>
                <a:gd name="T35" fmla="*/ 4057486 h 127"/>
                <a:gd name="T36" fmla="*/ 9265 w 60"/>
                <a:gd name="T37" fmla="*/ 4700401 h 127"/>
                <a:gd name="T38" fmla="*/ 10964 w 60"/>
                <a:gd name="T39" fmla="*/ 5099236 h 127"/>
                <a:gd name="T40" fmla="*/ 10964 w 60"/>
                <a:gd name="T41" fmla="*/ 6093912 h 127"/>
                <a:gd name="T42" fmla="*/ 9211 w 60"/>
                <a:gd name="T43" fmla="*/ 6736008 h 127"/>
                <a:gd name="T44" fmla="*/ 7338 w 60"/>
                <a:gd name="T45" fmla="*/ 7307568 h 127"/>
                <a:gd name="T46" fmla="*/ 7338 w 60"/>
                <a:gd name="T47" fmla="*/ 8332826 h 12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127"/>
                <a:gd name="T74" fmla="*/ 60 w 60"/>
                <a:gd name="T75" fmla="*/ 127 h 12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127">
                  <a:moveTo>
                    <a:pt x="40" y="119"/>
                  </a:moveTo>
                  <a:lnTo>
                    <a:pt x="32" y="127"/>
                  </a:lnTo>
                  <a:lnTo>
                    <a:pt x="28" y="109"/>
                  </a:lnTo>
                  <a:lnTo>
                    <a:pt x="24" y="93"/>
                  </a:lnTo>
                  <a:lnTo>
                    <a:pt x="12" y="79"/>
                  </a:lnTo>
                  <a:lnTo>
                    <a:pt x="0" y="63"/>
                  </a:lnTo>
                  <a:lnTo>
                    <a:pt x="6" y="50"/>
                  </a:lnTo>
                  <a:lnTo>
                    <a:pt x="13" y="35"/>
                  </a:lnTo>
                  <a:lnTo>
                    <a:pt x="12" y="12"/>
                  </a:lnTo>
                  <a:lnTo>
                    <a:pt x="15" y="6"/>
                  </a:lnTo>
                  <a:lnTo>
                    <a:pt x="32" y="0"/>
                  </a:lnTo>
                  <a:lnTo>
                    <a:pt x="38" y="5"/>
                  </a:lnTo>
                  <a:lnTo>
                    <a:pt x="41" y="10"/>
                  </a:lnTo>
                  <a:lnTo>
                    <a:pt x="51" y="5"/>
                  </a:lnTo>
                  <a:lnTo>
                    <a:pt x="44" y="23"/>
                  </a:lnTo>
                  <a:lnTo>
                    <a:pt x="53" y="37"/>
                  </a:lnTo>
                  <a:lnTo>
                    <a:pt x="45" y="47"/>
                  </a:lnTo>
                  <a:lnTo>
                    <a:pt x="38" y="58"/>
                  </a:lnTo>
                  <a:lnTo>
                    <a:pt x="51" y="67"/>
                  </a:lnTo>
                  <a:lnTo>
                    <a:pt x="60" y="73"/>
                  </a:lnTo>
                  <a:lnTo>
                    <a:pt x="60" y="87"/>
                  </a:lnTo>
                  <a:lnTo>
                    <a:pt x="50" y="96"/>
                  </a:lnTo>
                  <a:lnTo>
                    <a:pt x="40" y="105"/>
                  </a:lnTo>
                  <a:lnTo>
                    <a:pt x="40" y="11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5" name="Freeform 56">
              <a:extLst>
                <a:ext uri="{FF2B5EF4-FFF2-40B4-BE49-F238E27FC236}">
                  <a16:creationId xmlns:a16="http://schemas.microsoft.com/office/drawing/2014/main" id="{94FEF65C-9F82-074C-1B69-8938239DB3BB}"/>
                </a:ext>
              </a:extLst>
            </p:cNvPr>
            <p:cNvSpPr>
              <a:spLocks/>
            </p:cNvSpPr>
            <p:nvPr/>
          </p:nvSpPr>
          <p:spPr bwMode="auto">
            <a:xfrm>
              <a:off x="3952260" y="3678316"/>
              <a:ext cx="126334" cy="148825"/>
            </a:xfrm>
            <a:custGeom>
              <a:avLst/>
              <a:gdLst>
                <a:gd name="T0" fmla="*/ 16424 w 66"/>
                <a:gd name="T1" fmla="*/ 5108626 h 74"/>
                <a:gd name="T2" fmla="*/ 12346 w 66"/>
                <a:gd name="T3" fmla="*/ 4431510 h 74"/>
                <a:gd name="T4" fmla="*/ 7688 w 66"/>
                <a:gd name="T5" fmla="*/ 3703245 h 74"/>
                <a:gd name="T6" fmla="*/ 3897 w 66"/>
                <a:gd name="T7" fmla="*/ 2874400 h 74"/>
                <a:gd name="T8" fmla="*/ 0 w 66"/>
                <a:gd name="T9" fmla="*/ 1920272 h 74"/>
                <a:gd name="T10" fmla="*/ 1274 w 66"/>
                <a:gd name="T11" fmla="*/ 1556192 h 74"/>
                <a:gd name="T12" fmla="*/ 3129 w 66"/>
                <a:gd name="T13" fmla="*/ 797912 h 74"/>
                <a:gd name="T14" fmla="*/ 5311 w 66"/>
                <a:gd name="T15" fmla="*/ 0 h 74"/>
                <a:gd name="T16" fmla="*/ 7688 w 66"/>
                <a:gd name="T17" fmla="*/ 0 h 74"/>
                <a:gd name="T18" fmla="*/ 9108 w 66"/>
                <a:gd name="T19" fmla="*/ 1313313 h 74"/>
                <a:gd name="T20" fmla="*/ 9577 w 66"/>
                <a:gd name="T21" fmla="*/ 1556192 h 74"/>
                <a:gd name="T22" fmla="*/ 11463 w 66"/>
                <a:gd name="T23" fmla="*/ 1142955 h 74"/>
                <a:gd name="T24" fmla="*/ 12414 w 66"/>
                <a:gd name="T25" fmla="*/ 1142955 h 74"/>
                <a:gd name="T26" fmla="*/ 12414 w 66"/>
                <a:gd name="T27" fmla="*/ 2265876 h 74"/>
                <a:gd name="T28" fmla="*/ 12414 w 66"/>
                <a:gd name="T29" fmla="*/ 2489752 h 74"/>
                <a:gd name="T30" fmla="*/ 15619 w 66"/>
                <a:gd name="T31" fmla="*/ 3093696 h 74"/>
                <a:gd name="T32" fmla="*/ 17465 w 66"/>
                <a:gd name="T33" fmla="*/ 3566401 h 74"/>
                <a:gd name="T34" fmla="*/ 16424 w 66"/>
                <a:gd name="T35" fmla="*/ 5108626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74"/>
                <a:gd name="T56" fmla="*/ 66 w 66"/>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74">
                  <a:moveTo>
                    <a:pt x="63" y="74"/>
                  </a:moveTo>
                  <a:lnTo>
                    <a:pt x="47" y="64"/>
                  </a:lnTo>
                  <a:lnTo>
                    <a:pt x="29" y="54"/>
                  </a:lnTo>
                  <a:lnTo>
                    <a:pt x="15" y="41"/>
                  </a:lnTo>
                  <a:lnTo>
                    <a:pt x="0" y="28"/>
                  </a:lnTo>
                  <a:lnTo>
                    <a:pt x="5" y="22"/>
                  </a:lnTo>
                  <a:lnTo>
                    <a:pt x="12" y="12"/>
                  </a:lnTo>
                  <a:lnTo>
                    <a:pt x="19" y="0"/>
                  </a:lnTo>
                  <a:lnTo>
                    <a:pt x="29" y="0"/>
                  </a:lnTo>
                  <a:lnTo>
                    <a:pt x="34" y="19"/>
                  </a:lnTo>
                  <a:lnTo>
                    <a:pt x="37" y="22"/>
                  </a:lnTo>
                  <a:lnTo>
                    <a:pt x="44" y="17"/>
                  </a:lnTo>
                  <a:lnTo>
                    <a:pt x="48" y="17"/>
                  </a:lnTo>
                  <a:lnTo>
                    <a:pt x="48" y="33"/>
                  </a:lnTo>
                  <a:lnTo>
                    <a:pt x="48" y="36"/>
                  </a:lnTo>
                  <a:lnTo>
                    <a:pt x="59" y="45"/>
                  </a:lnTo>
                  <a:lnTo>
                    <a:pt x="66" y="52"/>
                  </a:lnTo>
                  <a:lnTo>
                    <a:pt x="63" y="7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6" name="Freeform 57">
              <a:extLst>
                <a:ext uri="{FF2B5EF4-FFF2-40B4-BE49-F238E27FC236}">
                  <a16:creationId xmlns:a16="http://schemas.microsoft.com/office/drawing/2014/main" id="{59DD8F6D-674E-3F26-D57C-4E14B7AFE616}"/>
                </a:ext>
              </a:extLst>
            </p:cNvPr>
            <p:cNvSpPr>
              <a:spLocks/>
            </p:cNvSpPr>
            <p:nvPr/>
          </p:nvSpPr>
          <p:spPr bwMode="auto">
            <a:xfrm>
              <a:off x="7611139" y="4375362"/>
              <a:ext cx="1205767" cy="1018993"/>
            </a:xfrm>
            <a:custGeom>
              <a:avLst/>
              <a:gdLst>
                <a:gd name="T0" fmla="*/ 98179 w 629"/>
                <a:gd name="T1" fmla="*/ 788516 h 507"/>
                <a:gd name="T2" fmla="*/ 99327 w 629"/>
                <a:gd name="T3" fmla="*/ 1681517 h 507"/>
                <a:gd name="T4" fmla="*/ 91486 w 629"/>
                <a:gd name="T5" fmla="*/ 2324824 h 507"/>
                <a:gd name="T6" fmla="*/ 87881 w 629"/>
                <a:gd name="T7" fmla="*/ 3436000 h 507"/>
                <a:gd name="T8" fmla="*/ 86197 w 629"/>
                <a:gd name="T9" fmla="*/ 5054827 h 507"/>
                <a:gd name="T10" fmla="*/ 82860 w 629"/>
                <a:gd name="T11" fmla="*/ 5487095 h 507"/>
                <a:gd name="T12" fmla="*/ 77223 w 629"/>
                <a:gd name="T13" fmla="*/ 5962771 h 507"/>
                <a:gd name="T14" fmla="*/ 73917 w 629"/>
                <a:gd name="T15" fmla="*/ 3999131 h 507"/>
                <a:gd name="T16" fmla="*/ 69364 w 629"/>
                <a:gd name="T17" fmla="*/ 4223598 h 507"/>
                <a:gd name="T18" fmla="*/ 65791 w 629"/>
                <a:gd name="T19" fmla="*/ 5580002 h 507"/>
                <a:gd name="T20" fmla="*/ 62081 w 629"/>
                <a:gd name="T21" fmla="*/ 6395399 h 507"/>
                <a:gd name="T22" fmla="*/ 61292 w 629"/>
                <a:gd name="T23" fmla="*/ 7108971 h 507"/>
                <a:gd name="T24" fmla="*/ 58244 w 629"/>
                <a:gd name="T25" fmla="*/ 7064898 h 507"/>
                <a:gd name="T26" fmla="*/ 57021 w 629"/>
                <a:gd name="T27" fmla="*/ 9146664 h 507"/>
                <a:gd name="T28" fmla="*/ 50435 w 629"/>
                <a:gd name="T29" fmla="*/ 8550163 h 507"/>
                <a:gd name="T30" fmla="*/ 39349 w 629"/>
                <a:gd name="T31" fmla="*/ 11666672 h 507"/>
                <a:gd name="T32" fmla="*/ 25330 w 629"/>
                <a:gd name="T33" fmla="*/ 12390572 h 507"/>
                <a:gd name="T34" fmla="*/ 11830 w 629"/>
                <a:gd name="T35" fmla="*/ 13965790 h 507"/>
                <a:gd name="T36" fmla="*/ 7897 w 629"/>
                <a:gd name="T37" fmla="*/ 18739681 h 507"/>
                <a:gd name="T38" fmla="*/ 5729 w 629"/>
                <a:gd name="T39" fmla="*/ 18906016 h 507"/>
                <a:gd name="T40" fmla="*/ 4956 w 629"/>
                <a:gd name="T41" fmla="*/ 20806437 h 507"/>
                <a:gd name="T42" fmla="*/ 6573 w 629"/>
                <a:gd name="T43" fmla="*/ 25133660 h 507"/>
                <a:gd name="T44" fmla="*/ 1853 w 629"/>
                <a:gd name="T45" fmla="*/ 29055547 h 507"/>
                <a:gd name="T46" fmla="*/ 5729 w 629"/>
                <a:gd name="T47" fmla="*/ 31032689 h 507"/>
                <a:gd name="T48" fmla="*/ 19545 w 629"/>
                <a:gd name="T49" fmla="*/ 29675118 h 507"/>
                <a:gd name="T50" fmla="*/ 38503 w 629"/>
                <a:gd name="T51" fmla="*/ 28550852 h 507"/>
                <a:gd name="T52" fmla="*/ 60458 w 629"/>
                <a:gd name="T53" fmla="*/ 26967592 h 507"/>
                <a:gd name="T54" fmla="*/ 79502 w 629"/>
                <a:gd name="T55" fmla="*/ 27225470 h 507"/>
                <a:gd name="T56" fmla="*/ 82250 w 629"/>
                <a:gd name="T57" fmla="*/ 29491598 h 507"/>
                <a:gd name="T58" fmla="*/ 84652 w 629"/>
                <a:gd name="T59" fmla="*/ 30643487 h 507"/>
                <a:gd name="T60" fmla="*/ 95744 w 629"/>
                <a:gd name="T61" fmla="*/ 28817998 h 507"/>
                <a:gd name="T62" fmla="*/ 90578 w 629"/>
                <a:gd name="T63" fmla="*/ 31194160 h 507"/>
                <a:gd name="T64" fmla="*/ 94225 w 629"/>
                <a:gd name="T65" fmla="*/ 31595567 h 507"/>
                <a:gd name="T66" fmla="*/ 94787 w 629"/>
                <a:gd name="T67" fmla="*/ 34763531 h 507"/>
                <a:gd name="T68" fmla="*/ 110928 w 629"/>
                <a:gd name="T69" fmla="*/ 35116529 h 507"/>
                <a:gd name="T70" fmla="*/ 112682 w 629"/>
                <a:gd name="T71" fmla="*/ 35255517 h 507"/>
                <a:gd name="T72" fmla="*/ 116919 w 629"/>
                <a:gd name="T73" fmla="*/ 35659792 h 507"/>
                <a:gd name="T74" fmla="*/ 136299 w 629"/>
                <a:gd name="T75" fmla="*/ 33413990 h 507"/>
                <a:gd name="T76" fmla="*/ 150619 w 629"/>
                <a:gd name="T77" fmla="*/ 29055547 h 507"/>
                <a:gd name="T78" fmla="*/ 164660 w 629"/>
                <a:gd name="T79" fmla="*/ 25301234 h 507"/>
                <a:gd name="T80" fmla="*/ 171092 w 629"/>
                <a:gd name="T81" fmla="*/ 21189880 h 507"/>
                <a:gd name="T82" fmla="*/ 171092 w 629"/>
                <a:gd name="T83" fmla="*/ 17644736 h 507"/>
                <a:gd name="T84" fmla="*/ 167363 w 629"/>
                <a:gd name="T85" fmla="*/ 15092694 h 507"/>
                <a:gd name="T86" fmla="*/ 163272 w 629"/>
                <a:gd name="T87" fmla="*/ 13738530 h 507"/>
                <a:gd name="T88" fmla="*/ 158027 w 629"/>
                <a:gd name="T89" fmla="*/ 11174377 h 507"/>
                <a:gd name="T90" fmla="*/ 152465 w 629"/>
                <a:gd name="T91" fmla="*/ 6872643 h 507"/>
                <a:gd name="T92" fmla="*/ 146898 w 629"/>
                <a:gd name="T93" fmla="*/ 4618911 h 507"/>
                <a:gd name="T94" fmla="*/ 144441 w 629"/>
                <a:gd name="T95" fmla="*/ 945932 h 507"/>
                <a:gd name="T96" fmla="*/ 139955 w 629"/>
                <a:gd name="T97" fmla="*/ 1597380 h 507"/>
                <a:gd name="T98" fmla="*/ 138286 w 629"/>
                <a:gd name="T99" fmla="*/ 3102298 h 507"/>
                <a:gd name="T100" fmla="*/ 136299 w 629"/>
                <a:gd name="T101" fmla="*/ 5734453 h 507"/>
                <a:gd name="T102" fmla="*/ 123861 w 629"/>
                <a:gd name="T103" fmla="*/ 8114026 h 507"/>
                <a:gd name="T104" fmla="*/ 109974 w 629"/>
                <a:gd name="T105" fmla="*/ 5054827 h 507"/>
                <a:gd name="T106" fmla="*/ 116471 w 629"/>
                <a:gd name="T107" fmla="*/ 2788941 h 507"/>
                <a:gd name="T108" fmla="*/ 114216 w 629"/>
                <a:gd name="T109" fmla="*/ 1831501 h 507"/>
                <a:gd name="T110" fmla="*/ 106575 w 629"/>
                <a:gd name="T111" fmla="*/ 1621301 h 5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29"/>
                <a:gd name="T169" fmla="*/ 0 h 507"/>
                <a:gd name="T170" fmla="*/ 629 w 629"/>
                <a:gd name="T171" fmla="*/ 507 h 5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29" h="507">
                  <a:moveTo>
                    <a:pt x="369" y="11"/>
                  </a:moveTo>
                  <a:lnTo>
                    <a:pt x="361" y="10"/>
                  </a:lnTo>
                  <a:lnTo>
                    <a:pt x="357" y="8"/>
                  </a:lnTo>
                  <a:lnTo>
                    <a:pt x="355" y="11"/>
                  </a:lnTo>
                  <a:lnTo>
                    <a:pt x="351" y="10"/>
                  </a:lnTo>
                  <a:lnTo>
                    <a:pt x="357" y="13"/>
                  </a:lnTo>
                  <a:lnTo>
                    <a:pt x="363" y="17"/>
                  </a:lnTo>
                  <a:lnTo>
                    <a:pt x="360" y="24"/>
                  </a:lnTo>
                  <a:lnTo>
                    <a:pt x="355" y="26"/>
                  </a:lnTo>
                  <a:lnTo>
                    <a:pt x="341" y="24"/>
                  </a:lnTo>
                  <a:lnTo>
                    <a:pt x="337" y="27"/>
                  </a:lnTo>
                  <a:lnTo>
                    <a:pt x="332" y="33"/>
                  </a:lnTo>
                  <a:lnTo>
                    <a:pt x="329" y="30"/>
                  </a:lnTo>
                  <a:lnTo>
                    <a:pt x="326" y="35"/>
                  </a:lnTo>
                  <a:lnTo>
                    <a:pt x="321" y="43"/>
                  </a:lnTo>
                  <a:lnTo>
                    <a:pt x="319" y="48"/>
                  </a:lnTo>
                  <a:lnTo>
                    <a:pt x="313" y="53"/>
                  </a:lnTo>
                  <a:lnTo>
                    <a:pt x="306" y="67"/>
                  </a:lnTo>
                  <a:lnTo>
                    <a:pt x="312" y="68"/>
                  </a:lnTo>
                  <a:lnTo>
                    <a:pt x="313" y="71"/>
                  </a:lnTo>
                  <a:lnTo>
                    <a:pt x="309" y="77"/>
                  </a:lnTo>
                  <a:lnTo>
                    <a:pt x="315" y="84"/>
                  </a:lnTo>
                  <a:lnTo>
                    <a:pt x="302" y="74"/>
                  </a:lnTo>
                  <a:lnTo>
                    <a:pt x="300" y="77"/>
                  </a:lnTo>
                  <a:lnTo>
                    <a:pt x="290" y="72"/>
                  </a:lnTo>
                  <a:lnTo>
                    <a:pt x="287" y="81"/>
                  </a:lnTo>
                  <a:lnTo>
                    <a:pt x="284" y="81"/>
                  </a:lnTo>
                  <a:lnTo>
                    <a:pt x="280" y="84"/>
                  </a:lnTo>
                  <a:lnTo>
                    <a:pt x="281" y="80"/>
                  </a:lnTo>
                  <a:lnTo>
                    <a:pt x="284" y="69"/>
                  </a:lnTo>
                  <a:lnTo>
                    <a:pt x="270" y="53"/>
                  </a:lnTo>
                  <a:lnTo>
                    <a:pt x="268" y="56"/>
                  </a:lnTo>
                  <a:lnTo>
                    <a:pt x="261" y="59"/>
                  </a:lnTo>
                  <a:lnTo>
                    <a:pt x="260" y="58"/>
                  </a:lnTo>
                  <a:lnTo>
                    <a:pt x="257" y="59"/>
                  </a:lnTo>
                  <a:lnTo>
                    <a:pt x="252" y="59"/>
                  </a:lnTo>
                  <a:lnTo>
                    <a:pt x="251" y="68"/>
                  </a:lnTo>
                  <a:lnTo>
                    <a:pt x="248" y="64"/>
                  </a:lnTo>
                  <a:lnTo>
                    <a:pt x="239" y="72"/>
                  </a:lnTo>
                  <a:lnTo>
                    <a:pt x="239" y="78"/>
                  </a:lnTo>
                  <a:lnTo>
                    <a:pt x="233" y="77"/>
                  </a:lnTo>
                  <a:lnTo>
                    <a:pt x="236" y="85"/>
                  </a:lnTo>
                  <a:lnTo>
                    <a:pt x="229" y="83"/>
                  </a:lnTo>
                  <a:lnTo>
                    <a:pt x="225" y="90"/>
                  </a:lnTo>
                  <a:lnTo>
                    <a:pt x="226" y="91"/>
                  </a:lnTo>
                  <a:lnTo>
                    <a:pt x="228" y="90"/>
                  </a:lnTo>
                  <a:lnTo>
                    <a:pt x="223" y="94"/>
                  </a:lnTo>
                  <a:lnTo>
                    <a:pt x="223" y="100"/>
                  </a:lnTo>
                  <a:lnTo>
                    <a:pt x="228" y="100"/>
                  </a:lnTo>
                  <a:lnTo>
                    <a:pt x="219" y="100"/>
                  </a:lnTo>
                  <a:lnTo>
                    <a:pt x="215" y="100"/>
                  </a:lnTo>
                  <a:lnTo>
                    <a:pt x="212" y="99"/>
                  </a:lnTo>
                  <a:lnTo>
                    <a:pt x="209" y="103"/>
                  </a:lnTo>
                  <a:lnTo>
                    <a:pt x="212" y="112"/>
                  </a:lnTo>
                  <a:lnTo>
                    <a:pt x="207" y="113"/>
                  </a:lnTo>
                  <a:lnTo>
                    <a:pt x="207" y="128"/>
                  </a:lnTo>
                  <a:lnTo>
                    <a:pt x="203" y="114"/>
                  </a:lnTo>
                  <a:lnTo>
                    <a:pt x="199" y="101"/>
                  </a:lnTo>
                  <a:lnTo>
                    <a:pt x="193" y="107"/>
                  </a:lnTo>
                  <a:lnTo>
                    <a:pt x="183" y="120"/>
                  </a:lnTo>
                  <a:lnTo>
                    <a:pt x="183" y="132"/>
                  </a:lnTo>
                  <a:lnTo>
                    <a:pt x="168" y="149"/>
                  </a:lnTo>
                  <a:lnTo>
                    <a:pt x="155" y="157"/>
                  </a:lnTo>
                  <a:lnTo>
                    <a:pt x="143" y="164"/>
                  </a:lnTo>
                  <a:lnTo>
                    <a:pt x="124" y="168"/>
                  </a:lnTo>
                  <a:lnTo>
                    <a:pt x="111" y="173"/>
                  </a:lnTo>
                  <a:lnTo>
                    <a:pt x="97" y="177"/>
                  </a:lnTo>
                  <a:lnTo>
                    <a:pt x="92" y="174"/>
                  </a:lnTo>
                  <a:lnTo>
                    <a:pt x="71" y="189"/>
                  </a:lnTo>
                  <a:lnTo>
                    <a:pt x="49" y="203"/>
                  </a:lnTo>
                  <a:lnTo>
                    <a:pt x="43" y="209"/>
                  </a:lnTo>
                  <a:lnTo>
                    <a:pt x="43" y="197"/>
                  </a:lnTo>
                  <a:lnTo>
                    <a:pt x="36" y="215"/>
                  </a:lnTo>
                  <a:lnTo>
                    <a:pt x="29" y="235"/>
                  </a:lnTo>
                  <a:lnTo>
                    <a:pt x="27" y="250"/>
                  </a:lnTo>
                  <a:lnTo>
                    <a:pt x="29" y="263"/>
                  </a:lnTo>
                  <a:lnTo>
                    <a:pt x="30" y="276"/>
                  </a:lnTo>
                  <a:lnTo>
                    <a:pt x="26" y="279"/>
                  </a:lnTo>
                  <a:lnTo>
                    <a:pt x="26" y="274"/>
                  </a:lnTo>
                  <a:lnTo>
                    <a:pt x="21" y="266"/>
                  </a:lnTo>
                  <a:lnTo>
                    <a:pt x="21" y="284"/>
                  </a:lnTo>
                  <a:lnTo>
                    <a:pt x="17" y="276"/>
                  </a:lnTo>
                  <a:lnTo>
                    <a:pt x="15" y="276"/>
                  </a:lnTo>
                  <a:lnTo>
                    <a:pt x="18" y="292"/>
                  </a:lnTo>
                  <a:lnTo>
                    <a:pt x="20" y="309"/>
                  </a:lnTo>
                  <a:lnTo>
                    <a:pt x="23" y="324"/>
                  </a:lnTo>
                  <a:lnTo>
                    <a:pt x="24" y="340"/>
                  </a:lnTo>
                  <a:lnTo>
                    <a:pt x="23" y="353"/>
                  </a:lnTo>
                  <a:lnTo>
                    <a:pt x="21" y="366"/>
                  </a:lnTo>
                  <a:lnTo>
                    <a:pt x="20" y="379"/>
                  </a:lnTo>
                  <a:lnTo>
                    <a:pt x="18" y="392"/>
                  </a:lnTo>
                  <a:lnTo>
                    <a:pt x="7" y="409"/>
                  </a:lnTo>
                  <a:lnTo>
                    <a:pt x="0" y="411"/>
                  </a:lnTo>
                  <a:lnTo>
                    <a:pt x="0" y="422"/>
                  </a:lnTo>
                  <a:lnTo>
                    <a:pt x="10" y="430"/>
                  </a:lnTo>
                  <a:lnTo>
                    <a:pt x="21" y="436"/>
                  </a:lnTo>
                  <a:lnTo>
                    <a:pt x="40" y="434"/>
                  </a:lnTo>
                  <a:lnTo>
                    <a:pt x="59" y="427"/>
                  </a:lnTo>
                  <a:lnTo>
                    <a:pt x="62" y="424"/>
                  </a:lnTo>
                  <a:lnTo>
                    <a:pt x="72" y="417"/>
                  </a:lnTo>
                  <a:lnTo>
                    <a:pt x="88" y="417"/>
                  </a:lnTo>
                  <a:lnTo>
                    <a:pt x="106" y="417"/>
                  </a:lnTo>
                  <a:lnTo>
                    <a:pt x="126" y="415"/>
                  </a:lnTo>
                  <a:lnTo>
                    <a:pt x="140" y="401"/>
                  </a:lnTo>
                  <a:lnTo>
                    <a:pt x="161" y="393"/>
                  </a:lnTo>
                  <a:lnTo>
                    <a:pt x="181" y="386"/>
                  </a:lnTo>
                  <a:lnTo>
                    <a:pt x="200" y="382"/>
                  </a:lnTo>
                  <a:lnTo>
                    <a:pt x="219" y="379"/>
                  </a:lnTo>
                  <a:lnTo>
                    <a:pt x="238" y="376"/>
                  </a:lnTo>
                  <a:lnTo>
                    <a:pt x="257" y="373"/>
                  </a:lnTo>
                  <a:lnTo>
                    <a:pt x="268" y="376"/>
                  </a:lnTo>
                  <a:lnTo>
                    <a:pt x="289" y="383"/>
                  </a:lnTo>
                  <a:lnTo>
                    <a:pt x="293" y="389"/>
                  </a:lnTo>
                  <a:lnTo>
                    <a:pt x="294" y="393"/>
                  </a:lnTo>
                  <a:lnTo>
                    <a:pt x="297" y="401"/>
                  </a:lnTo>
                  <a:lnTo>
                    <a:pt x="299" y="414"/>
                  </a:lnTo>
                  <a:lnTo>
                    <a:pt x="300" y="425"/>
                  </a:lnTo>
                  <a:lnTo>
                    <a:pt x="297" y="425"/>
                  </a:lnTo>
                  <a:lnTo>
                    <a:pt x="305" y="433"/>
                  </a:lnTo>
                  <a:lnTo>
                    <a:pt x="308" y="430"/>
                  </a:lnTo>
                  <a:lnTo>
                    <a:pt x="325" y="414"/>
                  </a:lnTo>
                  <a:lnTo>
                    <a:pt x="344" y="401"/>
                  </a:lnTo>
                  <a:lnTo>
                    <a:pt x="351" y="391"/>
                  </a:lnTo>
                  <a:lnTo>
                    <a:pt x="347" y="405"/>
                  </a:lnTo>
                  <a:lnTo>
                    <a:pt x="337" y="418"/>
                  </a:lnTo>
                  <a:lnTo>
                    <a:pt x="325" y="433"/>
                  </a:lnTo>
                  <a:lnTo>
                    <a:pt x="318" y="438"/>
                  </a:lnTo>
                  <a:lnTo>
                    <a:pt x="329" y="438"/>
                  </a:lnTo>
                  <a:lnTo>
                    <a:pt x="342" y="421"/>
                  </a:lnTo>
                  <a:lnTo>
                    <a:pt x="347" y="430"/>
                  </a:lnTo>
                  <a:lnTo>
                    <a:pt x="334" y="444"/>
                  </a:lnTo>
                  <a:lnTo>
                    <a:pt x="342" y="444"/>
                  </a:lnTo>
                  <a:lnTo>
                    <a:pt x="345" y="444"/>
                  </a:lnTo>
                  <a:lnTo>
                    <a:pt x="350" y="453"/>
                  </a:lnTo>
                  <a:lnTo>
                    <a:pt x="342" y="469"/>
                  </a:lnTo>
                  <a:lnTo>
                    <a:pt x="344" y="488"/>
                  </a:lnTo>
                  <a:lnTo>
                    <a:pt x="358" y="494"/>
                  </a:lnTo>
                  <a:lnTo>
                    <a:pt x="370" y="498"/>
                  </a:lnTo>
                  <a:lnTo>
                    <a:pt x="380" y="502"/>
                  </a:lnTo>
                  <a:lnTo>
                    <a:pt x="402" y="494"/>
                  </a:lnTo>
                  <a:lnTo>
                    <a:pt x="402" y="491"/>
                  </a:lnTo>
                  <a:lnTo>
                    <a:pt x="412" y="486"/>
                  </a:lnTo>
                  <a:lnTo>
                    <a:pt x="405" y="495"/>
                  </a:lnTo>
                  <a:lnTo>
                    <a:pt x="409" y="495"/>
                  </a:lnTo>
                  <a:lnTo>
                    <a:pt x="415" y="495"/>
                  </a:lnTo>
                  <a:lnTo>
                    <a:pt x="418" y="504"/>
                  </a:lnTo>
                  <a:lnTo>
                    <a:pt x="421" y="507"/>
                  </a:lnTo>
                  <a:lnTo>
                    <a:pt x="425" y="501"/>
                  </a:lnTo>
                  <a:lnTo>
                    <a:pt x="454" y="486"/>
                  </a:lnTo>
                  <a:lnTo>
                    <a:pt x="469" y="485"/>
                  </a:lnTo>
                  <a:lnTo>
                    <a:pt x="488" y="479"/>
                  </a:lnTo>
                  <a:lnTo>
                    <a:pt x="495" y="469"/>
                  </a:lnTo>
                  <a:lnTo>
                    <a:pt x="511" y="452"/>
                  </a:lnTo>
                  <a:lnTo>
                    <a:pt x="527" y="434"/>
                  </a:lnTo>
                  <a:lnTo>
                    <a:pt x="541" y="414"/>
                  </a:lnTo>
                  <a:lnTo>
                    <a:pt x="547" y="409"/>
                  </a:lnTo>
                  <a:lnTo>
                    <a:pt x="566" y="393"/>
                  </a:lnTo>
                  <a:lnTo>
                    <a:pt x="573" y="389"/>
                  </a:lnTo>
                  <a:lnTo>
                    <a:pt x="585" y="373"/>
                  </a:lnTo>
                  <a:lnTo>
                    <a:pt x="597" y="356"/>
                  </a:lnTo>
                  <a:lnTo>
                    <a:pt x="610" y="340"/>
                  </a:lnTo>
                  <a:lnTo>
                    <a:pt x="620" y="322"/>
                  </a:lnTo>
                  <a:lnTo>
                    <a:pt x="620" y="311"/>
                  </a:lnTo>
                  <a:lnTo>
                    <a:pt x="621" y="298"/>
                  </a:lnTo>
                  <a:lnTo>
                    <a:pt x="624" y="284"/>
                  </a:lnTo>
                  <a:lnTo>
                    <a:pt x="629" y="270"/>
                  </a:lnTo>
                  <a:lnTo>
                    <a:pt x="627" y="258"/>
                  </a:lnTo>
                  <a:lnTo>
                    <a:pt x="621" y="248"/>
                  </a:lnTo>
                  <a:lnTo>
                    <a:pt x="616" y="239"/>
                  </a:lnTo>
                  <a:lnTo>
                    <a:pt x="605" y="228"/>
                  </a:lnTo>
                  <a:lnTo>
                    <a:pt x="610" y="207"/>
                  </a:lnTo>
                  <a:lnTo>
                    <a:pt x="607" y="212"/>
                  </a:lnTo>
                  <a:lnTo>
                    <a:pt x="600" y="205"/>
                  </a:lnTo>
                  <a:lnTo>
                    <a:pt x="598" y="212"/>
                  </a:lnTo>
                  <a:lnTo>
                    <a:pt x="592" y="207"/>
                  </a:lnTo>
                  <a:lnTo>
                    <a:pt x="592" y="193"/>
                  </a:lnTo>
                  <a:lnTo>
                    <a:pt x="586" y="178"/>
                  </a:lnTo>
                  <a:lnTo>
                    <a:pt x="588" y="173"/>
                  </a:lnTo>
                  <a:lnTo>
                    <a:pt x="584" y="168"/>
                  </a:lnTo>
                  <a:lnTo>
                    <a:pt x="573" y="157"/>
                  </a:lnTo>
                  <a:lnTo>
                    <a:pt x="556" y="144"/>
                  </a:lnTo>
                  <a:lnTo>
                    <a:pt x="556" y="126"/>
                  </a:lnTo>
                  <a:lnTo>
                    <a:pt x="555" y="110"/>
                  </a:lnTo>
                  <a:lnTo>
                    <a:pt x="553" y="97"/>
                  </a:lnTo>
                  <a:lnTo>
                    <a:pt x="555" y="80"/>
                  </a:lnTo>
                  <a:lnTo>
                    <a:pt x="552" y="72"/>
                  </a:lnTo>
                  <a:lnTo>
                    <a:pt x="543" y="62"/>
                  </a:lnTo>
                  <a:lnTo>
                    <a:pt x="533" y="65"/>
                  </a:lnTo>
                  <a:lnTo>
                    <a:pt x="531" y="52"/>
                  </a:lnTo>
                  <a:lnTo>
                    <a:pt x="530" y="39"/>
                  </a:lnTo>
                  <a:lnTo>
                    <a:pt x="528" y="23"/>
                  </a:lnTo>
                  <a:lnTo>
                    <a:pt x="524" y="13"/>
                  </a:lnTo>
                  <a:lnTo>
                    <a:pt x="521" y="4"/>
                  </a:lnTo>
                  <a:lnTo>
                    <a:pt x="520" y="0"/>
                  </a:lnTo>
                  <a:lnTo>
                    <a:pt x="511" y="14"/>
                  </a:lnTo>
                  <a:lnTo>
                    <a:pt x="508" y="22"/>
                  </a:lnTo>
                  <a:lnTo>
                    <a:pt x="504" y="32"/>
                  </a:lnTo>
                  <a:lnTo>
                    <a:pt x="507" y="33"/>
                  </a:lnTo>
                  <a:lnTo>
                    <a:pt x="505" y="36"/>
                  </a:lnTo>
                  <a:lnTo>
                    <a:pt x="501" y="43"/>
                  </a:lnTo>
                  <a:lnTo>
                    <a:pt x="501" y="51"/>
                  </a:lnTo>
                  <a:lnTo>
                    <a:pt x="498" y="51"/>
                  </a:lnTo>
                  <a:lnTo>
                    <a:pt x="496" y="65"/>
                  </a:lnTo>
                  <a:lnTo>
                    <a:pt x="495" y="80"/>
                  </a:lnTo>
                  <a:lnTo>
                    <a:pt x="485" y="100"/>
                  </a:lnTo>
                  <a:lnTo>
                    <a:pt x="473" y="120"/>
                  </a:lnTo>
                  <a:lnTo>
                    <a:pt x="462" y="123"/>
                  </a:lnTo>
                  <a:lnTo>
                    <a:pt x="450" y="114"/>
                  </a:lnTo>
                  <a:lnTo>
                    <a:pt x="434" y="103"/>
                  </a:lnTo>
                  <a:lnTo>
                    <a:pt x="418" y="91"/>
                  </a:lnTo>
                  <a:lnTo>
                    <a:pt x="409" y="81"/>
                  </a:lnTo>
                  <a:lnTo>
                    <a:pt x="399" y="71"/>
                  </a:lnTo>
                  <a:lnTo>
                    <a:pt x="409" y="53"/>
                  </a:lnTo>
                  <a:lnTo>
                    <a:pt x="415" y="43"/>
                  </a:lnTo>
                  <a:lnTo>
                    <a:pt x="418" y="45"/>
                  </a:lnTo>
                  <a:lnTo>
                    <a:pt x="422" y="39"/>
                  </a:lnTo>
                  <a:lnTo>
                    <a:pt x="430" y="29"/>
                  </a:lnTo>
                  <a:lnTo>
                    <a:pt x="422" y="22"/>
                  </a:lnTo>
                  <a:lnTo>
                    <a:pt x="415" y="30"/>
                  </a:lnTo>
                  <a:lnTo>
                    <a:pt x="414" y="26"/>
                  </a:lnTo>
                  <a:lnTo>
                    <a:pt x="409" y="26"/>
                  </a:lnTo>
                  <a:lnTo>
                    <a:pt x="411" y="23"/>
                  </a:lnTo>
                  <a:lnTo>
                    <a:pt x="398" y="26"/>
                  </a:lnTo>
                  <a:lnTo>
                    <a:pt x="387" y="23"/>
                  </a:lnTo>
                  <a:lnTo>
                    <a:pt x="379" y="19"/>
                  </a:lnTo>
                  <a:lnTo>
                    <a:pt x="369" y="1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7" name="Freeform 58">
              <a:extLst>
                <a:ext uri="{FF2B5EF4-FFF2-40B4-BE49-F238E27FC236}">
                  <a16:creationId xmlns:a16="http://schemas.microsoft.com/office/drawing/2014/main" id="{9C60FD2A-5D6B-C256-6069-0F0E6FB652C1}"/>
                </a:ext>
              </a:extLst>
            </p:cNvPr>
            <p:cNvSpPr>
              <a:spLocks/>
            </p:cNvSpPr>
            <p:nvPr/>
          </p:nvSpPr>
          <p:spPr bwMode="auto">
            <a:xfrm>
              <a:off x="8314770" y="5455101"/>
              <a:ext cx="121536" cy="104784"/>
            </a:xfrm>
            <a:custGeom>
              <a:avLst/>
              <a:gdLst>
                <a:gd name="T0" fmla="*/ 8265 w 63"/>
                <a:gd name="T1" fmla="*/ 4023978 h 51"/>
                <a:gd name="T2" fmla="*/ 2223 w 63"/>
                <a:gd name="T3" fmla="*/ 5200984 h 51"/>
                <a:gd name="T4" fmla="*/ 0 w 63"/>
                <a:gd name="T5" fmla="*/ 4562884 h 51"/>
                <a:gd name="T6" fmla="*/ 2 w 63"/>
                <a:gd name="T7" fmla="*/ 4562884 h 51"/>
                <a:gd name="T8" fmla="*/ 2 w 63"/>
                <a:gd name="T9" fmla="*/ 2978384 h 51"/>
                <a:gd name="T10" fmla="*/ 1050 w 63"/>
                <a:gd name="T11" fmla="*/ 2897410 h 51"/>
                <a:gd name="T12" fmla="*/ 1843 w 63"/>
                <a:gd name="T13" fmla="*/ 2978384 h 51"/>
                <a:gd name="T14" fmla="*/ 2223 w 63"/>
                <a:gd name="T15" fmla="*/ 1630750 h 51"/>
                <a:gd name="T16" fmla="*/ 3045 w 63"/>
                <a:gd name="T17" fmla="*/ 310485 h 51"/>
                <a:gd name="T18" fmla="*/ 4431 w 63"/>
                <a:gd name="T19" fmla="*/ 0 h 51"/>
                <a:gd name="T20" fmla="*/ 8426 w 63"/>
                <a:gd name="T21" fmla="*/ 653678 h 51"/>
                <a:gd name="T22" fmla="*/ 13170 w 63"/>
                <a:gd name="T23" fmla="*/ 1194943 h 51"/>
                <a:gd name="T24" fmla="*/ 14731 w 63"/>
                <a:gd name="T25" fmla="*/ 507832 h 51"/>
                <a:gd name="T26" fmla="*/ 21115 w 63"/>
                <a:gd name="T27" fmla="*/ 310485 h 51"/>
                <a:gd name="T28" fmla="*/ 15947 w 63"/>
                <a:gd name="T29" fmla="*/ 2515766 h 51"/>
                <a:gd name="T30" fmla="*/ 14793 w 63"/>
                <a:gd name="T31" fmla="*/ 2515766 h 51"/>
                <a:gd name="T32" fmla="*/ 9384 w 63"/>
                <a:gd name="T33" fmla="*/ 4535681 h 51"/>
                <a:gd name="T34" fmla="*/ 10165 w 63"/>
                <a:gd name="T35" fmla="*/ 4204085 h 51"/>
                <a:gd name="T36" fmla="*/ 8426 w 63"/>
                <a:gd name="T37" fmla="*/ 4023978 h 51"/>
                <a:gd name="T38" fmla="*/ 8265 w 63"/>
                <a:gd name="T39" fmla="*/ 4023978 h 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3"/>
                <a:gd name="T61" fmla="*/ 0 h 51"/>
                <a:gd name="T62" fmla="*/ 63 w 63"/>
                <a:gd name="T63" fmla="*/ 51 h 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3" h="51">
                  <a:moveTo>
                    <a:pt x="25" y="39"/>
                  </a:moveTo>
                  <a:lnTo>
                    <a:pt x="7" y="51"/>
                  </a:lnTo>
                  <a:lnTo>
                    <a:pt x="0" y="45"/>
                  </a:lnTo>
                  <a:lnTo>
                    <a:pt x="2" y="45"/>
                  </a:lnTo>
                  <a:lnTo>
                    <a:pt x="2" y="29"/>
                  </a:lnTo>
                  <a:lnTo>
                    <a:pt x="3" y="28"/>
                  </a:lnTo>
                  <a:lnTo>
                    <a:pt x="6" y="29"/>
                  </a:lnTo>
                  <a:lnTo>
                    <a:pt x="7" y="16"/>
                  </a:lnTo>
                  <a:lnTo>
                    <a:pt x="9" y="3"/>
                  </a:lnTo>
                  <a:lnTo>
                    <a:pt x="13" y="0"/>
                  </a:lnTo>
                  <a:lnTo>
                    <a:pt x="26" y="6"/>
                  </a:lnTo>
                  <a:lnTo>
                    <a:pt x="39" y="12"/>
                  </a:lnTo>
                  <a:lnTo>
                    <a:pt x="44" y="5"/>
                  </a:lnTo>
                  <a:lnTo>
                    <a:pt x="63" y="3"/>
                  </a:lnTo>
                  <a:lnTo>
                    <a:pt x="48" y="25"/>
                  </a:lnTo>
                  <a:lnTo>
                    <a:pt x="45" y="25"/>
                  </a:lnTo>
                  <a:lnTo>
                    <a:pt x="28" y="44"/>
                  </a:lnTo>
                  <a:lnTo>
                    <a:pt x="31" y="41"/>
                  </a:lnTo>
                  <a:lnTo>
                    <a:pt x="26" y="39"/>
                  </a:lnTo>
                  <a:lnTo>
                    <a:pt x="25" y="39"/>
                  </a:lnTo>
                  <a:close/>
                </a:path>
              </a:pathLst>
            </a:custGeom>
            <a:solidFill>
              <a:srgbClr val="8B8D8D">
                <a:lumMod val="40000"/>
                <a:lumOff val="60000"/>
              </a:srgbClr>
            </a:solidFill>
            <a:ln w="1588">
              <a:solidFill>
                <a:schemeClr val="bg1"/>
              </a:solidFill>
              <a:prstDash val="solid"/>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8" name="Freeform 59">
              <a:extLst>
                <a:ext uri="{FF2B5EF4-FFF2-40B4-BE49-F238E27FC236}">
                  <a16:creationId xmlns:a16="http://schemas.microsoft.com/office/drawing/2014/main" id="{3CF13D9E-617B-5FA6-D323-AB6B93671FCD}"/>
                </a:ext>
              </a:extLst>
            </p:cNvPr>
            <p:cNvSpPr>
              <a:spLocks/>
            </p:cNvSpPr>
            <p:nvPr/>
          </p:nvSpPr>
          <p:spPr bwMode="auto">
            <a:xfrm>
              <a:off x="4652693" y="4601637"/>
              <a:ext cx="407786" cy="426731"/>
            </a:xfrm>
            <a:custGeom>
              <a:avLst/>
              <a:gdLst>
                <a:gd name="T0" fmla="*/ 38224 w 212"/>
                <a:gd name="T1" fmla="*/ 9463036 h 213"/>
                <a:gd name="T2" fmla="*/ 38883 w 212"/>
                <a:gd name="T3" fmla="*/ 7742877 h 213"/>
                <a:gd name="T4" fmla="*/ 38883 w 212"/>
                <a:gd name="T5" fmla="*/ 6151843 h 213"/>
                <a:gd name="T6" fmla="*/ 43569 w 212"/>
                <a:gd name="T7" fmla="*/ 6151843 h 213"/>
                <a:gd name="T8" fmla="*/ 43569 w 212"/>
                <a:gd name="T9" fmla="*/ 4875031 h 213"/>
                <a:gd name="T10" fmla="*/ 44014 w 212"/>
                <a:gd name="T11" fmla="*/ 3822836 h 213"/>
                <a:gd name="T12" fmla="*/ 44014 w 212"/>
                <a:gd name="T13" fmla="*/ 2724690 h 213"/>
                <a:gd name="T14" fmla="*/ 44255 w 212"/>
                <a:gd name="T15" fmla="*/ 1550763 h 213"/>
                <a:gd name="T16" fmla="*/ 49967 w 212"/>
                <a:gd name="T17" fmla="*/ 1444589 h 213"/>
                <a:gd name="T18" fmla="*/ 55633 w 212"/>
                <a:gd name="T19" fmla="*/ 1229378 h 213"/>
                <a:gd name="T20" fmla="*/ 57503 w 212"/>
                <a:gd name="T21" fmla="*/ 1760377 h 213"/>
                <a:gd name="T22" fmla="*/ 60701 w 212"/>
                <a:gd name="T23" fmla="*/ 1229378 h 213"/>
                <a:gd name="T24" fmla="*/ 65009 w 212"/>
                <a:gd name="T25" fmla="*/ 972619 h 213"/>
                <a:gd name="T26" fmla="*/ 59860 w 212"/>
                <a:gd name="T27" fmla="*/ 528183 h 213"/>
                <a:gd name="T28" fmla="*/ 56514 w 212"/>
                <a:gd name="T29" fmla="*/ 756319 h 213"/>
                <a:gd name="T30" fmla="*/ 48938 w 212"/>
                <a:gd name="T31" fmla="*/ 972619 h 213"/>
                <a:gd name="T32" fmla="*/ 41869 w 212"/>
                <a:gd name="T33" fmla="*/ 1134064 h 213"/>
                <a:gd name="T34" fmla="*/ 37442 w 212"/>
                <a:gd name="T35" fmla="*/ 909295 h 213"/>
                <a:gd name="T36" fmla="*/ 33110 w 212"/>
                <a:gd name="T37" fmla="*/ 679239 h 213"/>
                <a:gd name="T38" fmla="*/ 32326 w 212"/>
                <a:gd name="T39" fmla="*/ 474354 h 213"/>
                <a:gd name="T40" fmla="*/ 26194 w 212"/>
                <a:gd name="T41" fmla="*/ 331270 h 213"/>
                <a:gd name="T42" fmla="*/ 20945 w 212"/>
                <a:gd name="T43" fmla="*/ 331270 h 213"/>
                <a:gd name="T44" fmla="*/ 14936 w 212"/>
                <a:gd name="T45" fmla="*/ 331270 h 213"/>
                <a:gd name="T46" fmla="*/ 9556 w 212"/>
                <a:gd name="T47" fmla="*/ 309702 h 213"/>
                <a:gd name="T48" fmla="*/ 6161 w 212"/>
                <a:gd name="T49" fmla="*/ 0 h 213"/>
                <a:gd name="T50" fmla="*/ 2 w 212"/>
                <a:gd name="T51" fmla="*/ 309702 h 213"/>
                <a:gd name="T52" fmla="*/ 0 w 212"/>
                <a:gd name="T53" fmla="*/ 972619 h 213"/>
                <a:gd name="T54" fmla="*/ 2943 w 212"/>
                <a:gd name="T55" fmla="*/ 2467947 h 213"/>
                <a:gd name="T56" fmla="*/ 6595 w 212"/>
                <a:gd name="T57" fmla="*/ 3935646 h 213"/>
                <a:gd name="T58" fmla="*/ 9556 w 212"/>
                <a:gd name="T59" fmla="*/ 5381520 h 213"/>
                <a:gd name="T60" fmla="*/ 12897 w 212"/>
                <a:gd name="T61" fmla="*/ 6918558 h 213"/>
                <a:gd name="T62" fmla="*/ 13662 w 212"/>
                <a:gd name="T63" fmla="*/ 7519325 h 213"/>
                <a:gd name="T64" fmla="*/ 12417 w 212"/>
                <a:gd name="T65" fmla="*/ 7519325 h 213"/>
                <a:gd name="T66" fmla="*/ 13662 w 212"/>
                <a:gd name="T67" fmla="*/ 8696515 h 213"/>
                <a:gd name="T68" fmla="*/ 14533 w 212"/>
                <a:gd name="T69" fmla="*/ 9936780 h 213"/>
                <a:gd name="T70" fmla="*/ 14837 w 212"/>
                <a:gd name="T71" fmla="*/ 11223960 h 213"/>
                <a:gd name="T72" fmla="*/ 15513 w 212"/>
                <a:gd name="T73" fmla="*/ 12465366 h 213"/>
                <a:gd name="T74" fmla="*/ 18575 w 212"/>
                <a:gd name="T75" fmla="*/ 13368006 h 213"/>
                <a:gd name="T76" fmla="*/ 20945 w 212"/>
                <a:gd name="T77" fmla="*/ 14079191 h 213"/>
                <a:gd name="T78" fmla="*/ 23775 w 212"/>
                <a:gd name="T79" fmla="*/ 13424916 h 213"/>
                <a:gd name="T80" fmla="*/ 25292 w 212"/>
                <a:gd name="T81" fmla="*/ 14228718 h 213"/>
                <a:gd name="T82" fmla="*/ 32474 w 212"/>
                <a:gd name="T83" fmla="*/ 14523065 h 213"/>
                <a:gd name="T84" fmla="*/ 36449 w 212"/>
                <a:gd name="T85" fmla="*/ 14024583 h 213"/>
                <a:gd name="T86" fmla="*/ 37356 w 212"/>
                <a:gd name="T87" fmla="*/ 12793060 h 213"/>
                <a:gd name="T88" fmla="*/ 37442 w 212"/>
                <a:gd name="T89" fmla="*/ 11711616 h 213"/>
                <a:gd name="T90" fmla="*/ 37898 w 212"/>
                <a:gd name="T91" fmla="*/ 10569496 h 213"/>
                <a:gd name="T92" fmla="*/ 38224 w 212"/>
                <a:gd name="T93" fmla="*/ 9463036 h 2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2"/>
                <a:gd name="T142" fmla="*/ 0 h 213"/>
                <a:gd name="T143" fmla="*/ 212 w 212"/>
                <a:gd name="T144" fmla="*/ 213 h 2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2" h="213">
                  <a:moveTo>
                    <a:pt x="125" y="139"/>
                  </a:moveTo>
                  <a:lnTo>
                    <a:pt x="126" y="114"/>
                  </a:lnTo>
                  <a:lnTo>
                    <a:pt x="126" y="90"/>
                  </a:lnTo>
                  <a:lnTo>
                    <a:pt x="142" y="90"/>
                  </a:lnTo>
                  <a:lnTo>
                    <a:pt x="142" y="72"/>
                  </a:lnTo>
                  <a:lnTo>
                    <a:pt x="144" y="56"/>
                  </a:lnTo>
                  <a:lnTo>
                    <a:pt x="144" y="40"/>
                  </a:lnTo>
                  <a:lnTo>
                    <a:pt x="145" y="23"/>
                  </a:lnTo>
                  <a:lnTo>
                    <a:pt x="163" y="21"/>
                  </a:lnTo>
                  <a:lnTo>
                    <a:pt x="182" y="18"/>
                  </a:lnTo>
                  <a:lnTo>
                    <a:pt x="187" y="26"/>
                  </a:lnTo>
                  <a:lnTo>
                    <a:pt x="199" y="18"/>
                  </a:lnTo>
                  <a:lnTo>
                    <a:pt x="212" y="14"/>
                  </a:lnTo>
                  <a:lnTo>
                    <a:pt x="195" y="8"/>
                  </a:lnTo>
                  <a:lnTo>
                    <a:pt x="185" y="11"/>
                  </a:lnTo>
                  <a:lnTo>
                    <a:pt x="160" y="14"/>
                  </a:lnTo>
                  <a:lnTo>
                    <a:pt x="137" y="17"/>
                  </a:lnTo>
                  <a:lnTo>
                    <a:pt x="122" y="13"/>
                  </a:lnTo>
                  <a:lnTo>
                    <a:pt x="108" y="10"/>
                  </a:lnTo>
                  <a:lnTo>
                    <a:pt x="105" y="7"/>
                  </a:lnTo>
                  <a:lnTo>
                    <a:pt x="86" y="5"/>
                  </a:lnTo>
                  <a:lnTo>
                    <a:pt x="68" y="5"/>
                  </a:lnTo>
                  <a:lnTo>
                    <a:pt x="49" y="5"/>
                  </a:lnTo>
                  <a:lnTo>
                    <a:pt x="32" y="4"/>
                  </a:lnTo>
                  <a:lnTo>
                    <a:pt x="20" y="0"/>
                  </a:lnTo>
                  <a:lnTo>
                    <a:pt x="2" y="4"/>
                  </a:lnTo>
                  <a:lnTo>
                    <a:pt x="0" y="14"/>
                  </a:lnTo>
                  <a:lnTo>
                    <a:pt x="10" y="36"/>
                  </a:lnTo>
                  <a:lnTo>
                    <a:pt x="22" y="58"/>
                  </a:lnTo>
                  <a:lnTo>
                    <a:pt x="32" y="79"/>
                  </a:lnTo>
                  <a:lnTo>
                    <a:pt x="42" y="101"/>
                  </a:lnTo>
                  <a:lnTo>
                    <a:pt x="44" y="110"/>
                  </a:lnTo>
                  <a:lnTo>
                    <a:pt x="41" y="110"/>
                  </a:lnTo>
                  <a:lnTo>
                    <a:pt x="44" y="127"/>
                  </a:lnTo>
                  <a:lnTo>
                    <a:pt x="47" y="146"/>
                  </a:lnTo>
                  <a:lnTo>
                    <a:pt x="48" y="165"/>
                  </a:lnTo>
                  <a:lnTo>
                    <a:pt x="51" y="183"/>
                  </a:lnTo>
                  <a:lnTo>
                    <a:pt x="60" y="196"/>
                  </a:lnTo>
                  <a:lnTo>
                    <a:pt x="68" y="207"/>
                  </a:lnTo>
                  <a:lnTo>
                    <a:pt x="77" y="197"/>
                  </a:lnTo>
                  <a:lnTo>
                    <a:pt x="83" y="209"/>
                  </a:lnTo>
                  <a:lnTo>
                    <a:pt x="106" y="213"/>
                  </a:lnTo>
                  <a:lnTo>
                    <a:pt x="119" y="206"/>
                  </a:lnTo>
                  <a:lnTo>
                    <a:pt x="121" y="188"/>
                  </a:lnTo>
                  <a:lnTo>
                    <a:pt x="122" y="172"/>
                  </a:lnTo>
                  <a:lnTo>
                    <a:pt x="124" y="155"/>
                  </a:lnTo>
                  <a:lnTo>
                    <a:pt x="125" y="13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19" name="Freeform 60">
              <a:extLst>
                <a:ext uri="{FF2B5EF4-FFF2-40B4-BE49-F238E27FC236}">
                  <a16:creationId xmlns:a16="http://schemas.microsoft.com/office/drawing/2014/main" id="{D41E9404-C6EA-DA37-C019-BF9FC093FD5E}"/>
                </a:ext>
              </a:extLst>
            </p:cNvPr>
            <p:cNvSpPr>
              <a:spLocks/>
            </p:cNvSpPr>
            <p:nvPr/>
          </p:nvSpPr>
          <p:spPr bwMode="auto">
            <a:xfrm>
              <a:off x="4892567" y="4627453"/>
              <a:ext cx="278254" cy="324985"/>
            </a:xfrm>
            <a:custGeom>
              <a:avLst/>
              <a:gdLst>
                <a:gd name="T0" fmla="*/ 0 w 145"/>
                <a:gd name="T1" fmla="*/ 9047113 h 161"/>
                <a:gd name="T2" fmla="*/ 1 w 145"/>
                <a:gd name="T3" fmla="*/ 7211177 h 161"/>
                <a:gd name="T4" fmla="*/ 1 w 145"/>
                <a:gd name="T5" fmla="*/ 5488866 h 161"/>
                <a:gd name="T6" fmla="*/ 4768 w 145"/>
                <a:gd name="T7" fmla="*/ 5488866 h 161"/>
                <a:gd name="T8" fmla="*/ 4768 w 145"/>
                <a:gd name="T9" fmla="*/ 4199629 h 161"/>
                <a:gd name="T10" fmla="*/ 5572 w 145"/>
                <a:gd name="T11" fmla="*/ 3020860 h 161"/>
                <a:gd name="T12" fmla="*/ 5572 w 145"/>
                <a:gd name="T13" fmla="*/ 1858338 h 161"/>
                <a:gd name="T14" fmla="*/ 5722 w 145"/>
                <a:gd name="T15" fmla="*/ 666987 h 161"/>
                <a:gd name="T16" fmla="*/ 10872 w 145"/>
                <a:gd name="T17" fmla="*/ 496822 h 161"/>
                <a:gd name="T18" fmla="*/ 16260 w 145"/>
                <a:gd name="T19" fmla="*/ 324000 h 161"/>
                <a:gd name="T20" fmla="*/ 17645 w 145"/>
                <a:gd name="T21" fmla="*/ 826590 h 161"/>
                <a:gd name="T22" fmla="*/ 21174 w 145"/>
                <a:gd name="T23" fmla="*/ 324000 h 161"/>
                <a:gd name="T24" fmla="*/ 24760 w 145"/>
                <a:gd name="T25" fmla="*/ 0 h 161"/>
                <a:gd name="T26" fmla="*/ 27372 w 145"/>
                <a:gd name="T27" fmla="*/ 1295205 h 161"/>
                <a:gd name="T28" fmla="*/ 29728 w 145"/>
                <a:gd name="T29" fmla="*/ 2525834 h 161"/>
                <a:gd name="T30" fmla="*/ 33041 w 145"/>
                <a:gd name="T31" fmla="*/ 3157059 h 161"/>
                <a:gd name="T32" fmla="*/ 33842 w 145"/>
                <a:gd name="T33" fmla="*/ 3492574 h 161"/>
                <a:gd name="T34" fmla="*/ 35300 w 145"/>
                <a:gd name="T35" fmla="*/ 3806860 h 161"/>
                <a:gd name="T36" fmla="*/ 36589 w 145"/>
                <a:gd name="T37" fmla="*/ 4966459 h 161"/>
                <a:gd name="T38" fmla="*/ 40459 w 145"/>
                <a:gd name="T39" fmla="*/ 5353882 h 161"/>
                <a:gd name="T40" fmla="*/ 41386 w 145"/>
                <a:gd name="T41" fmla="*/ 5580207 h 161"/>
                <a:gd name="T42" fmla="*/ 41386 w 145"/>
                <a:gd name="T43" fmla="*/ 5700858 h 161"/>
                <a:gd name="T44" fmla="*/ 35654 w 145"/>
                <a:gd name="T45" fmla="*/ 6658373 h 161"/>
                <a:gd name="T46" fmla="*/ 31027 w 145"/>
                <a:gd name="T47" fmla="*/ 7681654 h 161"/>
                <a:gd name="T48" fmla="*/ 28578 w 145"/>
                <a:gd name="T49" fmla="*/ 8849331 h 161"/>
                <a:gd name="T50" fmla="*/ 26191 w 145"/>
                <a:gd name="T51" fmla="*/ 9314195 h 161"/>
                <a:gd name="T52" fmla="*/ 22945 w 145"/>
                <a:gd name="T53" fmla="*/ 10315822 h 161"/>
                <a:gd name="T54" fmla="*/ 17084 w 145"/>
                <a:gd name="T55" fmla="*/ 10148808 h 161"/>
                <a:gd name="T56" fmla="*/ 13046 w 145"/>
                <a:gd name="T57" fmla="*/ 9789113 h 161"/>
                <a:gd name="T58" fmla="*/ 10872 w 145"/>
                <a:gd name="T59" fmla="*/ 10670477 h 161"/>
                <a:gd name="T60" fmla="*/ 8772 w 145"/>
                <a:gd name="T61" fmla="*/ 11487408 h 161"/>
                <a:gd name="T62" fmla="*/ 3869 w 145"/>
                <a:gd name="T63" fmla="*/ 11681373 h 161"/>
                <a:gd name="T64" fmla="*/ 2687 w 145"/>
                <a:gd name="T65" fmla="*/ 11605995 h 161"/>
                <a:gd name="T66" fmla="*/ 3311 w 145"/>
                <a:gd name="T67" fmla="*/ 10315822 h 161"/>
                <a:gd name="T68" fmla="*/ 0 w 145"/>
                <a:gd name="T69" fmla="*/ 9047113 h 16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5"/>
                <a:gd name="T106" fmla="*/ 0 h 161"/>
                <a:gd name="T107" fmla="*/ 145 w 145"/>
                <a:gd name="T108" fmla="*/ 161 h 16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5" h="161">
                  <a:moveTo>
                    <a:pt x="0" y="125"/>
                  </a:moveTo>
                  <a:lnTo>
                    <a:pt x="1" y="100"/>
                  </a:lnTo>
                  <a:lnTo>
                    <a:pt x="1" y="76"/>
                  </a:lnTo>
                  <a:lnTo>
                    <a:pt x="17" y="76"/>
                  </a:lnTo>
                  <a:lnTo>
                    <a:pt x="17" y="58"/>
                  </a:lnTo>
                  <a:lnTo>
                    <a:pt x="19" y="42"/>
                  </a:lnTo>
                  <a:lnTo>
                    <a:pt x="19" y="26"/>
                  </a:lnTo>
                  <a:lnTo>
                    <a:pt x="20" y="9"/>
                  </a:lnTo>
                  <a:lnTo>
                    <a:pt x="38" y="7"/>
                  </a:lnTo>
                  <a:lnTo>
                    <a:pt x="57" y="4"/>
                  </a:lnTo>
                  <a:lnTo>
                    <a:pt x="62" y="12"/>
                  </a:lnTo>
                  <a:lnTo>
                    <a:pt x="74" y="4"/>
                  </a:lnTo>
                  <a:lnTo>
                    <a:pt x="87" y="0"/>
                  </a:lnTo>
                  <a:lnTo>
                    <a:pt x="96" y="18"/>
                  </a:lnTo>
                  <a:lnTo>
                    <a:pt x="105" y="35"/>
                  </a:lnTo>
                  <a:lnTo>
                    <a:pt x="116" y="44"/>
                  </a:lnTo>
                  <a:lnTo>
                    <a:pt x="119" y="48"/>
                  </a:lnTo>
                  <a:lnTo>
                    <a:pt x="123" y="52"/>
                  </a:lnTo>
                  <a:lnTo>
                    <a:pt x="128" y="68"/>
                  </a:lnTo>
                  <a:lnTo>
                    <a:pt x="142" y="74"/>
                  </a:lnTo>
                  <a:lnTo>
                    <a:pt x="145" y="77"/>
                  </a:lnTo>
                  <a:lnTo>
                    <a:pt x="145" y="79"/>
                  </a:lnTo>
                  <a:lnTo>
                    <a:pt x="125" y="92"/>
                  </a:lnTo>
                  <a:lnTo>
                    <a:pt x="109" y="106"/>
                  </a:lnTo>
                  <a:lnTo>
                    <a:pt x="100" y="122"/>
                  </a:lnTo>
                  <a:lnTo>
                    <a:pt x="92" y="128"/>
                  </a:lnTo>
                  <a:lnTo>
                    <a:pt x="81" y="142"/>
                  </a:lnTo>
                  <a:lnTo>
                    <a:pt x="60" y="140"/>
                  </a:lnTo>
                  <a:lnTo>
                    <a:pt x="46" y="135"/>
                  </a:lnTo>
                  <a:lnTo>
                    <a:pt x="38" y="147"/>
                  </a:lnTo>
                  <a:lnTo>
                    <a:pt x="31" y="158"/>
                  </a:lnTo>
                  <a:lnTo>
                    <a:pt x="13" y="161"/>
                  </a:lnTo>
                  <a:lnTo>
                    <a:pt x="9" y="160"/>
                  </a:lnTo>
                  <a:lnTo>
                    <a:pt x="12" y="142"/>
                  </a:lnTo>
                  <a:lnTo>
                    <a:pt x="0" y="12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0" name="Freeform 61">
              <a:extLst>
                <a:ext uri="{FF2B5EF4-FFF2-40B4-BE49-F238E27FC236}">
                  <a16:creationId xmlns:a16="http://schemas.microsoft.com/office/drawing/2014/main" id="{1656CF6A-916F-B940-11D3-CCEDE9E744DC}"/>
                </a:ext>
              </a:extLst>
            </p:cNvPr>
            <p:cNvSpPr>
              <a:spLocks/>
            </p:cNvSpPr>
            <p:nvPr/>
          </p:nvSpPr>
          <p:spPr bwMode="auto">
            <a:xfrm>
              <a:off x="5094061" y="5020775"/>
              <a:ext cx="65566" cy="71374"/>
            </a:xfrm>
            <a:custGeom>
              <a:avLst/>
              <a:gdLst>
                <a:gd name="T0" fmla="*/ 4685 w 34"/>
                <a:gd name="T1" fmla="*/ 502666 h 35"/>
                <a:gd name="T2" fmla="*/ 0 w 34"/>
                <a:gd name="T3" fmla="*/ 2266145 h 35"/>
                <a:gd name="T4" fmla="*/ 3222 w 34"/>
                <a:gd name="T5" fmla="*/ 4090707 h 35"/>
                <a:gd name="T6" fmla="*/ 5271 w 34"/>
                <a:gd name="T7" fmla="*/ 3531027 h 35"/>
                <a:gd name="T8" fmla="*/ 10863 w 34"/>
                <a:gd name="T9" fmla="*/ 2266145 h 35"/>
                <a:gd name="T10" fmla="*/ 11146 w 34"/>
                <a:gd name="T11" fmla="*/ 830592 h 35"/>
                <a:gd name="T12" fmla="*/ 6600 w 34"/>
                <a:gd name="T13" fmla="*/ 0 h 35"/>
                <a:gd name="T14" fmla="*/ 4685 w 34"/>
                <a:gd name="T15" fmla="*/ 502666 h 3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35"/>
                <a:gd name="T26" fmla="*/ 34 w 34"/>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35">
                  <a:moveTo>
                    <a:pt x="14" y="4"/>
                  </a:moveTo>
                  <a:lnTo>
                    <a:pt x="0" y="19"/>
                  </a:lnTo>
                  <a:lnTo>
                    <a:pt x="10" y="35"/>
                  </a:lnTo>
                  <a:lnTo>
                    <a:pt x="16" y="30"/>
                  </a:lnTo>
                  <a:lnTo>
                    <a:pt x="32" y="19"/>
                  </a:lnTo>
                  <a:lnTo>
                    <a:pt x="34" y="7"/>
                  </a:lnTo>
                  <a:lnTo>
                    <a:pt x="20" y="0"/>
                  </a:lnTo>
                  <a:lnTo>
                    <a:pt x="14"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1" name="Freeform 62">
              <a:extLst>
                <a:ext uri="{FF2B5EF4-FFF2-40B4-BE49-F238E27FC236}">
                  <a16:creationId xmlns:a16="http://schemas.microsoft.com/office/drawing/2014/main" id="{B5F4B71F-1C7B-4B03-CEA5-BFC97062CD6A}"/>
                </a:ext>
              </a:extLst>
            </p:cNvPr>
            <p:cNvSpPr>
              <a:spLocks/>
            </p:cNvSpPr>
            <p:nvPr/>
          </p:nvSpPr>
          <p:spPr bwMode="auto">
            <a:xfrm>
              <a:off x="5588202" y="4422440"/>
              <a:ext cx="233477" cy="488995"/>
            </a:xfrm>
            <a:custGeom>
              <a:avLst/>
              <a:gdLst>
                <a:gd name="T0" fmla="*/ 14757 w 121"/>
                <a:gd name="T1" fmla="*/ 5130748 h 243"/>
                <a:gd name="T2" fmla="*/ 13069 w 121"/>
                <a:gd name="T3" fmla="*/ 5248518 h 243"/>
                <a:gd name="T4" fmla="*/ 8364 w 121"/>
                <a:gd name="T5" fmla="*/ 5749314 h 243"/>
                <a:gd name="T6" fmla="*/ 6932 w 121"/>
                <a:gd name="T7" fmla="*/ 6817215 h 243"/>
                <a:gd name="T8" fmla="*/ 5349 w 121"/>
                <a:gd name="T9" fmla="*/ 7905991 h 243"/>
                <a:gd name="T10" fmla="*/ 6454 w 121"/>
                <a:gd name="T11" fmla="*/ 9212469 h 243"/>
                <a:gd name="T12" fmla="*/ 7562 w 121"/>
                <a:gd name="T13" fmla="*/ 10633884 h 243"/>
                <a:gd name="T14" fmla="*/ 4433 w 121"/>
                <a:gd name="T15" fmla="*/ 11478412 h 243"/>
                <a:gd name="T16" fmla="*/ 1542 w 121"/>
                <a:gd name="T17" fmla="*/ 12402124 h 243"/>
                <a:gd name="T18" fmla="*/ 0 w 121"/>
                <a:gd name="T19" fmla="*/ 14222611 h 243"/>
                <a:gd name="T20" fmla="*/ 1059 w 121"/>
                <a:gd name="T21" fmla="*/ 15786900 h 243"/>
                <a:gd name="T22" fmla="*/ 3045 w 121"/>
                <a:gd name="T23" fmla="*/ 17358233 h 243"/>
                <a:gd name="T24" fmla="*/ 9942 w 121"/>
                <a:gd name="T25" fmla="*/ 18171923 h 243"/>
                <a:gd name="T26" fmla="*/ 14757 w 121"/>
                <a:gd name="T27" fmla="*/ 17596748 h 243"/>
                <a:gd name="T28" fmla="*/ 19250 w 121"/>
                <a:gd name="T29" fmla="*/ 17032293 h 243"/>
                <a:gd name="T30" fmla="*/ 21392 w 121"/>
                <a:gd name="T31" fmla="*/ 15844429 h 243"/>
                <a:gd name="T32" fmla="*/ 22958 w 121"/>
                <a:gd name="T33" fmla="*/ 14576356 h 243"/>
                <a:gd name="T34" fmla="*/ 24849 w 121"/>
                <a:gd name="T35" fmla="*/ 13378738 h 243"/>
                <a:gd name="T36" fmla="*/ 27061 w 121"/>
                <a:gd name="T37" fmla="*/ 12203789 h 243"/>
                <a:gd name="T38" fmla="*/ 28995 w 121"/>
                <a:gd name="T39" fmla="*/ 10992029 h 243"/>
                <a:gd name="T40" fmla="*/ 31145 w 121"/>
                <a:gd name="T41" fmla="*/ 9646498 h 243"/>
                <a:gd name="T42" fmla="*/ 32461 w 121"/>
                <a:gd name="T43" fmla="*/ 8455079 h 243"/>
                <a:gd name="T44" fmla="*/ 34509 w 121"/>
                <a:gd name="T45" fmla="*/ 7245408 h 243"/>
                <a:gd name="T46" fmla="*/ 36430 w 121"/>
                <a:gd name="T47" fmla="*/ 6476419 h 243"/>
                <a:gd name="T48" fmla="*/ 36430 w 121"/>
                <a:gd name="T49" fmla="*/ 4567646 h 243"/>
                <a:gd name="T50" fmla="*/ 39168 w 121"/>
                <a:gd name="T51" fmla="*/ 5130748 h 243"/>
                <a:gd name="T52" fmla="*/ 40803 w 121"/>
                <a:gd name="T53" fmla="*/ 4319311 h 243"/>
                <a:gd name="T54" fmla="*/ 39104 w 121"/>
                <a:gd name="T55" fmla="*/ 2730227 h 243"/>
                <a:gd name="T56" fmla="*/ 37580 w 121"/>
                <a:gd name="T57" fmla="*/ 977578 h 243"/>
                <a:gd name="T58" fmla="*/ 35642 w 121"/>
                <a:gd name="T59" fmla="*/ 1 h 243"/>
                <a:gd name="T60" fmla="*/ 34509 w 121"/>
                <a:gd name="T61" fmla="*/ 0 h 243"/>
                <a:gd name="T62" fmla="*/ 32807 w 121"/>
                <a:gd name="T63" fmla="*/ 473929 h 243"/>
                <a:gd name="T64" fmla="*/ 32408 w 121"/>
                <a:gd name="T65" fmla="*/ 1900989 h 243"/>
                <a:gd name="T66" fmla="*/ 29983 w 121"/>
                <a:gd name="T67" fmla="*/ 2070553 h 243"/>
                <a:gd name="T68" fmla="*/ 28995 w 121"/>
                <a:gd name="T69" fmla="*/ 2246581 h 243"/>
                <a:gd name="T70" fmla="*/ 27701 w 121"/>
                <a:gd name="T71" fmla="*/ 2070553 h 243"/>
                <a:gd name="T72" fmla="*/ 28026 w 121"/>
                <a:gd name="T73" fmla="*/ 2854042 h 243"/>
                <a:gd name="T74" fmla="*/ 26859 w 121"/>
                <a:gd name="T75" fmla="*/ 3374934 h 243"/>
                <a:gd name="T76" fmla="*/ 27701 w 121"/>
                <a:gd name="T77" fmla="*/ 3425882 h 243"/>
                <a:gd name="T78" fmla="*/ 24481 w 121"/>
                <a:gd name="T79" fmla="*/ 3921189 h 243"/>
                <a:gd name="T80" fmla="*/ 24849 w 121"/>
                <a:gd name="T81" fmla="*/ 3425882 h 243"/>
                <a:gd name="T82" fmla="*/ 22958 w 121"/>
                <a:gd name="T83" fmla="*/ 4509368 h 243"/>
                <a:gd name="T84" fmla="*/ 22427 w 121"/>
                <a:gd name="T85" fmla="*/ 4509368 h 243"/>
                <a:gd name="T86" fmla="*/ 21392 w 121"/>
                <a:gd name="T87" fmla="*/ 4319311 h 243"/>
                <a:gd name="T88" fmla="*/ 18587 w 121"/>
                <a:gd name="T89" fmla="*/ 5130748 h 243"/>
                <a:gd name="T90" fmla="*/ 14757 w 121"/>
                <a:gd name="T91" fmla="*/ 5130748 h 24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1"/>
                <a:gd name="T139" fmla="*/ 0 h 243"/>
                <a:gd name="T140" fmla="*/ 121 w 121"/>
                <a:gd name="T141" fmla="*/ 243 h 24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1" h="243">
                  <a:moveTo>
                    <a:pt x="44" y="68"/>
                  </a:moveTo>
                  <a:lnTo>
                    <a:pt x="38" y="70"/>
                  </a:lnTo>
                  <a:lnTo>
                    <a:pt x="25" y="77"/>
                  </a:lnTo>
                  <a:lnTo>
                    <a:pt x="21" y="91"/>
                  </a:lnTo>
                  <a:lnTo>
                    <a:pt x="16" y="106"/>
                  </a:lnTo>
                  <a:lnTo>
                    <a:pt x="19" y="123"/>
                  </a:lnTo>
                  <a:lnTo>
                    <a:pt x="22" y="142"/>
                  </a:lnTo>
                  <a:lnTo>
                    <a:pt x="13" y="154"/>
                  </a:lnTo>
                  <a:lnTo>
                    <a:pt x="5" y="166"/>
                  </a:lnTo>
                  <a:lnTo>
                    <a:pt x="0" y="190"/>
                  </a:lnTo>
                  <a:lnTo>
                    <a:pt x="3" y="211"/>
                  </a:lnTo>
                  <a:lnTo>
                    <a:pt x="9" y="232"/>
                  </a:lnTo>
                  <a:lnTo>
                    <a:pt x="29" y="243"/>
                  </a:lnTo>
                  <a:lnTo>
                    <a:pt x="44" y="235"/>
                  </a:lnTo>
                  <a:lnTo>
                    <a:pt x="57" y="228"/>
                  </a:lnTo>
                  <a:lnTo>
                    <a:pt x="63" y="212"/>
                  </a:lnTo>
                  <a:lnTo>
                    <a:pt x="68" y="195"/>
                  </a:lnTo>
                  <a:lnTo>
                    <a:pt x="74" y="179"/>
                  </a:lnTo>
                  <a:lnTo>
                    <a:pt x="80" y="163"/>
                  </a:lnTo>
                  <a:lnTo>
                    <a:pt x="86" y="147"/>
                  </a:lnTo>
                  <a:lnTo>
                    <a:pt x="92" y="129"/>
                  </a:lnTo>
                  <a:lnTo>
                    <a:pt x="96" y="113"/>
                  </a:lnTo>
                  <a:lnTo>
                    <a:pt x="102" y="97"/>
                  </a:lnTo>
                  <a:lnTo>
                    <a:pt x="108" y="86"/>
                  </a:lnTo>
                  <a:lnTo>
                    <a:pt x="108" y="61"/>
                  </a:lnTo>
                  <a:lnTo>
                    <a:pt x="116" y="68"/>
                  </a:lnTo>
                  <a:lnTo>
                    <a:pt x="121" y="58"/>
                  </a:lnTo>
                  <a:lnTo>
                    <a:pt x="115" y="36"/>
                  </a:lnTo>
                  <a:lnTo>
                    <a:pt x="111" y="13"/>
                  </a:lnTo>
                  <a:lnTo>
                    <a:pt x="106" y="1"/>
                  </a:lnTo>
                  <a:lnTo>
                    <a:pt x="102" y="0"/>
                  </a:lnTo>
                  <a:lnTo>
                    <a:pt x="98" y="6"/>
                  </a:lnTo>
                  <a:lnTo>
                    <a:pt x="95" y="25"/>
                  </a:lnTo>
                  <a:lnTo>
                    <a:pt x="89" y="28"/>
                  </a:lnTo>
                  <a:lnTo>
                    <a:pt x="86" y="30"/>
                  </a:lnTo>
                  <a:lnTo>
                    <a:pt x="82" y="28"/>
                  </a:lnTo>
                  <a:lnTo>
                    <a:pt x="83" y="38"/>
                  </a:lnTo>
                  <a:lnTo>
                    <a:pt x="79" y="45"/>
                  </a:lnTo>
                  <a:lnTo>
                    <a:pt x="82" y="46"/>
                  </a:lnTo>
                  <a:lnTo>
                    <a:pt x="73" y="52"/>
                  </a:lnTo>
                  <a:lnTo>
                    <a:pt x="74" y="46"/>
                  </a:lnTo>
                  <a:lnTo>
                    <a:pt x="68" y="60"/>
                  </a:lnTo>
                  <a:lnTo>
                    <a:pt x="66" y="60"/>
                  </a:lnTo>
                  <a:lnTo>
                    <a:pt x="63" y="58"/>
                  </a:lnTo>
                  <a:lnTo>
                    <a:pt x="55" y="68"/>
                  </a:lnTo>
                  <a:lnTo>
                    <a:pt x="44" y="6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2" name="Freeform 63">
              <a:extLst>
                <a:ext uri="{FF2B5EF4-FFF2-40B4-BE49-F238E27FC236}">
                  <a16:creationId xmlns:a16="http://schemas.microsoft.com/office/drawing/2014/main" id="{E7D9EE03-C4AD-0D02-52CA-BE0CA38D28DA}"/>
                </a:ext>
              </a:extLst>
            </p:cNvPr>
            <p:cNvSpPr>
              <a:spLocks/>
            </p:cNvSpPr>
            <p:nvPr/>
          </p:nvSpPr>
          <p:spPr bwMode="auto">
            <a:xfrm>
              <a:off x="5287560" y="4325248"/>
              <a:ext cx="95950" cy="279426"/>
            </a:xfrm>
            <a:custGeom>
              <a:avLst/>
              <a:gdLst>
                <a:gd name="T0" fmla="*/ 8023 w 50"/>
                <a:gd name="T1" fmla="*/ 6580366 h 139"/>
                <a:gd name="T2" fmla="*/ 6092 w 50"/>
                <a:gd name="T3" fmla="*/ 7878762 h 139"/>
                <a:gd name="T4" fmla="*/ 8772 w 50"/>
                <a:gd name="T5" fmla="*/ 8662329 h 139"/>
                <a:gd name="T6" fmla="*/ 10872 w 50"/>
                <a:gd name="T7" fmla="*/ 9420808 h 139"/>
                <a:gd name="T8" fmla="*/ 9887 w 50"/>
                <a:gd name="T9" fmla="*/ 8662329 h 139"/>
                <a:gd name="T10" fmla="*/ 12631 w 50"/>
                <a:gd name="T11" fmla="*/ 8189992 h 139"/>
                <a:gd name="T12" fmla="*/ 13200 w 50"/>
                <a:gd name="T13" fmla="*/ 7332294 h 139"/>
                <a:gd name="T14" fmla="*/ 14237 w 50"/>
                <a:gd name="T15" fmla="*/ 6375702 h 139"/>
                <a:gd name="T16" fmla="*/ 11550 w 50"/>
                <a:gd name="T17" fmla="*/ 5683742 h 139"/>
                <a:gd name="T18" fmla="*/ 8772 w 50"/>
                <a:gd name="T19" fmla="*/ 5034278 h 139"/>
                <a:gd name="T20" fmla="*/ 8023 w 50"/>
                <a:gd name="T21" fmla="*/ 3739760 h 139"/>
                <a:gd name="T22" fmla="*/ 8772 w 50"/>
                <a:gd name="T23" fmla="*/ 2839553 h 139"/>
                <a:gd name="T24" fmla="*/ 10526 w 50"/>
                <a:gd name="T25" fmla="*/ 2661082 h 139"/>
                <a:gd name="T26" fmla="*/ 9060 w 50"/>
                <a:gd name="T27" fmla="*/ 1715626 h 139"/>
                <a:gd name="T28" fmla="*/ 8023 w 50"/>
                <a:gd name="T29" fmla="*/ 442453 h 139"/>
                <a:gd name="T30" fmla="*/ 6092 w 50"/>
                <a:gd name="T31" fmla="*/ 215869 h 139"/>
                <a:gd name="T32" fmla="*/ 1597 w 50"/>
                <a:gd name="T33" fmla="*/ 0 h 139"/>
                <a:gd name="T34" fmla="*/ 2299 w 50"/>
                <a:gd name="T35" fmla="*/ 309050 h 139"/>
                <a:gd name="T36" fmla="*/ 4643 w 50"/>
                <a:gd name="T37" fmla="*/ 1298320 h 139"/>
                <a:gd name="T38" fmla="*/ 3311 w 50"/>
                <a:gd name="T39" fmla="*/ 1715626 h 139"/>
                <a:gd name="T40" fmla="*/ 3311 w 50"/>
                <a:gd name="T41" fmla="*/ 2661082 h 139"/>
                <a:gd name="T42" fmla="*/ 2759 w 50"/>
                <a:gd name="T43" fmla="*/ 3628809 h 139"/>
                <a:gd name="T44" fmla="*/ 2687 w 50"/>
                <a:gd name="T45" fmla="*/ 3919607 h 139"/>
                <a:gd name="T46" fmla="*/ 0 w 50"/>
                <a:gd name="T47" fmla="*/ 5143485 h 139"/>
                <a:gd name="T48" fmla="*/ 2299 w 50"/>
                <a:gd name="T49" fmla="*/ 5611521 h 139"/>
                <a:gd name="T50" fmla="*/ 3311 w 50"/>
                <a:gd name="T51" fmla="*/ 6111167 h 139"/>
                <a:gd name="T52" fmla="*/ 6092 w 50"/>
                <a:gd name="T53" fmla="*/ 6111167 h 139"/>
                <a:gd name="T54" fmla="*/ 8023 w 50"/>
                <a:gd name="T55" fmla="*/ 6580366 h 1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
                <a:gd name="T85" fmla="*/ 0 h 139"/>
                <a:gd name="T86" fmla="*/ 50 w 50"/>
                <a:gd name="T87" fmla="*/ 139 h 13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 h="139">
                  <a:moveTo>
                    <a:pt x="28" y="97"/>
                  </a:moveTo>
                  <a:lnTo>
                    <a:pt x="22" y="116"/>
                  </a:lnTo>
                  <a:lnTo>
                    <a:pt x="31" y="128"/>
                  </a:lnTo>
                  <a:lnTo>
                    <a:pt x="38" y="139"/>
                  </a:lnTo>
                  <a:lnTo>
                    <a:pt x="35" y="128"/>
                  </a:lnTo>
                  <a:lnTo>
                    <a:pt x="44" y="121"/>
                  </a:lnTo>
                  <a:lnTo>
                    <a:pt x="47" y="108"/>
                  </a:lnTo>
                  <a:lnTo>
                    <a:pt x="50" y="94"/>
                  </a:lnTo>
                  <a:lnTo>
                    <a:pt x="40" y="84"/>
                  </a:lnTo>
                  <a:lnTo>
                    <a:pt x="31" y="74"/>
                  </a:lnTo>
                  <a:lnTo>
                    <a:pt x="28" y="55"/>
                  </a:lnTo>
                  <a:lnTo>
                    <a:pt x="31" y="42"/>
                  </a:lnTo>
                  <a:lnTo>
                    <a:pt x="37" y="39"/>
                  </a:lnTo>
                  <a:lnTo>
                    <a:pt x="32" y="25"/>
                  </a:lnTo>
                  <a:lnTo>
                    <a:pt x="28" y="6"/>
                  </a:lnTo>
                  <a:lnTo>
                    <a:pt x="22" y="3"/>
                  </a:lnTo>
                  <a:lnTo>
                    <a:pt x="6" y="0"/>
                  </a:lnTo>
                  <a:lnTo>
                    <a:pt x="8" y="4"/>
                  </a:lnTo>
                  <a:lnTo>
                    <a:pt x="16" y="19"/>
                  </a:lnTo>
                  <a:lnTo>
                    <a:pt x="12" y="25"/>
                  </a:lnTo>
                  <a:lnTo>
                    <a:pt x="12" y="39"/>
                  </a:lnTo>
                  <a:lnTo>
                    <a:pt x="10" y="54"/>
                  </a:lnTo>
                  <a:lnTo>
                    <a:pt x="9" y="58"/>
                  </a:lnTo>
                  <a:lnTo>
                    <a:pt x="0" y="76"/>
                  </a:lnTo>
                  <a:lnTo>
                    <a:pt x="8" y="83"/>
                  </a:lnTo>
                  <a:lnTo>
                    <a:pt x="12" y="90"/>
                  </a:lnTo>
                  <a:lnTo>
                    <a:pt x="22" y="90"/>
                  </a:lnTo>
                  <a:lnTo>
                    <a:pt x="28" y="9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3" name="Freeform 64">
              <a:extLst>
                <a:ext uri="{FF2B5EF4-FFF2-40B4-BE49-F238E27FC236}">
                  <a16:creationId xmlns:a16="http://schemas.microsoft.com/office/drawing/2014/main" id="{36E19FB1-3FBE-0CB0-13D3-F098DF1962B8}"/>
                </a:ext>
              </a:extLst>
            </p:cNvPr>
            <p:cNvSpPr>
              <a:spLocks/>
            </p:cNvSpPr>
            <p:nvPr/>
          </p:nvSpPr>
          <p:spPr bwMode="auto">
            <a:xfrm>
              <a:off x="5210800" y="4363213"/>
              <a:ext cx="316633" cy="593780"/>
            </a:xfrm>
            <a:custGeom>
              <a:avLst/>
              <a:gdLst>
                <a:gd name="T0" fmla="*/ 18786 w 165"/>
                <a:gd name="T1" fmla="*/ 13124936 h 295"/>
                <a:gd name="T2" fmla="*/ 20501 w 165"/>
                <a:gd name="T3" fmla="*/ 12788967 h 295"/>
                <a:gd name="T4" fmla="*/ 29521 w 165"/>
                <a:gd name="T5" fmla="*/ 10363565 h 295"/>
                <a:gd name="T6" fmla="*/ 36787 w 165"/>
                <a:gd name="T7" fmla="*/ 9131740 h 295"/>
                <a:gd name="T8" fmla="*/ 46154 w 165"/>
                <a:gd name="T9" fmla="*/ 6599953 h 295"/>
                <a:gd name="T10" fmla="*/ 46745 w 165"/>
                <a:gd name="T11" fmla="*/ 5427538 h 295"/>
                <a:gd name="T12" fmla="*/ 46745 w 165"/>
                <a:gd name="T13" fmla="*/ 2941272 h 295"/>
                <a:gd name="T14" fmla="*/ 47140 w 165"/>
                <a:gd name="T15" fmla="*/ 0 h 295"/>
                <a:gd name="T16" fmla="*/ 41401 w 165"/>
                <a:gd name="T17" fmla="*/ 693507 h 295"/>
                <a:gd name="T18" fmla="*/ 34501 w 165"/>
                <a:gd name="T19" fmla="*/ 1256684 h 295"/>
                <a:gd name="T20" fmla="*/ 26522 w 165"/>
                <a:gd name="T21" fmla="*/ 1432644 h 295"/>
                <a:gd name="T22" fmla="*/ 21826 w 165"/>
                <a:gd name="T23" fmla="*/ 1546557 h 295"/>
                <a:gd name="T24" fmla="*/ 19512 w 165"/>
                <a:gd name="T25" fmla="*/ 2787344 h 295"/>
                <a:gd name="T26" fmla="*/ 22810 w 165"/>
                <a:gd name="T27" fmla="*/ 4962027 h 295"/>
                <a:gd name="T28" fmla="*/ 24760 w 165"/>
                <a:gd name="T29" fmla="*/ 6794900 h 295"/>
                <a:gd name="T30" fmla="*/ 21434 w 165"/>
                <a:gd name="T31" fmla="*/ 8370277 h 295"/>
                <a:gd name="T32" fmla="*/ 19966 w 165"/>
                <a:gd name="T33" fmla="*/ 8370277 h 295"/>
                <a:gd name="T34" fmla="*/ 19512 w 165"/>
                <a:gd name="T35" fmla="*/ 5955555 h 295"/>
                <a:gd name="T36" fmla="*/ 14704 w 165"/>
                <a:gd name="T37" fmla="*/ 5427538 h 295"/>
                <a:gd name="T38" fmla="*/ 10211 w 165"/>
                <a:gd name="T39" fmla="*/ 5244267 h 295"/>
                <a:gd name="T40" fmla="*/ 3224 w 165"/>
                <a:gd name="T41" fmla="*/ 5955555 h 295"/>
                <a:gd name="T42" fmla="*/ 924 w 165"/>
                <a:gd name="T43" fmla="*/ 7131858 h 295"/>
                <a:gd name="T44" fmla="*/ 2759 w 165"/>
                <a:gd name="T45" fmla="*/ 7677401 h 295"/>
                <a:gd name="T46" fmla="*/ 11550 w 165"/>
                <a:gd name="T47" fmla="*/ 8559844 h 295"/>
                <a:gd name="T48" fmla="*/ 10526 w 165"/>
                <a:gd name="T49" fmla="*/ 11494405 h 295"/>
                <a:gd name="T50" fmla="*/ 9628 w 165"/>
                <a:gd name="T51" fmla="*/ 13975557 h 295"/>
                <a:gd name="T52" fmla="*/ 5909 w 165"/>
                <a:gd name="T53" fmla="*/ 15701084 h 295"/>
                <a:gd name="T54" fmla="*/ 3973 w 165"/>
                <a:gd name="T55" fmla="*/ 17445284 h 295"/>
                <a:gd name="T56" fmla="*/ 4768 w 165"/>
                <a:gd name="T57" fmla="*/ 19929780 h 295"/>
                <a:gd name="T58" fmla="*/ 5572 w 165"/>
                <a:gd name="T59" fmla="*/ 22427774 h 295"/>
                <a:gd name="T60" fmla="*/ 9060 w 165"/>
                <a:gd name="T61" fmla="*/ 21683627 h 295"/>
                <a:gd name="T62" fmla="*/ 13046 w 165"/>
                <a:gd name="T63" fmla="*/ 20096333 h 295"/>
                <a:gd name="T64" fmla="*/ 20501 w 165"/>
                <a:gd name="T65" fmla="*/ 18977295 h 295"/>
                <a:gd name="T66" fmla="*/ 21174 w 165"/>
                <a:gd name="T67" fmla="*/ 17195840 h 295"/>
                <a:gd name="T68" fmla="*/ 20501 w 165"/>
                <a:gd name="T69" fmla="*/ 16442046 h 295"/>
                <a:gd name="T70" fmla="*/ 19512 w 165"/>
                <a:gd name="T71" fmla="*/ 14036878 h 2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5"/>
                <a:gd name="T109" fmla="*/ 0 h 295"/>
                <a:gd name="T110" fmla="*/ 165 w 165"/>
                <a:gd name="T111" fmla="*/ 295 h 2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5" h="295">
                  <a:moveTo>
                    <a:pt x="68" y="184"/>
                  </a:moveTo>
                  <a:lnTo>
                    <a:pt x="66" y="171"/>
                  </a:lnTo>
                  <a:lnTo>
                    <a:pt x="66" y="167"/>
                  </a:lnTo>
                  <a:lnTo>
                    <a:pt x="72" y="167"/>
                  </a:lnTo>
                  <a:lnTo>
                    <a:pt x="91" y="151"/>
                  </a:lnTo>
                  <a:lnTo>
                    <a:pt x="103" y="136"/>
                  </a:lnTo>
                  <a:lnTo>
                    <a:pt x="116" y="128"/>
                  </a:lnTo>
                  <a:lnTo>
                    <a:pt x="129" y="119"/>
                  </a:lnTo>
                  <a:lnTo>
                    <a:pt x="149" y="107"/>
                  </a:lnTo>
                  <a:lnTo>
                    <a:pt x="162" y="86"/>
                  </a:lnTo>
                  <a:lnTo>
                    <a:pt x="165" y="71"/>
                  </a:lnTo>
                  <a:lnTo>
                    <a:pt x="164" y="71"/>
                  </a:lnTo>
                  <a:lnTo>
                    <a:pt x="162" y="46"/>
                  </a:lnTo>
                  <a:lnTo>
                    <a:pt x="164" y="38"/>
                  </a:lnTo>
                  <a:lnTo>
                    <a:pt x="164" y="13"/>
                  </a:lnTo>
                  <a:lnTo>
                    <a:pt x="165" y="0"/>
                  </a:lnTo>
                  <a:lnTo>
                    <a:pt x="164" y="0"/>
                  </a:lnTo>
                  <a:lnTo>
                    <a:pt x="146" y="9"/>
                  </a:lnTo>
                  <a:lnTo>
                    <a:pt x="130" y="17"/>
                  </a:lnTo>
                  <a:lnTo>
                    <a:pt x="122" y="17"/>
                  </a:lnTo>
                  <a:lnTo>
                    <a:pt x="110" y="22"/>
                  </a:lnTo>
                  <a:lnTo>
                    <a:pt x="93" y="19"/>
                  </a:lnTo>
                  <a:lnTo>
                    <a:pt x="84" y="20"/>
                  </a:lnTo>
                  <a:lnTo>
                    <a:pt x="77" y="20"/>
                  </a:lnTo>
                  <a:lnTo>
                    <a:pt x="71" y="23"/>
                  </a:lnTo>
                  <a:lnTo>
                    <a:pt x="68" y="36"/>
                  </a:lnTo>
                  <a:lnTo>
                    <a:pt x="71" y="55"/>
                  </a:lnTo>
                  <a:lnTo>
                    <a:pt x="80" y="65"/>
                  </a:lnTo>
                  <a:lnTo>
                    <a:pt x="90" y="75"/>
                  </a:lnTo>
                  <a:lnTo>
                    <a:pt x="87" y="89"/>
                  </a:lnTo>
                  <a:lnTo>
                    <a:pt x="84" y="102"/>
                  </a:lnTo>
                  <a:lnTo>
                    <a:pt x="75" y="109"/>
                  </a:lnTo>
                  <a:lnTo>
                    <a:pt x="78" y="120"/>
                  </a:lnTo>
                  <a:lnTo>
                    <a:pt x="71" y="109"/>
                  </a:lnTo>
                  <a:lnTo>
                    <a:pt x="62" y="97"/>
                  </a:lnTo>
                  <a:lnTo>
                    <a:pt x="68" y="78"/>
                  </a:lnTo>
                  <a:lnTo>
                    <a:pt x="62" y="71"/>
                  </a:lnTo>
                  <a:lnTo>
                    <a:pt x="52" y="71"/>
                  </a:lnTo>
                  <a:lnTo>
                    <a:pt x="48" y="64"/>
                  </a:lnTo>
                  <a:lnTo>
                    <a:pt x="36" y="68"/>
                  </a:lnTo>
                  <a:lnTo>
                    <a:pt x="24" y="74"/>
                  </a:lnTo>
                  <a:lnTo>
                    <a:pt x="11" y="78"/>
                  </a:lnTo>
                  <a:lnTo>
                    <a:pt x="0" y="83"/>
                  </a:lnTo>
                  <a:lnTo>
                    <a:pt x="3" y="93"/>
                  </a:lnTo>
                  <a:lnTo>
                    <a:pt x="3" y="100"/>
                  </a:lnTo>
                  <a:lnTo>
                    <a:pt x="10" y="100"/>
                  </a:lnTo>
                  <a:lnTo>
                    <a:pt x="26" y="106"/>
                  </a:lnTo>
                  <a:lnTo>
                    <a:pt x="40" y="112"/>
                  </a:lnTo>
                  <a:lnTo>
                    <a:pt x="40" y="134"/>
                  </a:lnTo>
                  <a:lnTo>
                    <a:pt x="37" y="150"/>
                  </a:lnTo>
                  <a:lnTo>
                    <a:pt x="39" y="166"/>
                  </a:lnTo>
                  <a:lnTo>
                    <a:pt x="34" y="182"/>
                  </a:lnTo>
                  <a:lnTo>
                    <a:pt x="30" y="196"/>
                  </a:lnTo>
                  <a:lnTo>
                    <a:pt x="21" y="205"/>
                  </a:lnTo>
                  <a:lnTo>
                    <a:pt x="11" y="215"/>
                  </a:lnTo>
                  <a:lnTo>
                    <a:pt x="14" y="228"/>
                  </a:lnTo>
                  <a:lnTo>
                    <a:pt x="17" y="241"/>
                  </a:lnTo>
                  <a:lnTo>
                    <a:pt x="17" y="260"/>
                  </a:lnTo>
                  <a:lnTo>
                    <a:pt x="17" y="277"/>
                  </a:lnTo>
                  <a:lnTo>
                    <a:pt x="19" y="293"/>
                  </a:lnTo>
                  <a:lnTo>
                    <a:pt x="30" y="295"/>
                  </a:lnTo>
                  <a:lnTo>
                    <a:pt x="32" y="283"/>
                  </a:lnTo>
                  <a:lnTo>
                    <a:pt x="27" y="279"/>
                  </a:lnTo>
                  <a:lnTo>
                    <a:pt x="46" y="263"/>
                  </a:lnTo>
                  <a:lnTo>
                    <a:pt x="59" y="256"/>
                  </a:lnTo>
                  <a:lnTo>
                    <a:pt x="72" y="248"/>
                  </a:lnTo>
                  <a:lnTo>
                    <a:pt x="72" y="241"/>
                  </a:lnTo>
                  <a:lnTo>
                    <a:pt x="74" y="225"/>
                  </a:lnTo>
                  <a:lnTo>
                    <a:pt x="77" y="209"/>
                  </a:lnTo>
                  <a:lnTo>
                    <a:pt x="72" y="215"/>
                  </a:lnTo>
                  <a:lnTo>
                    <a:pt x="71" y="199"/>
                  </a:lnTo>
                  <a:lnTo>
                    <a:pt x="68" y="18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4" name="Freeform 65">
              <a:extLst>
                <a:ext uri="{FF2B5EF4-FFF2-40B4-BE49-F238E27FC236}">
                  <a16:creationId xmlns:a16="http://schemas.microsoft.com/office/drawing/2014/main" id="{4EF2E556-E8B8-A244-8AAD-39CF8E158DFC}"/>
                </a:ext>
              </a:extLst>
            </p:cNvPr>
            <p:cNvSpPr>
              <a:spLocks/>
            </p:cNvSpPr>
            <p:nvPr/>
          </p:nvSpPr>
          <p:spPr bwMode="auto">
            <a:xfrm>
              <a:off x="4782226" y="4786908"/>
              <a:ext cx="486145" cy="452549"/>
            </a:xfrm>
            <a:custGeom>
              <a:avLst/>
              <a:gdLst>
                <a:gd name="T0" fmla="*/ 16629 w 253"/>
                <a:gd name="T1" fmla="*/ 4580921 h 225"/>
                <a:gd name="T2" fmla="*/ 15979 w 253"/>
                <a:gd name="T3" fmla="*/ 6976152 h 225"/>
                <a:gd name="T4" fmla="*/ 11242 w 253"/>
                <a:gd name="T5" fmla="*/ 8852515 h 225"/>
                <a:gd name="T6" fmla="*/ 2798 w 253"/>
                <a:gd name="T7" fmla="*/ 7655043 h 225"/>
                <a:gd name="T8" fmla="*/ 2365 w 253"/>
                <a:gd name="T9" fmla="*/ 9608352 h 225"/>
                <a:gd name="T10" fmla="*/ 5832 w 253"/>
                <a:gd name="T11" fmla="*/ 12069338 h 225"/>
                <a:gd name="T12" fmla="*/ 5832 w 253"/>
                <a:gd name="T13" fmla="*/ 13885465 h 225"/>
                <a:gd name="T14" fmla="*/ 7665 w 253"/>
                <a:gd name="T15" fmla="*/ 15911871 h 225"/>
                <a:gd name="T16" fmla="*/ 11242 w 253"/>
                <a:gd name="T17" fmla="*/ 16247527 h 225"/>
                <a:gd name="T18" fmla="*/ 19200 w 253"/>
                <a:gd name="T19" fmla="*/ 16247527 h 225"/>
                <a:gd name="T20" fmla="*/ 28384 w 253"/>
                <a:gd name="T21" fmla="*/ 15691439 h 225"/>
                <a:gd name="T22" fmla="*/ 39596 w 253"/>
                <a:gd name="T23" fmla="*/ 15454584 h 225"/>
                <a:gd name="T24" fmla="*/ 47578 w 253"/>
                <a:gd name="T25" fmla="*/ 14538918 h 225"/>
                <a:gd name="T26" fmla="*/ 55129 w 253"/>
                <a:gd name="T27" fmla="*/ 13157650 h 225"/>
                <a:gd name="T28" fmla="*/ 61323 w 253"/>
                <a:gd name="T29" fmla="*/ 11512610 h 225"/>
                <a:gd name="T30" fmla="*/ 67131 w 253"/>
                <a:gd name="T31" fmla="*/ 9686865 h 225"/>
                <a:gd name="T32" fmla="*/ 73254 w 253"/>
                <a:gd name="T33" fmla="*/ 7448536 h 225"/>
                <a:gd name="T34" fmla="*/ 72048 w 253"/>
                <a:gd name="T35" fmla="*/ 6052797 h 225"/>
                <a:gd name="T36" fmla="*/ 66369 w 253"/>
                <a:gd name="T37" fmla="*/ 6249267 h 225"/>
                <a:gd name="T38" fmla="*/ 69110 w 253"/>
                <a:gd name="T39" fmla="*/ 4618205 h 225"/>
                <a:gd name="T40" fmla="*/ 71250 w 253"/>
                <a:gd name="T41" fmla="*/ 3593977 h 225"/>
                <a:gd name="T42" fmla="*/ 70426 w 253"/>
                <a:gd name="T43" fmla="*/ 1214829 h 225"/>
                <a:gd name="T44" fmla="*/ 65161 w 253"/>
                <a:gd name="T45" fmla="*/ 1 h 225"/>
                <a:gd name="T46" fmla="*/ 60085 w 253"/>
                <a:gd name="T47" fmla="*/ 0 h 225"/>
                <a:gd name="T48" fmla="*/ 49242 w 253"/>
                <a:gd name="T49" fmla="*/ 1995262 h 225"/>
                <a:gd name="T50" fmla="*/ 44046 w 253"/>
                <a:gd name="T51" fmla="*/ 3593977 h 225"/>
                <a:gd name="T52" fmla="*/ 34664 w 253"/>
                <a:gd name="T53" fmla="*/ 4507438 h 225"/>
                <a:gd name="T54" fmla="*/ 28158 w 253"/>
                <a:gd name="T55" fmla="*/ 5027675 h 225"/>
                <a:gd name="T56" fmla="*/ 20635 w 253"/>
                <a:gd name="T57" fmla="*/ 6052797 h 225"/>
                <a:gd name="T58" fmla="*/ 20485 w 253"/>
                <a:gd name="T59" fmla="*/ 4618205 h 225"/>
                <a:gd name="T60" fmla="*/ 52163 w 253"/>
                <a:gd name="T61" fmla="*/ 8852515 h 225"/>
                <a:gd name="T62" fmla="*/ 51035 w 253"/>
                <a:gd name="T63" fmla="*/ 11158826 h 225"/>
                <a:gd name="T64" fmla="*/ 57516 w 253"/>
                <a:gd name="T65" fmla="*/ 9945236 h 225"/>
                <a:gd name="T66" fmla="*/ 54113 w 253"/>
                <a:gd name="T67" fmla="*/ 8603004 h 225"/>
                <a:gd name="T68" fmla="*/ 16958 w 253"/>
                <a:gd name="T69" fmla="*/ 3385135 h 22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3"/>
                <a:gd name="T106" fmla="*/ 0 h 225"/>
                <a:gd name="T107" fmla="*/ 253 w 253"/>
                <a:gd name="T108" fmla="*/ 225 h 22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3" h="225">
                  <a:moveTo>
                    <a:pt x="57" y="46"/>
                  </a:moveTo>
                  <a:lnTo>
                    <a:pt x="56" y="62"/>
                  </a:lnTo>
                  <a:lnTo>
                    <a:pt x="54" y="79"/>
                  </a:lnTo>
                  <a:lnTo>
                    <a:pt x="53" y="95"/>
                  </a:lnTo>
                  <a:lnTo>
                    <a:pt x="51" y="113"/>
                  </a:lnTo>
                  <a:lnTo>
                    <a:pt x="38" y="120"/>
                  </a:lnTo>
                  <a:lnTo>
                    <a:pt x="15" y="116"/>
                  </a:lnTo>
                  <a:lnTo>
                    <a:pt x="9" y="104"/>
                  </a:lnTo>
                  <a:lnTo>
                    <a:pt x="0" y="114"/>
                  </a:lnTo>
                  <a:lnTo>
                    <a:pt x="8" y="130"/>
                  </a:lnTo>
                  <a:lnTo>
                    <a:pt x="13" y="148"/>
                  </a:lnTo>
                  <a:lnTo>
                    <a:pt x="19" y="164"/>
                  </a:lnTo>
                  <a:lnTo>
                    <a:pt x="26" y="181"/>
                  </a:lnTo>
                  <a:lnTo>
                    <a:pt x="19" y="188"/>
                  </a:lnTo>
                  <a:lnTo>
                    <a:pt x="21" y="197"/>
                  </a:lnTo>
                  <a:lnTo>
                    <a:pt x="26" y="216"/>
                  </a:lnTo>
                  <a:lnTo>
                    <a:pt x="31" y="215"/>
                  </a:lnTo>
                  <a:lnTo>
                    <a:pt x="38" y="220"/>
                  </a:lnTo>
                  <a:lnTo>
                    <a:pt x="48" y="225"/>
                  </a:lnTo>
                  <a:lnTo>
                    <a:pt x="64" y="220"/>
                  </a:lnTo>
                  <a:lnTo>
                    <a:pt x="80" y="215"/>
                  </a:lnTo>
                  <a:lnTo>
                    <a:pt x="96" y="213"/>
                  </a:lnTo>
                  <a:lnTo>
                    <a:pt x="112" y="213"/>
                  </a:lnTo>
                  <a:lnTo>
                    <a:pt x="133" y="210"/>
                  </a:lnTo>
                  <a:lnTo>
                    <a:pt x="143" y="207"/>
                  </a:lnTo>
                  <a:lnTo>
                    <a:pt x="160" y="197"/>
                  </a:lnTo>
                  <a:lnTo>
                    <a:pt x="176" y="188"/>
                  </a:lnTo>
                  <a:lnTo>
                    <a:pt x="186" y="178"/>
                  </a:lnTo>
                  <a:lnTo>
                    <a:pt x="196" y="167"/>
                  </a:lnTo>
                  <a:lnTo>
                    <a:pt x="207" y="156"/>
                  </a:lnTo>
                  <a:lnTo>
                    <a:pt x="215" y="146"/>
                  </a:lnTo>
                  <a:lnTo>
                    <a:pt x="227" y="132"/>
                  </a:lnTo>
                  <a:lnTo>
                    <a:pt x="239" y="119"/>
                  </a:lnTo>
                  <a:lnTo>
                    <a:pt x="246" y="101"/>
                  </a:lnTo>
                  <a:lnTo>
                    <a:pt x="253" y="84"/>
                  </a:lnTo>
                  <a:lnTo>
                    <a:pt x="242" y="82"/>
                  </a:lnTo>
                  <a:lnTo>
                    <a:pt x="239" y="91"/>
                  </a:lnTo>
                  <a:lnTo>
                    <a:pt x="224" y="85"/>
                  </a:lnTo>
                  <a:lnTo>
                    <a:pt x="226" y="72"/>
                  </a:lnTo>
                  <a:lnTo>
                    <a:pt x="233" y="63"/>
                  </a:lnTo>
                  <a:lnTo>
                    <a:pt x="240" y="66"/>
                  </a:lnTo>
                  <a:lnTo>
                    <a:pt x="240" y="49"/>
                  </a:lnTo>
                  <a:lnTo>
                    <a:pt x="240" y="30"/>
                  </a:lnTo>
                  <a:lnTo>
                    <a:pt x="237" y="17"/>
                  </a:lnTo>
                  <a:lnTo>
                    <a:pt x="234" y="4"/>
                  </a:lnTo>
                  <a:lnTo>
                    <a:pt x="220" y="1"/>
                  </a:lnTo>
                  <a:lnTo>
                    <a:pt x="204" y="0"/>
                  </a:lnTo>
                  <a:lnTo>
                    <a:pt x="202" y="0"/>
                  </a:lnTo>
                  <a:lnTo>
                    <a:pt x="182" y="13"/>
                  </a:lnTo>
                  <a:lnTo>
                    <a:pt x="166" y="27"/>
                  </a:lnTo>
                  <a:lnTo>
                    <a:pt x="157" y="43"/>
                  </a:lnTo>
                  <a:lnTo>
                    <a:pt x="149" y="49"/>
                  </a:lnTo>
                  <a:lnTo>
                    <a:pt x="138" y="63"/>
                  </a:lnTo>
                  <a:lnTo>
                    <a:pt x="117" y="61"/>
                  </a:lnTo>
                  <a:lnTo>
                    <a:pt x="103" y="56"/>
                  </a:lnTo>
                  <a:lnTo>
                    <a:pt x="95" y="68"/>
                  </a:lnTo>
                  <a:lnTo>
                    <a:pt x="88" y="79"/>
                  </a:lnTo>
                  <a:lnTo>
                    <a:pt x="70" y="82"/>
                  </a:lnTo>
                  <a:lnTo>
                    <a:pt x="66" y="81"/>
                  </a:lnTo>
                  <a:lnTo>
                    <a:pt x="69" y="63"/>
                  </a:lnTo>
                  <a:lnTo>
                    <a:pt x="57" y="46"/>
                  </a:lnTo>
                  <a:lnTo>
                    <a:pt x="176" y="120"/>
                  </a:lnTo>
                  <a:lnTo>
                    <a:pt x="162" y="135"/>
                  </a:lnTo>
                  <a:lnTo>
                    <a:pt x="172" y="151"/>
                  </a:lnTo>
                  <a:lnTo>
                    <a:pt x="178" y="146"/>
                  </a:lnTo>
                  <a:lnTo>
                    <a:pt x="194" y="135"/>
                  </a:lnTo>
                  <a:lnTo>
                    <a:pt x="196" y="123"/>
                  </a:lnTo>
                  <a:lnTo>
                    <a:pt x="182" y="116"/>
                  </a:lnTo>
                  <a:lnTo>
                    <a:pt x="176" y="120"/>
                  </a:lnTo>
                  <a:lnTo>
                    <a:pt x="57" y="4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5" name="Freeform 66">
              <a:extLst>
                <a:ext uri="{FF2B5EF4-FFF2-40B4-BE49-F238E27FC236}">
                  <a16:creationId xmlns:a16="http://schemas.microsoft.com/office/drawing/2014/main" id="{172AA740-8CE2-9D17-5BBA-3E92B2A4D041}"/>
                </a:ext>
              </a:extLst>
            </p:cNvPr>
            <p:cNvSpPr>
              <a:spLocks/>
            </p:cNvSpPr>
            <p:nvPr/>
          </p:nvSpPr>
          <p:spPr bwMode="auto">
            <a:xfrm>
              <a:off x="4782226" y="4786908"/>
              <a:ext cx="486145" cy="452549"/>
            </a:xfrm>
            <a:custGeom>
              <a:avLst/>
              <a:gdLst>
                <a:gd name="T0" fmla="*/ 16958 w 253"/>
                <a:gd name="T1" fmla="*/ 3385135 h 225"/>
                <a:gd name="T2" fmla="*/ 16629 w 253"/>
                <a:gd name="T3" fmla="*/ 4580921 h 225"/>
                <a:gd name="T4" fmla="*/ 16129 w 253"/>
                <a:gd name="T5" fmla="*/ 5797847 h 225"/>
                <a:gd name="T6" fmla="*/ 15979 w 253"/>
                <a:gd name="T7" fmla="*/ 6976152 h 225"/>
                <a:gd name="T8" fmla="*/ 15180 w 253"/>
                <a:gd name="T9" fmla="*/ 8323128 h 225"/>
                <a:gd name="T10" fmla="*/ 11242 w 253"/>
                <a:gd name="T11" fmla="*/ 8852515 h 225"/>
                <a:gd name="T12" fmla="*/ 4418 w 253"/>
                <a:gd name="T13" fmla="*/ 8603004 h 225"/>
                <a:gd name="T14" fmla="*/ 2798 w 253"/>
                <a:gd name="T15" fmla="*/ 7655043 h 225"/>
                <a:gd name="T16" fmla="*/ 0 w 253"/>
                <a:gd name="T17" fmla="*/ 8407435 h 225"/>
                <a:gd name="T18" fmla="*/ 2365 w 253"/>
                <a:gd name="T19" fmla="*/ 9608352 h 225"/>
                <a:gd name="T20" fmla="*/ 4040 w 253"/>
                <a:gd name="T21" fmla="*/ 10873834 h 225"/>
                <a:gd name="T22" fmla="*/ 5832 w 253"/>
                <a:gd name="T23" fmla="*/ 12069338 h 225"/>
                <a:gd name="T24" fmla="*/ 7665 w 253"/>
                <a:gd name="T25" fmla="*/ 13334889 h 225"/>
                <a:gd name="T26" fmla="*/ 5832 w 253"/>
                <a:gd name="T27" fmla="*/ 13885465 h 225"/>
                <a:gd name="T28" fmla="*/ 6087 w 253"/>
                <a:gd name="T29" fmla="*/ 14538918 h 225"/>
                <a:gd name="T30" fmla="*/ 7665 w 253"/>
                <a:gd name="T31" fmla="*/ 15911871 h 225"/>
                <a:gd name="T32" fmla="*/ 9210 w 253"/>
                <a:gd name="T33" fmla="*/ 15860800 h 225"/>
                <a:gd name="T34" fmla="*/ 11242 w 253"/>
                <a:gd name="T35" fmla="*/ 16247527 h 225"/>
                <a:gd name="T36" fmla="*/ 14292 w 253"/>
                <a:gd name="T37" fmla="*/ 16593530 h 225"/>
                <a:gd name="T38" fmla="*/ 19200 w 253"/>
                <a:gd name="T39" fmla="*/ 16247527 h 225"/>
                <a:gd name="T40" fmla="*/ 23622 w 253"/>
                <a:gd name="T41" fmla="*/ 15860800 h 225"/>
                <a:gd name="T42" fmla="*/ 28384 w 253"/>
                <a:gd name="T43" fmla="*/ 15691439 h 225"/>
                <a:gd name="T44" fmla="*/ 33308 w 253"/>
                <a:gd name="T45" fmla="*/ 15691439 h 225"/>
                <a:gd name="T46" fmla="*/ 39596 w 253"/>
                <a:gd name="T47" fmla="*/ 15454584 h 225"/>
                <a:gd name="T48" fmla="*/ 42473 w 253"/>
                <a:gd name="T49" fmla="*/ 15263529 h 225"/>
                <a:gd name="T50" fmla="*/ 47578 w 253"/>
                <a:gd name="T51" fmla="*/ 14538918 h 225"/>
                <a:gd name="T52" fmla="*/ 52163 w 253"/>
                <a:gd name="T53" fmla="*/ 13885465 h 225"/>
                <a:gd name="T54" fmla="*/ 55129 w 253"/>
                <a:gd name="T55" fmla="*/ 13157650 h 225"/>
                <a:gd name="T56" fmla="*/ 58326 w 253"/>
                <a:gd name="T57" fmla="*/ 12350087 h 225"/>
                <a:gd name="T58" fmla="*/ 61323 w 253"/>
                <a:gd name="T59" fmla="*/ 11512610 h 225"/>
                <a:gd name="T60" fmla="*/ 63594 w 253"/>
                <a:gd name="T61" fmla="*/ 10765581 h 225"/>
                <a:gd name="T62" fmla="*/ 67131 w 253"/>
                <a:gd name="T63" fmla="*/ 9686865 h 225"/>
                <a:gd name="T64" fmla="*/ 71095 w 253"/>
                <a:gd name="T65" fmla="*/ 8766651 h 225"/>
                <a:gd name="T66" fmla="*/ 73254 w 253"/>
                <a:gd name="T67" fmla="*/ 7448536 h 225"/>
                <a:gd name="T68" fmla="*/ 74952 w 253"/>
                <a:gd name="T69" fmla="*/ 6224432 h 225"/>
                <a:gd name="T70" fmla="*/ 72048 w 253"/>
                <a:gd name="T71" fmla="*/ 6052797 h 225"/>
                <a:gd name="T72" fmla="*/ 71095 w 253"/>
                <a:gd name="T73" fmla="*/ 6737838 h 225"/>
                <a:gd name="T74" fmla="*/ 66369 w 253"/>
                <a:gd name="T75" fmla="*/ 6249267 h 225"/>
                <a:gd name="T76" fmla="*/ 67100 w 253"/>
                <a:gd name="T77" fmla="*/ 5276462 h 225"/>
                <a:gd name="T78" fmla="*/ 69110 w 253"/>
                <a:gd name="T79" fmla="*/ 4618205 h 225"/>
                <a:gd name="T80" fmla="*/ 71250 w 253"/>
                <a:gd name="T81" fmla="*/ 4859548 h 225"/>
                <a:gd name="T82" fmla="*/ 71250 w 253"/>
                <a:gd name="T83" fmla="*/ 3593977 h 225"/>
                <a:gd name="T84" fmla="*/ 71250 w 253"/>
                <a:gd name="T85" fmla="*/ 2222865 h 225"/>
                <a:gd name="T86" fmla="*/ 70426 w 253"/>
                <a:gd name="T87" fmla="*/ 1214829 h 225"/>
                <a:gd name="T88" fmla="*/ 69432 w 253"/>
                <a:gd name="T89" fmla="*/ 327265 h 225"/>
                <a:gd name="T90" fmla="*/ 65161 w 253"/>
                <a:gd name="T91" fmla="*/ 1 h 225"/>
                <a:gd name="T92" fmla="*/ 60317 w 253"/>
                <a:gd name="T93" fmla="*/ 0 h 225"/>
                <a:gd name="T94" fmla="*/ 60085 w 253"/>
                <a:gd name="T95" fmla="*/ 0 h 225"/>
                <a:gd name="T96" fmla="*/ 54113 w 253"/>
                <a:gd name="T97" fmla="*/ 968188 h 225"/>
                <a:gd name="T98" fmla="*/ 49242 w 253"/>
                <a:gd name="T99" fmla="*/ 1995262 h 225"/>
                <a:gd name="T100" fmla="*/ 46496 w 253"/>
                <a:gd name="T101" fmla="*/ 3191045 h 225"/>
                <a:gd name="T102" fmla="*/ 44046 w 253"/>
                <a:gd name="T103" fmla="*/ 3593977 h 225"/>
                <a:gd name="T104" fmla="*/ 40981 w 253"/>
                <a:gd name="T105" fmla="*/ 4618205 h 225"/>
                <a:gd name="T106" fmla="*/ 34664 w 253"/>
                <a:gd name="T107" fmla="*/ 4507438 h 225"/>
                <a:gd name="T108" fmla="*/ 30507 w 253"/>
                <a:gd name="T109" fmla="*/ 4111874 h 225"/>
                <a:gd name="T110" fmla="*/ 28158 w 253"/>
                <a:gd name="T111" fmla="*/ 5027675 h 225"/>
                <a:gd name="T112" fmla="*/ 26335 w 253"/>
                <a:gd name="T113" fmla="*/ 5797847 h 225"/>
                <a:gd name="T114" fmla="*/ 20635 w 253"/>
                <a:gd name="T115" fmla="*/ 6052797 h 225"/>
                <a:gd name="T116" fmla="*/ 19503 w 253"/>
                <a:gd name="T117" fmla="*/ 5992807 h 225"/>
                <a:gd name="T118" fmla="*/ 20485 w 253"/>
                <a:gd name="T119" fmla="*/ 4618205 h 225"/>
                <a:gd name="T120" fmla="*/ 16958 w 253"/>
                <a:gd name="T121" fmla="*/ 3385135 h 22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3"/>
                <a:gd name="T184" fmla="*/ 0 h 225"/>
                <a:gd name="T185" fmla="*/ 253 w 253"/>
                <a:gd name="T186" fmla="*/ 225 h 22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3" h="225">
                  <a:moveTo>
                    <a:pt x="57" y="46"/>
                  </a:moveTo>
                  <a:lnTo>
                    <a:pt x="56" y="62"/>
                  </a:lnTo>
                  <a:lnTo>
                    <a:pt x="54" y="79"/>
                  </a:lnTo>
                  <a:lnTo>
                    <a:pt x="53" y="95"/>
                  </a:lnTo>
                  <a:lnTo>
                    <a:pt x="51" y="113"/>
                  </a:lnTo>
                  <a:lnTo>
                    <a:pt x="38" y="120"/>
                  </a:lnTo>
                  <a:lnTo>
                    <a:pt x="15" y="116"/>
                  </a:lnTo>
                  <a:lnTo>
                    <a:pt x="9" y="104"/>
                  </a:lnTo>
                  <a:lnTo>
                    <a:pt x="0" y="114"/>
                  </a:lnTo>
                  <a:lnTo>
                    <a:pt x="8" y="130"/>
                  </a:lnTo>
                  <a:lnTo>
                    <a:pt x="13" y="148"/>
                  </a:lnTo>
                  <a:lnTo>
                    <a:pt x="19" y="164"/>
                  </a:lnTo>
                  <a:lnTo>
                    <a:pt x="26" y="181"/>
                  </a:lnTo>
                  <a:lnTo>
                    <a:pt x="19" y="188"/>
                  </a:lnTo>
                  <a:lnTo>
                    <a:pt x="21" y="197"/>
                  </a:lnTo>
                  <a:lnTo>
                    <a:pt x="26" y="216"/>
                  </a:lnTo>
                  <a:lnTo>
                    <a:pt x="31" y="215"/>
                  </a:lnTo>
                  <a:lnTo>
                    <a:pt x="38" y="220"/>
                  </a:lnTo>
                  <a:lnTo>
                    <a:pt x="48" y="225"/>
                  </a:lnTo>
                  <a:lnTo>
                    <a:pt x="64" y="220"/>
                  </a:lnTo>
                  <a:lnTo>
                    <a:pt x="80" y="215"/>
                  </a:lnTo>
                  <a:lnTo>
                    <a:pt x="96" y="213"/>
                  </a:lnTo>
                  <a:lnTo>
                    <a:pt x="112" y="213"/>
                  </a:lnTo>
                  <a:lnTo>
                    <a:pt x="133" y="210"/>
                  </a:lnTo>
                  <a:lnTo>
                    <a:pt x="143" y="207"/>
                  </a:lnTo>
                  <a:lnTo>
                    <a:pt x="160" y="197"/>
                  </a:lnTo>
                  <a:lnTo>
                    <a:pt x="176" y="188"/>
                  </a:lnTo>
                  <a:lnTo>
                    <a:pt x="186" y="178"/>
                  </a:lnTo>
                  <a:lnTo>
                    <a:pt x="196" y="167"/>
                  </a:lnTo>
                  <a:lnTo>
                    <a:pt x="207" y="156"/>
                  </a:lnTo>
                  <a:lnTo>
                    <a:pt x="215" y="146"/>
                  </a:lnTo>
                  <a:lnTo>
                    <a:pt x="227" y="132"/>
                  </a:lnTo>
                  <a:lnTo>
                    <a:pt x="239" y="119"/>
                  </a:lnTo>
                  <a:lnTo>
                    <a:pt x="246" y="101"/>
                  </a:lnTo>
                  <a:lnTo>
                    <a:pt x="253" y="84"/>
                  </a:lnTo>
                  <a:lnTo>
                    <a:pt x="242" y="82"/>
                  </a:lnTo>
                  <a:lnTo>
                    <a:pt x="239" y="91"/>
                  </a:lnTo>
                  <a:lnTo>
                    <a:pt x="224" y="85"/>
                  </a:lnTo>
                  <a:lnTo>
                    <a:pt x="226" y="72"/>
                  </a:lnTo>
                  <a:lnTo>
                    <a:pt x="233" y="63"/>
                  </a:lnTo>
                  <a:lnTo>
                    <a:pt x="240" y="66"/>
                  </a:lnTo>
                  <a:lnTo>
                    <a:pt x="240" y="49"/>
                  </a:lnTo>
                  <a:lnTo>
                    <a:pt x="240" y="30"/>
                  </a:lnTo>
                  <a:lnTo>
                    <a:pt x="237" y="17"/>
                  </a:lnTo>
                  <a:lnTo>
                    <a:pt x="234" y="4"/>
                  </a:lnTo>
                  <a:lnTo>
                    <a:pt x="220" y="1"/>
                  </a:lnTo>
                  <a:lnTo>
                    <a:pt x="204" y="0"/>
                  </a:lnTo>
                  <a:lnTo>
                    <a:pt x="202" y="0"/>
                  </a:lnTo>
                  <a:lnTo>
                    <a:pt x="182" y="13"/>
                  </a:lnTo>
                  <a:lnTo>
                    <a:pt x="166" y="27"/>
                  </a:lnTo>
                  <a:lnTo>
                    <a:pt x="157" y="43"/>
                  </a:lnTo>
                  <a:lnTo>
                    <a:pt x="149" y="49"/>
                  </a:lnTo>
                  <a:lnTo>
                    <a:pt x="138" y="63"/>
                  </a:lnTo>
                  <a:lnTo>
                    <a:pt x="117" y="61"/>
                  </a:lnTo>
                  <a:lnTo>
                    <a:pt x="103" y="56"/>
                  </a:lnTo>
                  <a:lnTo>
                    <a:pt x="95" y="68"/>
                  </a:lnTo>
                  <a:lnTo>
                    <a:pt x="88" y="79"/>
                  </a:lnTo>
                  <a:lnTo>
                    <a:pt x="70" y="82"/>
                  </a:lnTo>
                  <a:lnTo>
                    <a:pt x="66" y="81"/>
                  </a:lnTo>
                  <a:lnTo>
                    <a:pt x="69" y="63"/>
                  </a:lnTo>
                  <a:lnTo>
                    <a:pt x="57" y="4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6" name="Freeform 67">
              <a:extLst>
                <a:ext uri="{FF2B5EF4-FFF2-40B4-BE49-F238E27FC236}">
                  <a16:creationId xmlns:a16="http://schemas.microsoft.com/office/drawing/2014/main" id="{072ABD7E-9FDE-ED04-6AFE-C948CD5EB9BF}"/>
                </a:ext>
              </a:extLst>
            </p:cNvPr>
            <p:cNvSpPr>
              <a:spLocks/>
            </p:cNvSpPr>
            <p:nvPr/>
          </p:nvSpPr>
          <p:spPr bwMode="auto">
            <a:xfrm>
              <a:off x="5094061" y="5020775"/>
              <a:ext cx="65566" cy="71374"/>
            </a:xfrm>
            <a:custGeom>
              <a:avLst/>
              <a:gdLst>
                <a:gd name="T0" fmla="*/ 4685 w 34"/>
                <a:gd name="T1" fmla="*/ 502666 h 35"/>
                <a:gd name="T2" fmla="*/ 0 w 34"/>
                <a:gd name="T3" fmla="*/ 2266145 h 35"/>
                <a:gd name="T4" fmla="*/ 3222 w 34"/>
                <a:gd name="T5" fmla="*/ 4090707 h 35"/>
                <a:gd name="T6" fmla="*/ 5271 w 34"/>
                <a:gd name="T7" fmla="*/ 3531027 h 35"/>
                <a:gd name="T8" fmla="*/ 10863 w 34"/>
                <a:gd name="T9" fmla="*/ 2266145 h 35"/>
                <a:gd name="T10" fmla="*/ 11146 w 34"/>
                <a:gd name="T11" fmla="*/ 830592 h 35"/>
                <a:gd name="T12" fmla="*/ 6600 w 34"/>
                <a:gd name="T13" fmla="*/ 0 h 35"/>
                <a:gd name="T14" fmla="*/ 4685 w 34"/>
                <a:gd name="T15" fmla="*/ 502666 h 3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35"/>
                <a:gd name="T26" fmla="*/ 34 w 34"/>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35">
                  <a:moveTo>
                    <a:pt x="14" y="4"/>
                  </a:moveTo>
                  <a:lnTo>
                    <a:pt x="0" y="19"/>
                  </a:lnTo>
                  <a:lnTo>
                    <a:pt x="10" y="35"/>
                  </a:lnTo>
                  <a:lnTo>
                    <a:pt x="16" y="30"/>
                  </a:lnTo>
                  <a:lnTo>
                    <a:pt x="32" y="19"/>
                  </a:lnTo>
                  <a:lnTo>
                    <a:pt x="34" y="7"/>
                  </a:lnTo>
                  <a:lnTo>
                    <a:pt x="20" y="0"/>
                  </a:lnTo>
                  <a:lnTo>
                    <a:pt x="14"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7" name="Freeform 68">
              <a:extLst>
                <a:ext uri="{FF2B5EF4-FFF2-40B4-BE49-F238E27FC236}">
                  <a16:creationId xmlns:a16="http://schemas.microsoft.com/office/drawing/2014/main" id="{1D196A44-2471-0A16-85B1-C2B5D4812D7F}"/>
                </a:ext>
              </a:extLst>
            </p:cNvPr>
            <p:cNvSpPr>
              <a:spLocks/>
            </p:cNvSpPr>
            <p:nvPr/>
          </p:nvSpPr>
          <p:spPr bwMode="auto">
            <a:xfrm>
              <a:off x="4731052" y="4805132"/>
              <a:ext cx="6396" cy="16704"/>
            </a:xfrm>
            <a:custGeom>
              <a:avLst/>
              <a:gdLst>
                <a:gd name="T0" fmla="*/ 20671 w 3"/>
                <a:gd name="T1" fmla="*/ 65329 h 9"/>
                <a:gd name="T2" fmla="*/ 0 w 3"/>
                <a:gd name="T3" fmla="*/ 65329 h 9"/>
                <a:gd name="T4" fmla="*/ 1 w 3"/>
                <a:gd name="T5" fmla="*/ 0 h 9"/>
                <a:gd name="T6" fmla="*/ 20671 w 3"/>
                <a:gd name="T7" fmla="*/ 65329 h 9"/>
                <a:gd name="T8" fmla="*/ 0 60000 65536"/>
                <a:gd name="T9" fmla="*/ 0 60000 65536"/>
                <a:gd name="T10" fmla="*/ 0 60000 65536"/>
                <a:gd name="T11" fmla="*/ 0 60000 65536"/>
                <a:gd name="T12" fmla="*/ 0 w 3"/>
                <a:gd name="T13" fmla="*/ 0 h 9"/>
                <a:gd name="T14" fmla="*/ 3 w 3"/>
                <a:gd name="T15" fmla="*/ 9 h 9"/>
              </a:gdLst>
              <a:ahLst/>
              <a:cxnLst>
                <a:cxn ang="T8">
                  <a:pos x="T0" y="T1"/>
                </a:cxn>
                <a:cxn ang="T9">
                  <a:pos x="T2" y="T3"/>
                </a:cxn>
                <a:cxn ang="T10">
                  <a:pos x="T4" y="T5"/>
                </a:cxn>
                <a:cxn ang="T11">
                  <a:pos x="T6" y="T7"/>
                </a:cxn>
              </a:cxnLst>
              <a:rect l="T12" t="T13" r="T14" b="T15"/>
              <a:pathLst>
                <a:path w="3" h="9">
                  <a:moveTo>
                    <a:pt x="3" y="9"/>
                  </a:moveTo>
                  <a:lnTo>
                    <a:pt x="0" y="9"/>
                  </a:lnTo>
                  <a:lnTo>
                    <a:pt x="1" y="0"/>
                  </a:lnTo>
                  <a:lnTo>
                    <a:pt x="3" y="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8" name="Freeform 69">
              <a:extLst>
                <a:ext uri="{FF2B5EF4-FFF2-40B4-BE49-F238E27FC236}">
                  <a16:creationId xmlns:a16="http://schemas.microsoft.com/office/drawing/2014/main" id="{E8488692-91D9-0178-03AE-E85DD8498FFB}"/>
                </a:ext>
              </a:extLst>
            </p:cNvPr>
            <p:cNvSpPr>
              <a:spLocks/>
            </p:cNvSpPr>
            <p:nvPr/>
          </p:nvSpPr>
          <p:spPr bwMode="auto">
            <a:xfrm>
              <a:off x="5212398" y="4914472"/>
              <a:ext cx="33582" cy="57708"/>
            </a:xfrm>
            <a:custGeom>
              <a:avLst/>
              <a:gdLst>
                <a:gd name="T0" fmla="*/ 1056 w 18"/>
                <a:gd name="T1" fmla="*/ 0 h 28"/>
                <a:gd name="T2" fmla="*/ 2 w 18"/>
                <a:gd name="T3" fmla="*/ 1221307 h 28"/>
                <a:gd name="T4" fmla="*/ 0 w 18"/>
                <a:gd name="T5" fmla="*/ 3004054 h 28"/>
                <a:gd name="T6" fmla="*/ 1676 w 18"/>
                <a:gd name="T7" fmla="*/ 3834443 h 28"/>
                <a:gd name="T8" fmla="*/ 2124 w 18"/>
                <a:gd name="T9" fmla="*/ 2618645 h 28"/>
                <a:gd name="T10" fmla="*/ 1937 w 18"/>
                <a:gd name="T11" fmla="*/ 388998 h 28"/>
                <a:gd name="T12" fmla="*/ 1056 w 18"/>
                <a:gd name="T13" fmla="*/ 0 h 28"/>
                <a:gd name="T14" fmla="*/ 0 60000 65536"/>
                <a:gd name="T15" fmla="*/ 0 60000 65536"/>
                <a:gd name="T16" fmla="*/ 0 60000 65536"/>
                <a:gd name="T17" fmla="*/ 0 60000 65536"/>
                <a:gd name="T18" fmla="*/ 0 60000 65536"/>
                <a:gd name="T19" fmla="*/ 0 60000 65536"/>
                <a:gd name="T20" fmla="*/ 0 60000 65536"/>
                <a:gd name="T21" fmla="*/ 0 w 18"/>
                <a:gd name="T22" fmla="*/ 0 h 28"/>
                <a:gd name="T23" fmla="*/ 18 w 18"/>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8">
                  <a:moveTo>
                    <a:pt x="9" y="0"/>
                  </a:moveTo>
                  <a:lnTo>
                    <a:pt x="2" y="9"/>
                  </a:lnTo>
                  <a:lnTo>
                    <a:pt x="0" y="22"/>
                  </a:lnTo>
                  <a:lnTo>
                    <a:pt x="15" y="28"/>
                  </a:lnTo>
                  <a:lnTo>
                    <a:pt x="18" y="19"/>
                  </a:lnTo>
                  <a:lnTo>
                    <a:pt x="16" y="3"/>
                  </a:lnTo>
                  <a:lnTo>
                    <a:pt x="9"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29" name="Freeform 70">
              <a:extLst>
                <a:ext uri="{FF2B5EF4-FFF2-40B4-BE49-F238E27FC236}">
                  <a16:creationId xmlns:a16="http://schemas.microsoft.com/office/drawing/2014/main" id="{CAD567F4-D95C-57F6-762B-4BBF56559E1C}"/>
                </a:ext>
              </a:extLst>
            </p:cNvPr>
            <p:cNvSpPr>
              <a:spLocks/>
            </p:cNvSpPr>
            <p:nvPr/>
          </p:nvSpPr>
          <p:spPr bwMode="auto">
            <a:xfrm>
              <a:off x="4655891" y="4196165"/>
              <a:ext cx="369406" cy="438881"/>
            </a:xfrm>
            <a:custGeom>
              <a:avLst/>
              <a:gdLst>
                <a:gd name="T0" fmla="*/ 50499 w 193"/>
                <a:gd name="T1" fmla="*/ 9485215 h 218"/>
                <a:gd name="T2" fmla="*/ 46657 w 193"/>
                <a:gd name="T3" fmla="*/ 9485215 h 218"/>
                <a:gd name="T4" fmla="*/ 42192 w 193"/>
                <a:gd name="T5" fmla="*/ 9553639 h 218"/>
                <a:gd name="T6" fmla="*/ 42192 w 193"/>
                <a:gd name="T7" fmla="*/ 10530779 h 218"/>
                <a:gd name="T8" fmla="*/ 42192 w 193"/>
                <a:gd name="T9" fmla="*/ 11609411 h 218"/>
                <a:gd name="T10" fmla="*/ 41803 w 193"/>
                <a:gd name="T11" fmla="*/ 12763522 h 218"/>
                <a:gd name="T12" fmla="*/ 41803 w 193"/>
                <a:gd name="T13" fmla="*/ 13762549 h 218"/>
                <a:gd name="T14" fmla="*/ 44959 w 193"/>
                <a:gd name="T15" fmla="*/ 14769076 h 218"/>
                <a:gd name="T16" fmla="*/ 48194 w 193"/>
                <a:gd name="T17" fmla="*/ 15680796 h 218"/>
                <a:gd name="T18" fmla="*/ 41393 w 193"/>
                <a:gd name="T19" fmla="*/ 15958303 h 218"/>
                <a:gd name="T20" fmla="*/ 35690 w 193"/>
                <a:gd name="T21" fmla="*/ 16150491 h 218"/>
                <a:gd name="T22" fmla="*/ 31652 w 193"/>
                <a:gd name="T23" fmla="*/ 15851367 h 218"/>
                <a:gd name="T24" fmla="*/ 27847 w 193"/>
                <a:gd name="T25" fmla="*/ 15636528 h 218"/>
                <a:gd name="T26" fmla="*/ 27031 w 193"/>
                <a:gd name="T27" fmla="*/ 15408159 h 218"/>
                <a:gd name="T28" fmla="*/ 22251 w 193"/>
                <a:gd name="T29" fmla="*/ 15270554 h 218"/>
                <a:gd name="T30" fmla="*/ 17438 w 193"/>
                <a:gd name="T31" fmla="*/ 15270554 h 218"/>
                <a:gd name="T32" fmla="*/ 12317 w 193"/>
                <a:gd name="T33" fmla="*/ 15270554 h 218"/>
                <a:gd name="T34" fmla="*/ 7733 w 193"/>
                <a:gd name="T35" fmla="*/ 15164340 h 218"/>
                <a:gd name="T36" fmla="*/ 4662 w 193"/>
                <a:gd name="T37" fmla="*/ 14923118 h 218"/>
                <a:gd name="T38" fmla="*/ 0 w 193"/>
                <a:gd name="T39" fmla="*/ 15164340 h 218"/>
                <a:gd name="T40" fmla="*/ 1 w 193"/>
                <a:gd name="T41" fmla="*/ 14084152 h 218"/>
                <a:gd name="T42" fmla="*/ 2 w 193"/>
                <a:gd name="T43" fmla="*/ 13040317 h 218"/>
                <a:gd name="T44" fmla="*/ 2183 w 193"/>
                <a:gd name="T45" fmla="*/ 11390139 h 218"/>
                <a:gd name="T46" fmla="*/ 3895 w 193"/>
                <a:gd name="T47" fmla="*/ 9717260 h 218"/>
                <a:gd name="T48" fmla="*/ 6418 w 193"/>
                <a:gd name="T49" fmla="*/ 8837311 h 218"/>
                <a:gd name="T50" fmla="*/ 8598 w 193"/>
                <a:gd name="T51" fmla="*/ 7999115 h 218"/>
                <a:gd name="T52" fmla="*/ 7733 w 193"/>
                <a:gd name="T53" fmla="*/ 6155063 h 218"/>
                <a:gd name="T54" fmla="*/ 6679 w 193"/>
                <a:gd name="T55" fmla="*/ 5205802 h 218"/>
                <a:gd name="T56" fmla="*/ 5398 w 193"/>
                <a:gd name="T57" fmla="*/ 4233589 h 218"/>
                <a:gd name="T58" fmla="*/ 6679 w 193"/>
                <a:gd name="T59" fmla="*/ 3557929 h 218"/>
                <a:gd name="T60" fmla="*/ 4662 w 193"/>
                <a:gd name="T61" fmla="*/ 1902704 h 218"/>
                <a:gd name="T62" fmla="*/ 2613 w 193"/>
                <a:gd name="T63" fmla="*/ 327965 h 218"/>
                <a:gd name="T64" fmla="*/ 6347 w 193"/>
                <a:gd name="T65" fmla="*/ 0 h 218"/>
                <a:gd name="T66" fmla="*/ 9568 w 193"/>
                <a:gd name="T67" fmla="*/ 159093 h 218"/>
                <a:gd name="T68" fmla="*/ 13172 w 193"/>
                <a:gd name="T69" fmla="*/ 159093 h 218"/>
                <a:gd name="T70" fmla="*/ 16406 w 193"/>
                <a:gd name="T71" fmla="*/ 228423 h 218"/>
                <a:gd name="T72" fmla="*/ 20370 w 193"/>
                <a:gd name="T73" fmla="*/ 228423 h 218"/>
                <a:gd name="T74" fmla="*/ 22251 w 193"/>
                <a:gd name="T75" fmla="*/ 1496920 h 218"/>
                <a:gd name="T76" fmla="*/ 23502 w 193"/>
                <a:gd name="T77" fmla="*/ 2702580 h 218"/>
                <a:gd name="T78" fmla="*/ 26632 w 193"/>
                <a:gd name="T79" fmla="*/ 3043010 h 218"/>
                <a:gd name="T80" fmla="*/ 31652 w 193"/>
                <a:gd name="T81" fmla="*/ 2702580 h 218"/>
                <a:gd name="T82" fmla="*/ 32569 w 193"/>
                <a:gd name="T83" fmla="*/ 1496920 h 218"/>
                <a:gd name="T84" fmla="*/ 36868 w 193"/>
                <a:gd name="T85" fmla="*/ 1648099 h 218"/>
                <a:gd name="T86" fmla="*/ 36473 w 193"/>
                <a:gd name="T87" fmla="*/ 1902704 h 218"/>
                <a:gd name="T88" fmla="*/ 42192 w 193"/>
                <a:gd name="T89" fmla="*/ 2149248 h 218"/>
                <a:gd name="T90" fmla="*/ 42192 w 193"/>
                <a:gd name="T91" fmla="*/ 3625767 h 218"/>
                <a:gd name="T92" fmla="*/ 42192 w 193"/>
                <a:gd name="T93" fmla="*/ 5205802 h 218"/>
                <a:gd name="T94" fmla="*/ 43762 w 193"/>
                <a:gd name="T95" fmla="*/ 6606317 h 218"/>
                <a:gd name="T96" fmla="*/ 43762 w 193"/>
                <a:gd name="T97" fmla="*/ 7108909 h 218"/>
                <a:gd name="T98" fmla="*/ 47320 w 193"/>
                <a:gd name="T99" fmla="*/ 6908721 h 218"/>
                <a:gd name="T100" fmla="*/ 50499 w 193"/>
                <a:gd name="T101" fmla="*/ 6653973 h 218"/>
                <a:gd name="T102" fmla="*/ 50499 w 193"/>
                <a:gd name="T103" fmla="*/ 8085790 h 218"/>
                <a:gd name="T104" fmla="*/ 50499 w 193"/>
                <a:gd name="T105" fmla="*/ 9485215 h 21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3"/>
                <a:gd name="T160" fmla="*/ 0 h 218"/>
                <a:gd name="T161" fmla="*/ 193 w 193"/>
                <a:gd name="T162" fmla="*/ 218 h 21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3" h="218">
                  <a:moveTo>
                    <a:pt x="193" y="128"/>
                  </a:moveTo>
                  <a:lnTo>
                    <a:pt x="177" y="128"/>
                  </a:lnTo>
                  <a:lnTo>
                    <a:pt x="161" y="129"/>
                  </a:lnTo>
                  <a:lnTo>
                    <a:pt x="161" y="142"/>
                  </a:lnTo>
                  <a:lnTo>
                    <a:pt x="161" y="157"/>
                  </a:lnTo>
                  <a:lnTo>
                    <a:pt x="159" y="172"/>
                  </a:lnTo>
                  <a:lnTo>
                    <a:pt x="159" y="186"/>
                  </a:lnTo>
                  <a:lnTo>
                    <a:pt x="171" y="199"/>
                  </a:lnTo>
                  <a:lnTo>
                    <a:pt x="183" y="212"/>
                  </a:lnTo>
                  <a:lnTo>
                    <a:pt x="158" y="215"/>
                  </a:lnTo>
                  <a:lnTo>
                    <a:pt x="135" y="218"/>
                  </a:lnTo>
                  <a:lnTo>
                    <a:pt x="120" y="214"/>
                  </a:lnTo>
                  <a:lnTo>
                    <a:pt x="106" y="211"/>
                  </a:lnTo>
                  <a:lnTo>
                    <a:pt x="103" y="208"/>
                  </a:lnTo>
                  <a:lnTo>
                    <a:pt x="84" y="206"/>
                  </a:lnTo>
                  <a:lnTo>
                    <a:pt x="66" y="206"/>
                  </a:lnTo>
                  <a:lnTo>
                    <a:pt x="47" y="206"/>
                  </a:lnTo>
                  <a:lnTo>
                    <a:pt x="30" y="205"/>
                  </a:lnTo>
                  <a:lnTo>
                    <a:pt x="18" y="201"/>
                  </a:lnTo>
                  <a:lnTo>
                    <a:pt x="0" y="205"/>
                  </a:lnTo>
                  <a:lnTo>
                    <a:pt x="1" y="190"/>
                  </a:lnTo>
                  <a:lnTo>
                    <a:pt x="2" y="176"/>
                  </a:lnTo>
                  <a:lnTo>
                    <a:pt x="8" y="154"/>
                  </a:lnTo>
                  <a:lnTo>
                    <a:pt x="15" y="131"/>
                  </a:lnTo>
                  <a:lnTo>
                    <a:pt x="24" y="119"/>
                  </a:lnTo>
                  <a:lnTo>
                    <a:pt x="33" y="108"/>
                  </a:lnTo>
                  <a:lnTo>
                    <a:pt x="30" y="83"/>
                  </a:lnTo>
                  <a:lnTo>
                    <a:pt x="26" y="70"/>
                  </a:lnTo>
                  <a:lnTo>
                    <a:pt x="21" y="57"/>
                  </a:lnTo>
                  <a:lnTo>
                    <a:pt x="26" y="48"/>
                  </a:lnTo>
                  <a:lnTo>
                    <a:pt x="18" y="26"/>
                  </a:lnTo>
                  <a:lnTo>
                    <a:pt x="10" y="4"/>
                  </a:lnTo>
                  <a:lnTo>
                    <a:pt x="23" y="0"/>
                  </a:lnTo>
                  <a:lnTo>
                    <a:pt x="37" y="2"/>
                  </a:lnTo>
                  <a:lnTo>
                    <a:pt x="50" y="2"/>
                  </a:lnTo>
                  <a:lnTo>
                    <a:pt x="63" y="3"/>
                  </a:lnTo>
                  <a:lnTo>
                    <a:pt x="78" y="3"/>
                  </a:lnTo>
                  <a:lnTo>
                    <a:pt x="84" y="20"/>
                  </a:lnTo>
                  <a:lnTo>
                    <a:pt x="90" y="36"/>
                  </a:lnTo>
                  <a:lnTo>
                    <a:pt x="101" y="41"/>
                  </a:lnTo>
                  <a:lnTo>
                    <a:pt x="120" y="36"/>
                  </a:lnTo>
                  <a:lnTo>
                    <a:pt x="124" y="20"/>
                  </a:lnTo>
                  <a:lnTo>
                    <a:pt x="140" y="22"/>
                  </a:lnTo>
                  <a:lnTo>
                    <a:pt x="139" y="26"/>
                  </a:lnTo>
                  <a:lnTo>
                    <a:pt x="161" y="29"/>
                  </a:lnTo>
                  <a:lnTo>
                    <a:pt x="161" y="49"/>
                  </a:lnTo>
                  <a:lnTo>
                    <a:pt x="161" y="70"/>
                  </a:lnTo>
                  <a:lnTo>
                    <a:pt x="167" y="89"/>
                  </a:lnTo>
                  <a:lnTo>
                    <a:pt x="167" y="96"/>
                  </a:lnTo>
                  <a:lnTo>
                    <a:pt x="180" y="93"/>
                  </a:lnTo>
                  <a:lnTo>
                    <a:pt x="193" y="90"/>
                  </a:lnTo>
                  <a:lnTo>
                    <a:pt x="193" y="109"/>
                  </a:lnTo>
                  <a:lnTo>
                    <a:pt x="193" y="12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0" name="Freeform 71">
              <a:extLst>
                <a:ext uri="{FF2B5EF4-FFF2-40B4-BE49-F238E27FC236}">
                  <a16:creationId xmlns:a16="http://schemas.microsoft.com/office/drawing/2014/main" id="{7E8EBD81-FB1B-88B8-ADE6-CE81A48D46A1}"/>
                </a:ext>
              </a:extLst>
            </p:cNvPr>
            <p:cNvSpPr>
              <a:spLocks/>
            </p:cNvSpPr>
            <p:nvPr/>
          </p:nvSpPr>
          <p:spPr bwMode="auto">
            <a:xfrm>
              <a:off x="4667086" y="4146051"/>
              <a:ext cx="30383" cy="48596"/>
            </a:xfrm>
            <a:custGeom>
              <a:avLst/>
              <a:gdLst>
                <a:gd name="T0" fmla="*/ 714 w 16"/>
                <a:gd name="T1" fmla="*/ 2856894 h 24"/>
                <a:gd name="T2" fmla="*/ 0 w 16"/>
                <a:gd name="T3" fmla="*/ 1326194 h 24"/>
                <a:gd name="T4" fmla="*/ 2002 w 16"/>
                <a:gd name="T5" fmla="*/ 0 h 24"/>
                <a:gd name="T6" fmla="*/ 3305 w 16"/>
                <a:gd name="T7" fmla="*/ 351237 h 24"/>
                <a:gd name="T8" fmla="*/ 1879 w 16"/>
                <a:gd name="T9" fmla="*/ 1089359 h 24"/>
                <a:gd name="T10" fmla="*/ 1686 w 16"/>
                <a:gd name="T11" fmla="*/ 2856894 h 24"/>
                <a:gd name="T12" fmla="*/ 714 w 16"/>
                <a:gd name="T13" fmla="*/ 2856894 h 24"/>
                <a:gd name="T14" fmla="*/ 0 60000 65536"/>
                <a:gd name="T15" fmla="*/ 0 60000 65536"/>
                <a:gd name="T16" fmla="*/ 0 60000 65536"/>
                <a:gd name="T17" fmla="*/ 0 60000 65536"/>
                <a:gd name="T18" fmla="*/ 0 60000 65536"/>
                <a:gd name="T19" fmla="*/ 0 60000 65536"/>
                <a:gd name="T20" fmla="*/ 0 60000 65536"/>
                <a:gd name="T21" fmla="*/ 0 w 16"/>
                <a:gd name="T22" fmla="*/ 0 h 24"/>
                <a:gd name="T23" fmla="*/ 16 w 1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4">
                  <a:moveTo>
                    <a:pt x="3" y="24"/>
                  </a:moveTo>
                  <a:lnTo>
                    <a:pt x="0" y="11"/>
                  </a:lnTo>
                  <a:lnTo>
                    <a:pt x="10" y="0"/>
                  </a:lnTo>
                  <a:lnTo>
                    <a:pt x="16" y="3"/>
                  </a:lnTo>
                  <a:lnTo>
                    <a:pt x="9" y="9"/>
                  </a:lnTo>
                  <a:lnTo>
                    <a:pt x="8" y="24"/>
                  </a:lnTo>
                  <a:lnTo>
                    <a:pt x="3" y="2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1" name="Freeform 72">
              <a:extLst>
                <a:ext uri="{FF2B5EF4-FFF2-40B4-BE49-F238E27FC236}">
                  <a16:creationId xmlns:a16="http://schemas.microsoft.com/office/drawing/2014/main" id="{D31092D8-1E56-57A2-88B1-1B5B02A59C9D}"/>
                </a:ext>
              </a:extLst>
            </p:cNvPr>
            <p:cNvSpPr>
              <a:spLocks/>
            </p:cNvSpPr>
            <p:nvPr/>
          </p:nvSpPr>
          <p:spPr bwMode="auto">
            <a:xfrm>
              <a:off x="4590327" y="3900035"/>
              <a:ext cx="55970" cy="48596"/>
            </a:xfrm>
            <a:custGeom>
              <a:avLst/>
              <a:gdLst>
                <a:gd name="T0" fmla="*/ 653 w 30"/>
                <a:gd name="T1" fmla="*/ 853961 h 25"/>
                <a:gd name="T2" fmla="*/ 0 w 30"/>
                <a:gd name="T3" fmla="*/ 740949 h 25"/>
                <a:gd name="T4" fmla="*/ 1 w 30"/>
                <a:gd name="T5" fmla="*/ 504748 h 25"/>
                <a:gd name="T6" fmla="*/ 653 w 30"/>
                <a:gd name="T7" fmla="*/ 0 h 25"/>
                <a:gd name="T8" fmla="*/ 2008 w 30"/>
                <a:gd name="T9" fmla="*/ 67036 h 25"/>
                <a:gd name="T10" fmla="*/ 3620 w 30"/>
                <a:gd name="T11" fmla="*/ 93850 h 25"/>
                <a:gd name="T12" fmla="*/ 3620 w 30"/>
                <a:gd name="T13" fmla="*/ 853961 h 25"/>
                <a:gd name="T14" fmla="*/ 2008 w 30"/>
                <a:gd name="T15" fmla="*/ 853961 h 25"/>
                <a:gd name="T16" fmla="*/ 653 w 30"/>
                <a:gd name="T17" fmla="*/ 85396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25"/>
                <a:gd name="T29" fmla="*/ 30 w 30"/>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25">
                  <a:moveTo>
                    <a:pt x="5" y="25"/>
                  </a:moveTo>
                  <a:lnTo>
                    <a:pt x="0" y="22"/>
                  </a:lnTo>
                  <a:lnTo>
                    <a:pt x="1" y="15"/>
                  </a:lnTo>
                  <a:lnTo>
                    <a:pt x="5" y="0"/>
                  </a:lnTo>
                  <a:lnTo>
                    <a:pt x="17" y="2"/>
                  </a:lnTo>
                  <a:lnTo>
                    <a:pt x="30" y="3"/>
                  </a:lnTo>
                  <a:lnTo>
                    <a:pt x="30" y="25"/>
                  </a:lnTo>
                  <a:lnTo>
                    <a:pt x="17" y="25"/>
                  </a:lnTo>
                  <a:lnTo>
                    <a:pt x="5" y="2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2" name="Freeform 73">
              <a:extLst>
                <a:ext uri="{FF2B5EF4-FFF2-40B4-BE49-F238E27FC236}">
                  <a16:creationId xmlns:a16="http://schemas.microsoft.com/office/drawing/2014/main" id="{556107C8-9480-D22A-35A3-F045FA9B6BA2}"/>
                </a:ext>
              </a:extLst>
            </p:cNvPr>
            <p:cNvSpPr>
              <a:spLocks/>
            </p:cNvSpPr>
            <p:nvPr/>
          </p:nvSpPr>
          <p:spPr bwMode="auto">
            <a:xfrm>
              <a:off x="4567938" y="3906109"/>
              <a:ext cx="174308" cy="223237"/>
            </a:xfrm>
            <a:custGeom>
              <a:avLst/>
              <a:gdLst>
                <a:gd name="T0" fmla="*/ 4004 w 91"/>
                <a:gd name="T1" fmla="*/ 1455298 h 111"/>
                <a:gd name="T2" fmla="*/ 3791 w 91"/>
                <a:gd name="T3" fmla="*/ 1920273 h 111"/>
                <a:gd name="T4" fmla="*/ 2641 w 91"/>
                <a:gd name="T5" fmla="*/ 1920273 h 111"/>
                <a:gd name="T6" fmla="*/ 5436 w 91"/>
                <a:gd name="T7" fmla="*/ 2545864 h 111"/>
                <a:gd name="T8" fmla="*/ 2641 w 91"/>
                <a:gd name="T9" fmla="*/ 2422050 h 111"/>
                <a:gd name="T10" fmla="*/ 1284 w 91"/>
                <a:gd name="T11" fmla="*/ 3646779 h 111"/>
                <a:gd name="T12" fmla="*/ 0 w 91"/>
                <a:gd name="T13" fmla="*/ 3646779 h 111"/>
                <a:gd name="T14" fmla="*/ 1538 w 91"/>
                <a:gd name="T15" fmla="*/ 4431519 h 111"/>
                <a:gd name="T16" fmla="*/ 3163 w 91"/>
                <a:gd name="T17" fmla="*/ 4762718 h 111"/>
                <a:gd name="T18" fmla="*/ 1284 w 91"/>
                <a:gd name="T19" fmla="*/ 4431519 h 111"/>
                <a:gd name="T20" fmla="*/ 3165 w 91"/>
                <a:gd name="T21" fmla="*/ 5108633 h 111"/>
                <a:gd name="T22" fmla="*/ 2641 w 91"/>
                <a:gd name="T23" fmla="*/ 5108633 h 111"/>
                <a:gd name="T24" fmla="*/ 5436 w 91"/>
                <a:gd name="T25" fmla="*/ 5897877 h 111"/>
                <a:gd name="T26" fmla="*/ 4538 w 91"/>
                <a:gd name="T27" fmla="*/ 5897877 h 111"/>
                <a:gd name="T28" fmla="*/ 7256 w 91"/>
                <a:gd name="T29" fmla="*/ 6764783 h 111"/>
                <a:gd name="T30" fmla="*/ 10410 w 91"/>
                <a:gd name="T31" fmla="*/ 7659469 h 111"/>
                <a:gd name="T32" fmla="*/ 11596 w 91"/>
                <a:gd name="T33" fmla="*/ 7005117 h 111"/>
                <a:gd name="T34" fmla="*/ 12578 w 91"/>
                <a:gd name="T35" fmla="*/ 7216676 h 111"/>
                <a:gd name="T36" fmla="*/ 13412 w 91"/>
                <a:gd name="T37" fmla="*/ 7005117 h 111"/>
                <a:gd name="T38" fmla="*/ 12578 w 91"/>
                <a:gd name="T39" fmla="*/ 6551787 h 111"/>
                <a:gd name="T40" fmla="*/ 12469 w 91"/>
                <a:gd name="T41" fmla="*/ 6127007 h 111"/>
                <a:gd name="T42" fmla="*/ 11825 w 91"/>
                <a:gd name="T43" fmla="*/ 5897877 h 111"/>
                <a:gd name="T44" fmla="*/ 16054 w 91"/>
                <a:gd name="T45" fmla="*/ 5726461 h 111"/>
                <a:gd name="T46" fmla="*/ 16065 w 91"/>
                <a:gd name="T47" fmla="*/ 4890365 h 111"/>
                <a:gd name="T48" fmla="*/ 18708 w 91"/>
                <a:gd name="T49" fmla="*/ 5643976 h 111"/>
                <a:gd name="T50" fmla="*/ 21427 w 91"/>
                <a:gd name="T51" fmla="*/ 5441052 h 111"/>
                <a:gd name="T52" fmla="*/ 21616 w 91"/>
                <a:gd name="T53" fmla="*/ 5726461 h 111"/>
                <a:gd name="T54" fmla="*/ 23049 w 91"/>
                <a:gd name="T55" fmla="*/ 5441052 h 111"/>
                <a:gd name="T56" fmla="*/ 24611 w 91"/>
                <a:gd name="T57" fmla="*/ 3703262 h 111"/>
                <a:gd name="T58" fmla="*/ 21964 w 91"/>
                <a:gd name="T59" fmla="*/ 2585296 h 111"/>
                <a:gd name="T60" fmla="*/ 23870 w 91"/>
                <a:gd name="T61" fmla="*/ 1920273 h 111"/>
                <a:gd name="T62" fmla="*/ 23709 w 91"/>
                <a:gd name="T63" fmla="*/ 1104302 h 111"/>
                <a:gd name="T64" fmla="*/ 18919 w 91"/>
                <a:gd name="T65" fmla="*/ 1240757 h 111"/>
                <a:gd name="T66" fmla="*/ 19243 w 91"/>
                <a:gd name="T67" fmla="*/ 0 h 111"/>
                <a:gd name="T68" fmla="*/ 15066 w 91"/>
                <a:gd name="T69" fmla="*/ 0 h 111"/>
                <a:gd name="T70" fmla="*/ 11190 w 91"/>
                <a:gd name="T71" fmla="*/ 0 h 111"/>
                <a:gd name="T72" fmla="*/ 11190 w 91"/>
                <a:gd name="T73" fmla="*/ 1556192 h 111"/>
                <a:gd name="T74" fmla="*/ 7799 w 91"/>
                <a:gd name="T75" fmla="*/ 1556192 h 111"/>
                <a:gd name="T76" fmla="*/ 4538 w 91"/>
                <a:gd name="T77" fmla="*/ 1556192 h 111"/>
                <a:gd name="T78" fmla="*/ 4004 w 91"/>
                <a:gd name="T79" fmla="*/ 1455298 h 1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1"/>
                <a:gd name="T121" fmla="*/ 0 h 111"/>
                <a:gd name="T122" fmla="*/ 91 w 91"/>
                <a:gd name="T123" fmla="*/ 111 h 1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1" h="111">
                  <a:moveTo>
                    <a:pt x="15" y="21"/>
                  </a:moveTo>
                  <a:lnTo>
                    <a:pt x="14" y="28"/>
                  </a:lnTo>
                  <a:lnTo>
                    <a:pt x="9" y="28"/>
                  </a:lnTo>
                  <a:lnTo>
                    <a:pt x="19" y="37"/>
                  </a:lnTo>
                  <a:lnTo>
                    <a:pt x="9" y="35"/>
                  </a:lnTo>
                  <a:lnTo>
                    <a:pt x="5" y="53"/>
                  </a:lnTo>
                  <a:lnTo>
                    <a:pt x="0" y="53"/>
                  </a:lnTo>
                  <a:lnTo>
                    <a:pt x="6" y="64"/>
                  </a:lnTo>
                  <a:lnTo>
                    <a:pt x="11" y="69"/>
                  </a:lnTo>
                  <a:lnTo>
                    <a:pt x="5" y="64"/>
                  </a:lnTo>
                  <a:lnTo>
                    <a:pt x="12" y="74"/>
                  </a:lnTo>
                  <a:lnTo>
                    <a:pt x="9" y="74"/>
                  </a:lnTo>
                  <a:lnTo>
                    <a:pt x="19" y="85"/>
                  </a:lnTo>
                  <a:lnTo>
                    <a:pt x="16" y="85"/>
                  </a:lnTo>
                  <a:lnTo>
                    <a:pt x="27" y="98"/>
                  </a:lnTo>
                  <a:lnTo>
                    <a:pt x="38" y="111"/>
                  </a:lnTo>
                  <a:lnTo>
                    <a:pt x="43" y="102"/>
                  </a:lnTo>
                  <a:lnTo>
                    <a:pt x="47" y="105"/>
                  </a:lnTo>
                  <a:lnTo>
                    <a:pt x="50" y="102"/>
                  </a:lnTo>
                  <a:lnTo>
                    <a:pt x="47" y="95"/>
                  </a:lnTo>
                  <a:lnTo>
                    <a:pt x="46" y="89"/>
                  </a:lnTo>
                  <a:lnTo>
                    <a:pt x="44" y="85"/>
                  </a:lnTo>
                  <a:lnTo>
                    <a:pt x="59" y="83"/>
                  </a:lnTo>
                  <a:lnTo>
                    <a:pt x="60" y="71"/>
                  </a:lnTo>
                  <a:lnTo>
                    <a:pt x="69" y="82"/>
                  </a:lnTo>
                  <a:lnTo>
                    <a:pt x="79" y="79"/>
                  </a:lnTo>
                  <a:lnTo>
                    <a:pt x="80" y="83"/>
                  </a:lnTo>
                  <a:lnTo>
                    <a:pt x="86" y="79"/>
                  </a:lnTo>
                  <a:lnTo>
                    <a:pt x="91" y="54"/>
                  </a:lnTo>
                  <a:lnTo>
                    <a:pt x="82" y="38"/>
                  </a:lnTo>
                  <a:lnTo>
                    <a:pt x="89" y="28"/>
                  </a:lnTo>
                  <a:lnTo>
                    <a:pt x="88" y="16"/>
                  </a:lnTo>
                  <a:lnTo>
                    <a:pt x="70" y="18"/>
                  </a:lnTo>
                  <a:lnTo>
                    <a:pt x="72" y="0"/>
                  </a:lnTo>
                  <a:lnTo>
                    <a:pt x="56" y="0"/>
                  </a:lnTo>
                  <a:lnTo>
                    <a:pt x="41" y="0"/>
                  </a:lnTo>
                  <a:lnTo>
                    <a:pt x="41" y="22"/>
                  </a:lnTo>
                  <a:lnTo>
                    <a:pt x="28" y="22"/>
                  </a:lnTo>
                  <a:lnTo>
                    <a:pt x="16" y="22"/>
                  </a:lnTo>
                  <a:lnTo>
                    <a:pt x="15" y="2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3" name="Freeform 74">
              <a:extLst>
                <a:ext uri="{FF2B5EF4-FFF2-40B4-BE49-F238E27FC236}">
                  <a16:creationId xmlns:a16="http://schemas.microsoft.com/office/drawing/2014/main" id="{702E19CE-2162-94D2-4107-7CEA8C863CCC}"/>
                </a:ext>
              </a:extLst>
            </p:cNvPr>
            <p:cNvSpPr>
              <a:spLocks/>
            </p:cNvSpPr>
            <p:nvPr/>
          </p:nvSpPr>
          <p:spPr bwMode="auto">
            <a:xfrm>
              <a:off x="5194808" y="4021524"/>
              <a:ext cx="331025" cy="385729"/>
            </a:xfrm>
            <a:custGeom>
              <a:avLst/>
              <a:gdLst>
                <a:gd name="T0" fmla="*/ 41046 w 172"/>
                <a:gd name="T1" fmla="*/ 3205122 h 192"/>
                <a:gd name="T2" fmla="*/ 40348 w 172"/>
                <a:gd name="T3" fmla="*/ 2794825 h 192"/>
                <a:gd name="T4" fmla="*/ 35810 w 172"/>
                <a:gd name="T5" fmla="*/ 2146729 h 192"/>
                <a:gd name="T6" fmla="*/ 31567 w 172"/>
                <a:gd name="T7" fmla="*/ 1437159 h 192"/>
                <a:gd name="T8" fmla="*/ 26878 w 172"/>
                <a:gd name="T9" fmla="*/ 750608 h 192"/>
                <a:gd name="T10" fmla="*/ 22557 w 172"/>
                <a:gd name="T11" fmla="*/ 0 h 192"/>
                <a:gd name="T12" fmla="*/ 17732 w 172"/>
                <a:gd name="T13" fmla="*/ 1 h 192"/>
                <a:gd name="T14" fmla="*/ 13823 w 172"/>
                <a:gd name="T15" fmla="*/ 1 h 192"/>
                <a:gd name="T16" fmla="*/ 9628 w 172"/>
                <a:gd name="T17" fmla="*/ 1 h 192"/>
                <a:gd name="T18" fmla="*/ 5002 w 172"/>
                <a:gd name="T19" fmla="*/ 1 h 192"/>
                <a:gd name="T20" fmla="*/ 6647 w 172"/>
                <a:gd name="T21" fmla="*/ 1771443 h 192"/>
                <a:gd name="T22" fmla="*/ 5523 w 172"/>
                <a:gd name="T23" fmla="*/ 1969098 h 192"/>
                <a:gd name="T24" fmla="*/ 5523 w 172"/>
                <a:gd name="T25" fmla="*/ 2686998 h 192"/>
                <a:gd name="T26" fmla="*/ 6647 w 172"/>
                <a:gd name="T27" fmla="*/ 3153355 h 192"/>
                <a:gd name="T28" fmla="*/ 3595 w 172"/>
                <a:gd name="T29" fmla="*/ 3909618 h 192"/>
                <a:gd name="T30" fmla="*/ 982 w 172"/>
                <a:gd name="T31" fmla="*/ 4779805 h 192"/>
                <a:gd name="T32" fmla="*/ 0 w 172"/>
                <a:gd name="T33" fmla="*/ 4779805 h 192"/>
                <a:gd name="T34" fmla="*/ 0 w 172"/>
                <a:gd name="T35" fmla="*/ 5775242 h 192"/>
                <a:gd name="T36" fmla="*/ 0 w 172"/>
                <a:gd name="T37" fmla="*/ 6870969 h 192"/>
                <a:gd name="T38" fmla="*/ 1713 w 172"/>
                <a:gd name="T39" fmla="*/ 7923552 h 192"/>
                <a:gd name="T40" fmla="*/ 4156 w 172"/>
                <a:gd name="T41" fmla="*/ 8926628 h 192"/>
                <a:gd name="T42" fmla="*/ 6020 w 172"/>
                <a:gd name="T43" fmla="*/ 9879345 h 192"/>
                <a:gd name="T44" fmla="*/ 6451 w 172"/>
                <a:gd name="T45" fmla="*/ 10130982 h 192"/>
                <a:gd name="T46" fmla="*/ 11587 w 172"/>
                <a:gd name="T47" fmla="*/ 10901769 h 192"/>
                <a:gd name="T48" fmla="*/ 16783 w 172"/>
                <a:gd name="T49" fmla="*/ 11613360 h 192"/>
                <a:gd name="T50" fmla="*/ 21795 w 172"/>
                <a:gd name="T51" fmla="*/ 11827611 h 192"/>
                <a:gd name="T52" fmla="*/ 23590 w 172"/>
                <a:gd name="T53" fmla="*/ 12086663 h 192"/>
                <a:gd name="T54" fmla="*/ 24834 w 172"/>
                <a:gd name="T55" fmla="*/ 13541240 h 192"/>
                <a:gd name="T56" fmla="*/ 26492 w 172"/>
                <a:gd name="T57" fmla="*/ 14563279 h 192"/>
                <a:gd name="T58" fmla="*/ 28822 w 172"/>
                <a:gd name="T59" fmla="*/ 14563279 h 192"/>
                <a:gd name="T60" fmla="*/ 31567 w 172"/>
                <a:gd name="T61" fmla="*/ 14543361 h 192"/>
                <a:gd name="T62" fmla="*/ 36801 w 172"/>
                <a:gd name="T63" fmla="*/ 14777352 h 192"/>
                <a:gd name="T64" fmla="*/ 40348 w 172"/>
                <a:gd name="T65" fmla="*/ 14396920 h 192"/>
                <a:gd name="T66" fmla="*/ 43097 w 172"/>
                <a:gd name="T67" fmla="*/ 14396920 h 192"/>
                <a:gd name="T68" fmla="*/ 48075 w 172"/>
                <a:gd name="T69" fmla="*/ 13717500 h 192"/>
                <a:gd name="T70" fmla="*/ 53532 w 172"/>
                <a:gd name="T71" fmla="*/ 13079929 h 192"/>
                <a:gd name="T72" fmla="*/ 50548 w 172"/>
                <a:gd name="T73" fmla="*/ 12314673 h 192"/>
                <a:gd name="T74" fmla="*/ 48936 w 172"/>
                <a:gd name="T75" fmla="*/ 10901769 h 192"/>
                <a:gd name="T76" fmla="*/ 48558 w 172"/>
                <a:gd name="T77" fmla="*/ 9877016 h 192"/>
                <a:gd name="T78" fmla="*/ 48075 w 172"/>
                <a:gd name="T79" fmla="*/ 9454840 h 192"/>
                <a:gd name="T80" fmla="*/ 48936 w 172"/>
                <a:gd name="T81" fmla="*/ 8152960 h 192"/>
                <a:gd name="T82" fmla="*/ 45722 w 172"/>
                <a:gd name="T83" fmla="*/ 6872590 h 192"/>
                <a:gd name="T84" fmla="*/ 48075 w 172"/>
                <a:gd name="T85" fmla="*/ 5136055 h 192"/>
                <a:gd name="T86" fmla="*/ 44481 w 172"/>
                <a:gd name="T87" fmla="*/ 4243247 h 192"/>
                <a:gd name="T88" fmla="*/ 41046 w 172"/>
                <a:gd name="T89" fmla="*/ 3205122 h 1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2"/>
                <a:gd name="T136" fmla="*/ 0 h 192"/>
                <a:gd name="T137" fmla="*/ 172 w 172"/>
                <a:gd name="T138" fmla="*/ 192 h 1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2" h="192">
                  <a:moveTo>
                    <a:pt x="131" y="42"/>
                  </a:moveTo>
                  <a:lnTo>
                    <a:pt x="130" y="36"/>
                  </a:lnTo>
                  <a:lnTo>
                    <a:pt x="115" y="28"/>
                  </a:lnTo>
                  <a:lnTo>
                    <a:pt x="101" y="19"/>
                  </a:lnTo>
                  <a:lnTo>
                    <a:pt x="86" y="10"/>
                  </a:lnTo>
                  <a:lnTo>
                    <a:pt x="72" y="0"/>
                  </a:lnTo>
                  <a:lnTo>
                    <a:pt x="57" y="1"/>
                  </a:lnTo>
                  <a:lnTo>
                    <a:pt x="44" y="1"/>
                  </a:lnTo>
                  <a:lnTo>
                    <a:pt x="31" y="1"/>
                  </a:lnTo>
                  <a:lnTo>
                    <a:pt x="16" y="1"/>
                  </a:lnTo>
                  <a:lnTo>
                    <a:pt x="22" y="23"/>
                  </a:lnTo>
                  <a:lnTo>
                    <a:pt x="18" y="26"/>
                  </a:lnTo>
                  <a:lnTo>
                    <a:pt x="18" y="35"/>
                  </a:lnTo>
                  <a:lnTo>
                    <a:pt x="22" y="41"/>
                  </a:lnTo>
                  <a:lnTo>
                    <a:pt x="12" y="51"/>
                  </a:lnTo>
                  <a:lnTo>
                    <a:pt x="3" y="62"/>
                  </a:lnTo>
                  <a:lnTo>
                    <a:pt x="0" y="62"/>
                  </a:lnTo>
                  <a:lnTo>
                    <a:pt x="0" y="75"/>
                  </a:lnTo>
                  <a:lnTo>
                    <a:pt x="0" y="89"/>
                  </a:lnTo>
                  <a:lnTo>
                    <a:pt x="6" y="103"/>
                  </a:lnTo>
                  <a:lnTo>
                    <a:pt x="13" y="116"/>
                  </a:lnTo>
                  <a:lnTo>
                    <a:pt x="19" y="129"/>
                  </a:lnTo>
                  <a:lnTo>
                    <a:pt x="21" y="132"/>
                  </a:lnTo>
                  <a:lnTo>
                    <a:pt x="37" y="142"/>
                  </a:lnTo>
                  <a:lnTo>
                    <a:pt x="54" y="151"/>
                  </a:lnTo>
                  <a:lnTo>
                    <a:pt x="70" y="154"/>
                  </a:lnTo>
                  <a:lnTo>
                    <a:pt x="76" y="157"/>
                  </a:lnTo>
                  <a:lnTo>
                    <a:pt x="80" y="176"/>
                  </a:lnTo>
                  <a:lnTo>
                    <a:pt x="85" y="190"/>
                  </a:lnTo>
                  <a:lnTo>
                    <a:pt x="92" y="190"/>
                  </a:lnTo>
                  <a:lnTo>
                    <a:pt x="101" y="189"/>
                  </a:lnTo>
                  <a:lnTo>
                    <a:pt x="118" y="192"/>
                  </a:lnTo>
                  <a:lnTo>
                    <a:pt x="130" y="187"/>
                  </a:lnTo>
                  <a:lnTo>
                    <a:pt x="138" y="187"/>
                  </a:lnTo>
                  <a:lnTo>
                    <a:pt x="154" y="179"/>
                  </a:lnTo>
                  <a:lnTo>
                    <a:pt x="172" y="170"/>
                  </a:lnTo>
                  <a:lnTo>
                    <a:pt x="162" y="160"/>
                  </a:lnTo>
                  <a:lnTo>
                    <a:pt x="157" y="142"/>
                  </a:lnTo>
                  <a:lnTo>
                    <a:pt x="156" y="128"/>
                  </a:lnTo>
                  <a:lnTo>
                    <a:pt x="154" y="123"/>
                  </a:lnTo>
                  <a:lnTo>
                    <a:pt x="157" y="106"/>
                  </a:lnTo>
                  <a:lnTo>
                    <a:pt x="147" y="90"/>
                  </a:lnTo>
                  <a:lnTo>
                    <a:pt x="154" y="67"/>
                  </a:lnTo>
                  <a:lnTo>
                    <a:pt x="143" y="55"/>
                  </a:lnTo>
                  <a:lnTo>
                    <a:pt x="131" y="4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4" name="Freeform 75">
              <a:extLst>
                <a:ext uri="{FF2B5EF4-FFF2-40B4-BE49-F238E27FC236}">
                  <a16:creationId xmlns:a16="http://schemas.microsoft.com/office/drawing/2014/main" id="{1A73AC9E-7367-7FE4-5AD3-20EE1877D672}"/>
                </a:ext>
              </a:extLst>
            </p:cNvPr>
            <p:cNvSpPr>
              <a:spLocks/>
            </p:cNvSpPr>
            <p:nvPr/>
          </p:nvSpPr>
          <p:spPr bwMode="auto">
            <a:xfrm>
              <a:off x="5489054" y="4196165"/>
              <a:ext cx="14392" cy="24297"/>
            </a:xfrm>
            <a:custGeom>
              <a:avLst/>
              <a:gdLst>
                <a:gd name="T0" fmla="*/ 16552 w 7"/>
                <a:gd name="T1" fmla="*/ 580607 h 12"/>
                <a:gd name="T2" fmla="*/ 8999 w 7"/>
                <a:gd name="T3" fmla="*/ 0 h 12"/>
                <a:gd name="T4" fmla="*/ 0 w 7"/>
                <a:gd name="T5" fmla="*/ 158205 h 12"/>
                <a:gd name="T6" fmla="*/ 16552 w 7"/>
                <a:gd name="T7" fmla="*/ 580607 h 12"/>
                <a:gd name="T8" fmla="*/ 0 60000 65536"/>
                <a:gd name="T9" fmla="*/ 0 60000 65536"/>
                <a:gd name="T10" fmla="*/ 0 60000 65536"/>
                <a:gd name="T11" fmla="*/ 0 60000 65536"/>
                <a:gd name="T12" fmla="*/ 0 w 7"/>
                <a:gd name="T13" fmla="*/ 0 h 12"/>
                <a:gd name="T14" fmla="*/ 7 w 7"/>
                <a:gd name="T15" fmla="*/ 12 h 12"/>
              </a:gdLst>
              <a:ahLst/>
              <a:cxnLst>
                <a:cxn ang="T8">
                  <a:pos x="T0" y="T1"/>
                </a:cxn>
                <a:cxn ang="T9">
                  <a:pos x="T2" y="T3"/>
                </a:cxn>
                <a:cxn ang="T10">
                  <a:pos x="T4" y="T5"/>
                </a:cxn>
                <a:cxn ang="T11">
                  <a:pos x="T6" y="T7"/>
                </a:cxn>
              </a:cxnLst>
              <a:rect l="T12" t="T13" r="T14" b="T15"/>
              <a:pathLst>
                <a:path w="7" h="12">
                  <a:moveTo>
                    <a:pt x="7" y="12"/>
                  </a:moveTo>
                  <a:lnTo>
                    <a:pt x="4" y="0"/>
                  </a:lnTo>
                  <a:lnTo>
                    <a:pt x="0" y="3"/>
                  </a:lnTo>
                  <a:lnTo>
                    <a:pt x="7" y="1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5" name="Freeform 76">
              <a:extLst>
                <a:ext uri="{FF2B5EF4-FFF2-40B4-BE49-F238E27FC236}">
                  <a16:creationId xmlns:a16="http://schemas.microsoft.com/office/drawing/2014/main" id="{6ECEB220-949F-4B04-0B67-BC88E47A339E}"/>
                </a:ext>
              </a:extLst>
            </p:cNvPr>
            <p:cNvSpPr>
              <a:spLocks/>
            </p:cNvSpPr>
            <p:nvPr/>
          </p:nvSpPr>
          <p:spPr bwMode="auto">
            <a:xfrm>
              <a:off x="5201206" y="3834734"/>
              <a:ext cx="164713" cy="198939"/>
            </a:xfrm>
            <a:custGeom>
              <a:avLst/>
              <a:gdLst>
                <a:gd name="T0" fmla="*/ 20392 w 86"/>
                <a:gd name="T1" fmla="*/ 735808 h 100"/>
                <a:gd name="T2" fmla="*/ 18692 w 86"/>
                <a:gd name="T3" fmla="*/ 0 h 100"/>
                <a:gd name="T4" fmla="*/ 16377 w 86"/>
                <a:gd name="T5" fmla="*/ 484291 h 100"/>
                <a:gd name="T6" fmla="*/ 11805 w 86"/>
                <a:gd name="T7" fmla="*/ 484291 h 100"/>
                <a:gd name="T8" fmla="*/ 9857 w 86"/>
                <a:gd name="T9" fmla="*/ 623548 h 100"/>
                <a:gd name="T10" fmla="*/ 8674 w 86"/>
                <a:gd name="T11" fmla="*/ 484291 h 100"/>
                <a:gd name="T12" fmla="*/ 5629 w 86"/>
                <a:gd name="T13" fmla="*/ 518175 h 100"/>
                <a:gd name="T14" fmla="*/ 5423 w 86"/>
                <a:gd name="T15" fmla="*/ 687693 h 100"/>
                <a:gd name="T16" fmla="*/ 4791 w 86"/>
                <a:gd name="T17" fmla="*/ 1499621 h 100"/>
                <a:gd name="T18" fmla="*/ 6872 w 86"/>
                <a:gd name="T19" fmla="*/ 1878616 h 100"/>
                <a:gd name="T20" fmla="*/ 4528 w 86"/>
                <a:gd name="T21" fmla="*/ 2535264 h 100"/>
                <a:gd name="T22" fmla="*/ 1538 w 86"/>
                <a:gd name="T23" fmla="*/ 3151060 h 100"/>
                <a:gd name="T24" fmla="*/ 895 w 86"/>
                <a:gd name="T25" fmla="*/ 4228919 h 100"/>
                <a:gd name="T26" fmla="*/ 0 w 86"/>
                <a:gd name="T27" fmla="*/ 5270523 h 100"/>
                <a:gd name="T28" fmla="*/ 1284 w 86"/>
                <a:gd name="T29" fmla="*/ 5270523 h 100"/>
                <a:gd name="T30" fmla="*/ 3781 w 86"/>
                <a:gd name="T31" fmla="*/ 4929235 h 100"/>
                <a:gd name="T32" fmla="*/ 7779 w 86"/>
                <a:gd name="T33" fmla="*/ 4929235 h 100"/>
                <a:gd name="T34" fmla="*/ 11159 w 86"/>
                <a:gd name="T35" fmla="*/ 4929235 h 100"/>
                <a:gd name="T36" fmla="*/ 14450 w 86"/>
                <a:gd name="T37" fmla="*/ 4929235 h 100"/>
                <a:gd name="T38" fmla="*/ 18692 w 86"/>
                <a:gd name="T39" fmla="*/ 4892366 h 100"/>
                <a:gd name="T40" fmla="*/ 18692 w 86"/>
                <a:gd name="T41" fmla="*/ 3891732 h 100"/>
                <a:gd name="T42" fmla="*/ 21377 w 86"/>
                <a:gd name="T43" fmla="*/ 2901229 h 100"/>
                <a:gd name="T44" fmla="*/ 23011 w 86"/>
                <a:gd name="T45" fmla="*/ 2219057 h 100"/>
                <a:gd name="T46" fmla="*/ 21495 w 86"/>
                <a:gd name="T47" fmla="*/ 1483683 h 100"/>
                <a:gd name="T48" fmla="*/ 20392 w 86"/>
                <a:gd name="T49" fmla="*/ 735808 h 1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6"/>
                <a:gd name="T76" fmla="*/ 0 h 100"/>
                <a:gd name="T77" fmla="*/ 86 w 86"/>
                <a:gd name="T78" fmla="*/ 100 h 1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6" h="100">
                  <a:moveTo>
                    <a:pt x="76" y="14"/>
                  </a:moveTo>
                  <a:lnTo>
                    <a:pt x="69" y="0"/>
                  </a:lnTo>
                  <a:lnTo>
                    <a:pt x="61" y="9"/>
                  </a:lnTo>
                  <a:lnTo>
                    <a:pt x="44" y="9"/>
                  </a:lnTo>
                  <a:lnTo>
                    <a:pt x="37" y="12"/>
                  </a:lnTo>
                  <a:lnTo>
                    <a:pt x="32" y="9"/>
                  </a:lnTo>
                  <a:lnTo>
                    <a:pt x="21" y="10"/>
                  </a:lnTo>
                  <a:lnTo>
                    <a:pt x="19" y="13"/>
                  </a:lnTo>
                  <a:lnTo>
                    <a:pt x="18" y="29"/>
                  </a:lnTo>
                  <a:lnTo>
                    <a:pt x="26" y="36"/>
                  </a:lnTo>
                  <a:lnTo>
                    <a:pt x="16" y="48"/>
                  </a:lnTo>
                  <a:lnTo>
                    <a:pt x="6" y="60"/>
                  </a:lnTo>
                  <a:lnTo>
                    <a:pt x="3" y="80"/>
                  </a:lnTo>
                  <a:lnTo>
                    <a:pt x="0" y="100"/>
                  </a:lnTo>
                  <a:lnTo>
                    <a:pt x="5" y="100"/>
                  </a:lnTo>
                  <a:lnTo>
                    <a:pt x="13" y="94"/>
                  </a:lnTo>
                  <a:lnTo>
                    <a:pt x="28" y="94"/>
                  </a:lnTo>
                  <a:lnTo>
                    <a:pt x="41" y="94"/>
                  </a:lnTo>
                  <a:lnTo>
                    <a:pt x="54" y="94"/>
                  </a:lnTo>
                  <a:lnTo>
                    <a:pt x="69" y="93"/>
                  </a:lnTo>
                  <a:lnTo>
                    <a:pt x="69" y="74"/>
                  </a:lnTo>
                  <a:lnTo>
                    <a:pt x="79" y="55"/>
                  </a:lnTo>
                  <a:lnTo>
                    <a:pt x="86" y="42"/>
                  </a:lnTo>
                  <a:lnTo>
                    <a:pt x="80" y="28"/>
                  </a:lnTo>
                  <a:lnTo>
                    <a:pt x="76" y="1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6" name="Freeform 77">
              <a:extLst>
                <a:ext uri="{FF2B5EF4-FFF2-40B4-BE49-F238E27FC236}">
                  <a16:creationId xmlns:a16="http://schemas.microsoft.com/office/drawing/2014/main" id="{75FF00EC-D76E-4170-7821-0C63C296BC82}"/>
                </a:ext>
              </a:extLst>
            </p:cNvPr>
            <p:cNvSpPr>
              <a:spLocks/>
            </p:cNvSpPr>
            <p:nvPr/>
          </p:nvSpPr>
          <p:spPr bwMode="auto">
            <a:xfrm>
              <a:off x="4671883" y="3795250"/>
              <a:ext cx="578896" cy="675785"/>
            </a:xfrm>
            <a:custGeom>
              <a:avLst/>
              <a:gdLst>
                <a:gd name="T0" fmla="*/ 73963 w 302"/>
                <a:gd name="T1" fmla="*/ 9500472 h 336"/>
                <a:gd name="T2" fmla="*/ 73226 w 302"/>
                <a:gd name="T3" fmla="*/ 10249327 h 336"/>
                <a:gd name="T4" fmla="*/ 73750 w 302"/>
                <a:gd name="T5" fmla="*/ 10434920 h 336"/>
                <a:gd name="T6" fmla="*/ 75080 w 302"/>
                <a:gd name="T7" fmla="*/ 12584470 h 336"/>
                <a:gd name="T8" fmla="*/ 75117 w 302"/>
                <a:gd name="T9" fmla="*/ 13443486 h 336"/>
                <a:gd name="T10" fmla="*/ 76492 w 302"/>
                <a:gd name="T11" fmla="*/ 15479947 h 336"/>
                <a:gd name="T12" fmla="*/ 80363 w 302"/>
                <a:gd name="T13" fmla="*/ 17387863 h 336"/>
                <a:gd name="T14" fmla="*/ 72408 w 302"/>
                <a:gd name="T15" fmla="*/ 17913357 h 336"/>
                <a:gd name="T16" fmla="*/ 71310 w 302"/>
                <a:gd name="T17" fmla="*/ 19905118 h 336"/>
                <a:gd name="T18" fmla="*/ 70558 w 302"/>
                <a:gd name="T19" fmla="*/ 22206346 h 336"/>
                <a:gd name="T20" fmla="*/ 76067 w 302"/>
                <a:gd name="T21" fmla="*/ 22526773 h 336"/>
                <a:gd name="T22" fmla="*/ 73963 w 302"/>
                <a:gd name="T23" fmla="*/ 24065270 h 336"/>
                <a:gd name="T24" fmla="*/ 68322 w 302"/>
                <a:gd name="T25" fmla="*/ 22884302 h 336"/>
                <a:gd name="T26" fmla="*/ 63814 w 302"/>
                <a:gd name="T27" fmla="*/ 21751097 h 336"/>
                <a:gd name="T28" fmla="*/ 56520 w 302"/>
                <a:gd name="T29" fmla="*/ 21751097 h 336"/>
                <a:gd name="T30" fmla="*/ 52423 w 302"/>
                <a:gd name="T31" fmla="*/ 21473580 h 336"/>
                <a:gd name="T32" fmla="*/ 47520 w 302"/>
                <a:gd name="T33" fmla="*/ 21060368 h 336"/>
                <a:gd name="T34" fmla="*/ 43734 w 302"/>
                <a:gd name="T35" fmla="*/ 20735638 h 336"/>
                <a:gd name="T36" fmla="*/ 42042 w 302"/>
                <a:gd name="T37" fmla="*/ 17913357 h 336"/>
                <a:gd name="T38" fmla="*/ 36009 w 302"/>
                <a:gd name="T39" fmla="*/ 16222307 h 336"/>
                <a:gd name="T40" fmla="*/ 32074 w 302"/>
                <a:gd name="T41" fmla="*/ 15784146 h 336"/>
                <a:gd name="T42" fmla="*/ 25393 w 302"/>
                <a:gd name="T43" fmla="*/ 17267041 h 336"/>
                <a:gd name="T44" fmla="*/ 20908 w 302"/>
                <a:gd name="T45" fmla="*/ 15784146 h 336"/>
                <a:gd name="T46" fmla="*/ 15247 w 302"/>
                <a:gd name="T47" fmla="*/ 14577735 h 336"/>
                <a:gd name="T48" fmla="*/ 7897 w 302"/>
                <a:gd name="T49" fmla="*/ 14454721 h 336"/>
                <a:gd name="T50" fmla="*/ 898 w 302"/>
                <a:gd name="T51" fmla="*/ 14577735 h 336"/>
                <a:gd name="T52" fmla="*/ 1290 w 302"/>
                <a:gd name="T53" fmla="*/ 14266707 h 336"/>
                <a:gd name="T54" fmla="*/ 3813 w 302"/>
                <a:gd name="T55" fmla="*/ 12751093 h 336"/>
                <a:gd name="T56" fmla="*/ 7119 w 302"/>
                <a:gd name="T57" fmla="*/ 12584470 h 336"/>
                <a:gd name="T58" fmla="*/ 10612 w 302"/>
                <a:gd name="T59" fmla="*/ 13113695 h 336"/>
                <a:gd name="T60" fmla="*/ 16799 w 302"/>
                <a:gd name="T61" fmla="*/ 11427576 h 336"/>
                <a:gd name="T62" fmla="*/ 18276 w 302"/>
                <a:gd name="T63" fmla="*/ 9447578 h 336"/>
                <a:gd name="T64" fmla="*/ 24411 w 302"/>
                <a:gd name="T65" fmla="*/ 7325918 h 336"/>
                <a:gd name="T66" fmla="*/ 25393 w 302"/>
                <a:gd name="T67" fmla="*/ 5328053 h 336"/>
                <a:gd name="T68" fmla="*/ 26777 w 302"/>
                <a:gd name="T69" fmla="*/ 3471941 h 336"/>
                <a:gd name="T70" fmla="*/ 27592 w 302"/>
                <a:gd name="T71" fmla="*/ 1367638 h 336"/>
                <a:gd name="T72" fmla="*/ 36009 w 302"/>
                <a:gd name="T73" fmla="*/ 823893 h 336"/>
                <a:gd name="T74" fmla="*/ 44166 w 302"/>
                <a:gd name="T75" fmla="*/ 1451342 h 336"/>
                <a:gd name="T76" fmla="*/ 48213 w 302"/>
                <a:gd name="T77" fmla="*/ 705268 h 336"/>
                <a:gd name="T78" fmla="*/ 55601 w 302"/>
                <a:gd name="T79" fmla="*/ 322954 h 336"/>
                <a:gd name="T80" fmla="*/ 61039 w 302"/>
                <a:gd name="T81" fmla="*/ 156937 h 336"/>
                <a:gd name="T82" fmla="*/ 66264 w 302"/>
                <a:gd name="T83" fmla="*/ 322954 h 336"/>
                <a:gd name="T84" fmla="*/ 70562 w 302"/>
                <a:gd name="T85" fmla="*/ 1141222 h 336"/>
                <a:gd name="T86" fmla="*/ 75117 w 302"/>
                <a:gd name="T87" fmla="*/ 705268 h 336"/>
                <a:gd name="T88" fmla="*/ 81209 w 302"/>
                <a:gd name="T89" fmla="*/ 2320123 h 336"/>
                <a:gd name="T90" fmla="*/ 83037 w 302"/>
                <a:gd name="T91" fmla="*/ 3958330 h 336"/>
                <a:gd name="T92" fmla="*/ 77402 w 302"/>
                <a:gd name="T93" fmla="*/ 5678318 h 336"/>
                <a:gd name="T94" fmla="*/ 76067 w 302"/>
                <a:gd name="T95" fmla="*/ 8584265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02"/>
                <a:gd name="T145" fmla="*/ 0 h 336"/>
                <a:gd name="T146" fmla="*/ 302 w 302"/>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02" h="336">
                  <a:moveTo>
                    <a:pt x="276" y="119"/>
                  </a:moveTo>
                  <a:lnTo>
                    <a:pt x="269" y="132"/>
                  </a:lnTo>
                  <a:lnTo>
                    <a:pt x="265" y="142"/>
                  </a:lnTo>
                  <a:lnTo>
                    <a:pt x="266" y="142"/>
                  </a:lnTo>
                  <a:lnTo>
                    <a:pt x="266" y="144"/>
                  </a:lnTo>
                  <a:lnTo>
                    <a:pt x="268" y="145"/>
                  </a:lnTo>
                  <a:lnTo>
                    <a:pt x="270" y="160"/>
                  </a:lnTo>
                  <a:lnTo>
                    <a:pt x="272" y="174"/>
                  </a:lnTo>
                  <a:lnTo>
                    <a:pt x="273" y="174"/>
                  </a:lnTo>
                  <a:lnTo>
                    <a:pt x="273" y="187"/>
                  </a:lnTo>
                  <a:lnTo>
                    <a:pt x="273" y="201"/>
                  </a:lnTo>
                  <a:lnTo>
                    <a:pt x="279" y="215"/>
                  </a:lnTo>
                  <a:lnTo>
                    <a:pt x="286" y="228"/>
                  </a:lnTo>
                  <a:lnTo>
                    <a:pt x="292" y="241"/>
                  </a:lnTo>
                  <a:lnTo>
                    <a:pt x="278" y="244"/>
                  </a:lnTo>
                  <a:lnTo>
                    <a:pt x="263" y="248"/>
                  </a:lnTo>
                  <a:lnTo>
                    <a:pt x="254" y="262"/>
                  </a:lnTo>
                  <a:lnTo>
                    <a:pt x="259" y="276"/>
                  </a:lnTo>
                  <a:lnTo>
                    <a:pt x="257" y="292"/>
                  </a:lnTo>
                  <a:lnTo>
                    <a:pt x="256" y="308"/>
                  </a:lnTo>
                  <a:lnTo>
                    <a:pt x="270" y="318"/>
                  </a:lnTo>
                  <a:lnTo>
                    <a:pt x="276" y="312"/>
                  </a:lnTo>
                  <a:lnTo>
                    <a:pt x="272" y="336"/>
                  </a:lnTo>
                  <a:lnTo>
                    <a:pt x="269" y="334"/>
                  </a:lnTo>
                  <a:lnTo>
                    <a:pt x="262" y="334"/>
                  </a:lnTo>
                  <a:lnTo>
                    <a:pt x="249" y="317"/>
                  </a:lnTo>
                  <a:lnTo>
                    <a:pt x="240" y="310"/>
                  </a:lnTo>
                  <a:lnTo>
                    <a:pt x="233" y="302"/>
                  </a:lnTo>
                  <a:lnTo>
                    <a:pt x="227" y="310"/>
                  </a:lnTo>
                  <a:lnTo>
                    <a:pt x="205" y="302"/>
                  </a:lnTo>
                  <a:lnTo>
                    <a:pt x="204" y="296"/>
                  </a:lnTo>
                  <a:lnTo>
                    <a:pt x="191" y="298"/>
                  </a:lnTo>
                  <a:lnTo>
                    <a:pt x="185" y="289"/>
                  </a:lnTo>
                  <a:lnTo>
                    <a:pt x="172" y="292"/>
                  </a:lnTo>
                  <a:lnTo>
                    <a:pt x="159" y="295"/>
                  </a:lnTo>
                  <a:lnTo>
                    <a:pt x="159" y="288"/>
                  </a:lnTo>
                  <a:lnTo>
                    <a:pt x="153" y="269"/>
                  </a:lnTo>
                  <a:lnTo>
                    <a:pt x="153" y="248"/>
                  </a:lnTo>
                  <a:lnTo>
                    <a:pt x="153" y="228"/>
                  </a:lnTo>
                  <a:lnTo>
                    <a:pt x="131" y="225"/>
                  </a:lnTo>
                  <a:lnTo>
                    <a:pt x="132" y="221"/>
                  </a:lnTo>
                  <a:lnTo>
                    <a:pt x="116" y="219"/>
                  </a:lnTo>
                  <a:lnTo>
                    <a:pt x="112" y="235"/>
                  </a:lnTo>
                  <a:lnTo>
                    <a:pt x="93" y="240"/>
                  </a:lnTo>
                  <a:lnTo>
                    <a:pt x="82" y="235"/>
                  </a:lnTo>
                  <a:lnTo>
                    <a:pt x="76" y="219"/>
                  </a:lnTo>
                  <a:lnTo>
                    <a:pt x="70" y="202"/>
                  </a:lnTo>
                  <a:lnTo>
                    <a:pt x="55" y="202"/>
                  </a:lnTo>
                  <a:lnTo>
                    <a:pt x="42" y="201"/>
                  </a:lnTo>
                  <a:lnTo>
                    <a:pt x="29" y="201"/>
                  </a:lnTo>
                  <a:lnTo>
                    <a:pt x="15" y="199"/>
                  </a:lnTo>
                  <a:lnTo>
                    <a:pt x="3" y="202"/>
                  </a:lnTo>
                  <a:lnTo>
                    <a:pt x="0" y="198"/>
                  </a:lnTo>
                  <a:lnTo>
                    <a:pt x="5" y="198"/>
                  </a:lnTo>
                  <a:lnTo>
                    <a:pt x="6" y="183"/>
                  </a:lnTo>
                  <a:lnTo>
                    <a:pt x="13" y="177"/>
                  </a:lnTo>
                  <a:lnTo>
                    <a:pt x="22" y="180"/>
                  </a:lnTo>
                  <a:lnTo>
                    <a:pt x="26" y="174"/>
                  </a:lnTo>
                  <a:lnTo>
                    <a:pt x="37" y="174"/>
                  </a:lnTo>
                  <a:lnTo>
                    <a:pt x="38" y="182"/>
                  </a:lnTo>
                  <a:lnTo>
                    <a:pt x="50" y="170"/>
                  </a:lnTo>
                  <a:lnTo>
                    <a:pt x="61" y="158"/>
                  </a:lnTo>
                  <a:lnTo>
                    <a:pt x="64" y="144"/>
                  </a:lnTo>
                  <a:lnTo>
                    <a:pt x="66" y="131"/>
                  </a:lnTo>
                  <a:lnTo>
                    <a:pt x="77" y="116"/>
                  </a:lnTo>
                  <a:lnTo>
                    <a:pt x="89" y="102"/>
                  </a:lnTo>
                  <a:lnTo>
                    <a:pt x="90" y="87"/>
                  </a:lnTo>
                  <a:lnTo>
                    <a:pt x="93" y="74"/>
                  </a:lnTo>
                  <a:lnTo>
                    <a:pt x="95" y="61"/>
                  </a:lnTo>
                  <a:lnTo>
                    <a:pt x="98" y="48"/>
                  </a:lnTo>
                  <a:lnTo>
                    <a:pt x="102" y="32"/>
                  </a:lnTo>
                  <a:lnTo>
                    <a:pt x="100" y="19"/>
                  </a:lnTo>
                  <a:lnTo>
                    <a:pt x="114" y="3"/>
                  </a:lnTo>
                  <a:lnTo>
                    <a:pt x="131" y="12"/>
                  </a:lnTo>
                  <a:lnTo>
                    <a:pt x="146" y="16"/>
                  </a:lnTo>
                  <a:lnTo>
                    <a:pt x="160" y="20"/>
                  </a:lnTo>
                  <a:lnTo>
                    <a:pt x="167" y="10"/>
                  </a:lnTo>
                  <a:lnTo>
                    <a:pt x="175" y="10"/>
                  </a:lnTo>
                  <a:lnTo>
                    <a:pt x="191" y="4"/>
                  </a:lnTo>
                  <a:lnTo>
                    <a:pt x="202" y="4"/>
                  </a:lnTo>
                  <a:lnTo>
                    <a:pt x="208" y="0"/>
                  </a:lnTo>
                  <a:lnTo>
                    <a:pt x="221" y="2"/>
                  </a:lnTo>
                  <a:lnTo>
                    <a:pt x="233" y="3"/>
                  </a:lnTo>
                  <a:lnTo>
                    <a:pt x="241" y="4"/>
                  </a:lnTo>
                  <a:lnTo>
                    <a:pt x="246" y="9"/>
                  </a:lnTo>
                  <a:lnTo>
                    <a:pt x="257" y="16"/>
                  </a:lnTo>
                  <a:lnTo>
                    <a:pt x="268" y="15"/>
                  </a:lnTo>
                  <a:lnTo>
                    <a:pt x="273" y="10"/>
                  </a:lnTo>
                  <a:lnTo>
                    <a:pt x="285" y="22"/>
                  </a:lnTo>
                  <a:lnTo>
                    <a:pt x="295" y="32"/>
                  </a:lnTo>
                  <a:lnTo>
                    <a:pt x="294" y="48"/>
                  </a:lnTo>
                  <a:lnTo>
                    <a:pt x="302" y="55"/>
                  </a:lnTo>
                  <a:lnTo>
                    <a:pt x="292" y="67"/>
                  </a:lnTo>
                  <a:lnTo>
                    <a:pt x="282" y="79"/>
                  </a:lnTo>
                  <a:lnTo>
                    <a:pt x="279" y="99"/>
                  </a:lnTo>
                  <a:lnTo>
                    <a:pt x="276" y="11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7" name="Freeform 78">
              <a:extLst>
                <a:ext uri="{FF2B5EF4-FFF2-40B4-BE49-F238E27FC236}">
                  <a16:creationId xmlns:a16="http://schemas.microsoft.com/office/drawing/2014/main" id="{EF6A0C07-E1C3-B29B-5605-FAAD5431F0B7}"/>
                </a:ext>
              </a:extLst>
            </p:cNvPr>
            <p:cNvSpPr>
              <a:spLocks/>
            </p:cNvSpPr>
            <p:nvPr/>
          </p:nvSpPr>
          <p:spPr bwMode="auto">
            <a:xfrm>
              <a:off x="4961331" y="4279690"/>
              <a:ext cx="356612" cy="356875"/>
            </a:xfrm>
            <a:custGeom>
              <a:avLst/>
              <a:gdLst>
                <a:gd name="T0" fmla="*/ 9470 w 186"/>
                <a:gd name="T1" fmla="*/ 6252580 h 177"/>
                <a:gd name="T2" fmla="*/ 4958 w 186"/>
                <a:gd name="T3" fmla="*/ 6252580 h 177"/>
                <a:gd name="T4" fmla="*/ 2 w 186"/>
                <a:gd name="T5" fmla="*/ 6352021 h 177"/>
                <a:gd name="T6" fmla="*/ 2 w 186"/>
                <a:gd name="T7" fmla="*/ 7324304 h 177"/>
                <a:gd name="T8" fmla="*/ 2 w 186"/>
                <a:gd name="T9" fmla="*/ 8386724 h 177"/>
                <a:gd name="T10" fmla="*/ 0 w 186"/>
                <a:gd name="T11" fmla="*/ 9492706 h 177"/>
                <a:gd name="T12" fmla="*/ 0 w 186"/>
                <a:gd name="T13" fmla="*/ 10510582 h 177"/>
                <a:gd name="T14" fmla="*/ 3206 w 186"/>
                <a:gd name="T15" fmla="*/ 11451961 h 177"/>
                <a:gd name="T16" fmla="*/ 6625 w 186"/>
                <a:gd name="T17" fmla="*/ 12370416 h 177"/>
                <a:gd name="T18" fmla="*/ 9470 w 186"/>
                <a:gd name="T19" fmla="*/ 12179281 h 177"/>
                <a:gd name="T20" fmla="*/ 14137 w 186"/>
                <a:gd name="T21" fmla="*/ 12605887 h 177"/>
                <a:gd name="T22" fmla="*/ 20321 w 186"/>
                <a:gd name="T23" fmla="*/ 12875970 h 177"/>
                <a:gd name="T24" fmla="*/ 24205 w 186"/>
                <a:gd name="T25" fmla="*/ 11947791 h 177"/>
                <a:gd name="T26" fmla="*/ 29082 w 186"/>
                <a:gd name="T27" fmla="*/ 10993538 h 177"/>
                <a:gd name="T28" fmla="*/ 30159 w 186"/>
                <a:gd name="T29" fmla="*/ 10191891 h 177"/>
                <a:gd name="T30" fmla="*/ 33695 w 186"/>
                <a:gd name="T31" fmla="*/ 10025118 h 177"/>
                <a:gd name="T32" fmla="*/ 36917 w 186"/>
                <a:gd name="T33" fmla="*/ 9763983 h 177"/>
                <a:gd name="T34" fmla="*/ 36128 w 186"/>
                <a:gd name="T35" fmla="*/ 9020450 h 177"/>
                <a:gd name="T36" fmla="*/ 39012 w 186"/>
                <a:gd name="T37" fmla="*/ 8676054 h 177"/>
                <a:gd name="T38" fmla="*/ 42712 w 186"/>
                <a:gd name="T39" fmla="*/ 8386724 h 177"/>
                <a:gd name="T40" fmla="*/ 46075 w 186"/>
                <a:gd name="T41" fmla="*/ 7927148 h 177"/>
                <a:gd name="T42" fmla="*/ 49225 w 186"/>
                <a:gd name="T43" fmla="*/ 7660853 h 177"/>
                <a:gd name="T44" fmla="*/ 47258 w 186"/>
                <a:gd name="T45" fmla="*/ 7154047 h 177"/>
                <a:gd name="T46" fmla="*/ 49634 w 186"/>
                <a:gd name="T47" fmla="*/ 5844293 h 177"/>
                <a:gd name="T48" fmla="*/ 50012 w 186"/>
                <a:gd name="T49" fmla="*/ 5524037 h 177"/>
                <a:gd name="T50" fmla="*/ 50337 w 186"/>
                <a:gd name="T51" fmla="*/ 4464789 h 177"/>
                <a:gd name="T52" fmla="*/ 50337 w 186"/>
                <a:gd name="T53" fmla="*/ 3401244 h 177"/>
                <a:gd name="T54" fmla="*/ 51509 w 186"/>
                <a:gd name="T55" fmla="*/ 3007941 h 177"/>
                <a:gd name="T56" fmla="*/ 49225 w 186"/>
                <a:gd name="T57" fmla="*/ 1869285 h 177"/>
                <a:gd name="T58" fmla="*/ 48741 w 186"/>
                <a:gd name="T59" fmla="*/ 1630220 h 177"/>
                <a:gd name="T60" fmla="*/ 44261 w 186"/>
                <a:gd name="T61" fmla="*/ 960351 h 177"/>
                <a:gd name="T62" fmla="*/ 39505 w 186"/>
                <a:gd name="T63" fmla="*/ 226458 h 177"/>
                <a:gd name="T64" fmla="*/ 39012 w 186"/>
                <a:gd name="T65" fmla="*/ 0 h 177"/>
                <a:gd name="T66" fmla="*/ 35019 w 186"/>
                <a:gd name="T67" fmla="*/ 226458 h 177"/>
                <a:gd name="T68" fmla="*/ 30962 w 186"/>
                <a:gd name="T69" fmla="*/ 498926 h 177"/>
                <a:gd name="T70" fmla="*/ 28283 w 186"/>
                <a:gd name="T71" fmla="*/ 1537604 h 177"/>
                <a:gd name="T72" fmla="*/ 29889 w 186"/>
                <a:gd name="T73" fmla="*/ 2537336 h 177"/>
                <a:gd name="T74" fmla="*/ 29209 w 186"/>
                <a:gd name="T75" fmla="*/ 3720116 h 177"/>
                <a:gd name="T76" fmla="*/ 29082 w 186"/>
                <a:gd name="T77" fmla="*/ 4880881 h 177"/>
                <a:gd name="T78" fmla="*/ 32950 w 186"/>
                <a:gd name="T79" fmla="*/ 5606546 h 177"/>
                <a:gd name="T80" fmla="*/ 34793 w 186"/>
                <a:gd name="T81" fmla="*/ 5176511 h 177"/>
                <a:gd name="T82" fmla="*/ 33695 w 186"/>
                <a:gd name="T83" fmla="*/ 6913341 h 177"/>
                <a:gd name="T84" fmla="*/ 32539 w 186"/>
                <a:gd name="T85" fmla="*/ 6753508 h 177"/>
                <a:gd name="T86" fmla="*/ 30792 w 186"/>
                <a:gd name="T87" fmla="*/ 6753508 h 177"/>
                <a:gd name="T88" fmla="*/ 26960 w 186"/>
                <a:gd name="T89" fmla="*/ 5524037 h 177"/>
                <a:gd name="T90" fmla="*/ 24524 w 186"/>
                <a:gd name="T91" fmla="*/ 5031037 h 177"/>
                <a:gd name="T92" fmla="*/ 22487 w 186"/>
                <a:gd name="T93" fmla="*/ 4464789 h 177"/>
                <a:gd name="T94" fmla="*/ 20981 w 186"/>
                <a:gd name="T95" fmla="*/ 5031037 h 177"/>
                <a:gd name="T96" fmla="*/ 15152 w 186"/>
                <a:gd name="T97" fmla="*/ 4464789 h 177"/>
                <a:gd name="T98" fmla="*/ 14725 w 186"/>
                <a:gd name="T99" fmla="*/ 3987766 h 177"/>
                <a:gd name="T100" fmla="*/ 11345 w 186"/>
                <a:gd name="T101" fmla="*/ 4181213 h 177"/>
                <a:gd name="T102" fmla="*/ 9470 w 186"/>
                <a:gd name="T103" fmla="*/ 3505880 h 177"/>
                <a:gd name="T104" fmla="*/ 9470 w 186"/>
                <a:gd name="T105" fmla="*/ 4880881 h 177"/>
                <a:gd name="T106" fmla="*/ 9470 w 186"/>
                <a:gd name="T107" fmla="*/ 6252580 h 17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6"/>
                <a:gd name="T163" fmla="*/ 0 h 177"/>
                <a:gd name="T164" fmla="*/ 186 w 186"/>
                <a:gd name="T165" fmla="*/ 177 h 17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6" h="177">
                  <a:moveTo>
                    <a:pt x="34" y="86"/>
                  </a:moveTo>
                  <a:lnTo>
                    <a:pt x="18" y="86"/>
                  </a:lnTo>
                  <a:lnTo>
                    <a:pt x="2" y="87"/>
                  </a:lnTo>
                  <a:lnTo>
                    <a:pt x="2" y="100"/>
                  </a:lnTo>
                  <a:lnTo>
                    <a:pt x="2" y="115"/>
                  </a:lnTo>
                  <a:lnTo>
                    <a:pt x="0" y="130"/>
                  </a:lnTo>
                  <a:lnTo>
                    <a:pt x="0" y="144"/>
                  </a:lnTo>
                  <a:lnTo>
                    <a:pt x="12" y="157"/>
                  </a:lnTo>
                  <a:lnTo>
                    <a:pt x="24" y="170"/>
                  </a:lnTo>
                  <a:lnTo>
                    <a:pt x="34" y="167"/>
                  </a:lnTo>
                  <a:lnTo>
                    <a:pt x="51" y="173"/>
                  </a:lnTo>
                  <a:lnTo>
                    <a:pt x="73" y="177"/>
                  </a:lnTo>
                  <a:lnTo>
                    <a:pt x="87" y="164"/>
                  </a:lnTo>
                  <a:lnTo>
                    <a:pt x="105" y="151"/>
                  </a:lnTo>
                  <a:lnTo>
                    <a:pt x="109" y="140"/>
                  </a:lnTo>
                  <a:lnTo>
                    <a:pt x="121" y="137"/>
                  </a:lnTo>
                  <a:lnTo>
                    <a:pt x="133" y="134"/>
                  </a:lnTo>
                  <a:lnTo>
                    <a:pt x="130" y="124"/>
                  </a:lnTo>
                  <a:lnTo>
                    <a:pt x="141" y="119"/>
                  </a:lnTo>
                  <a:lnTo>
                    <a:pt x="154" y="115"/>
                  </a:lnTo>
                  <a:lnTo>
                    <a:pt x="166" y="109"/>
                  </a:lnTo>
                  <a:lnTo>
                    <a:pt x="178" y="105"/>
                  </a:lnTo>
                  <a:lnTo>
                    <a:pt x="170" y="98"/>
                  </a:lnTo>
                  <a:lnTo>
                    <a:pt x="179" y="80"/>
                  </a:lnTo>
                  <a:lnTo>
                    <a:pt x="180" y="76"/>
                  </a:lnTo>
                  <a:lnTo>
                    <a:pt x="182" y="61"/>
                  </a:lnTo>
                  <a:lnTo>
                    <a:pt x="182" y="47"/>
                  </a:lnTo>
                  <a:lnTo>
                    <a:pt x="186" y="41"/>
                  </a:lnTo>
                  <a:lnTo>
                    <a:pt x="178" y="26"/>
                  </a:lnTo>
                  <a:lnTo>
                    <a:pt x="176" y="22"/>
                  </a:lnTo>
                  <a:lnTo>
                    <a:pt x="159" y="13"/>
                  </a:lnTo>
                  <a:lnTo>
                    <a:pt x="143" y="3"/>
                  </a:lnTo>
                  <a:lnTo>
                    <a:pt x="141" y="0"/>
                  </a:lnTo>
                  <a:lnTo>
                    <a:pt x="127" y="3"/>
                  </a:lnTo>
                  <a:lnTo>
                    <a:pt x="112" y="7"/>
                  </a:lnTo>
                  <a:lnTo>
                    <a:pt x="103" y="21"/>
                  </a:lnTo>
                  <a:lnTo>
                    <a:pt x="108" y="35"/>
                  </a:lnTo>
                  <a:lnTo>
                    <a:pt x="106" y="51"/>
                  </a:lnTo>
                  <a:lnTo>
                    <a:pt x="105" y="67"/>
                  </a:lnTo>
                  <a:lnTo>
                    <a:pt x="119" y="77"/>
                  </a:lnTo>
                  <a:lnTo>
                    <a:pt x="125" y="71"/>
                  </a:lnTo>
                  <a:lnTo>
                    <a:pt x="121" y="95"/>
                  </a:lnTo>
                  <a:lnTo>
                    <a:pt x="118" y="93"/>
                  </a:lnTo>
                  <a:lnTo>
                    <a:pt x="111" y="93"/>
                  </a:lnTo>
                  <a:lnTo>
                    <a:pt x="98" y="76"/>
                  </a:lnTo>
                  <a:lnTo>
                    <a:pt x="89" y="69"/>
                  </a:lnTo>
                  <a:lnTo>
                    <a:pt x="82" y="61"/>
                  </a:lnTo>
                  <a:lnTo>
                    <a:pt x="76" y="69"/>
                  </a:lnTo>
                  <a:lnTo>
                    <a:pt x="54" y="61"/>
                  </a:lnTo>
                  <a:lnTo>
                    <a:pt x="53" y="55"/>
                  </a:lnTo>
                  <a:lnTo>
                    <a:pt x="40" y="57"/>
                  </a:lnTo>
                  <a:lnTo>
                    <a:pt x="34" y="48"/>
                  </a:lnTo>
                  <a:lnTo>
                    <a:pt x="34" y="67"/>
                  </a:lnTo>
                  <a:lnTo>
                    <a:pt x="34" y="8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8" name="Freeform 79">
              <a:extLst>
                <a:ext uri="{FF2B5EF4-FFF2-40B4-BE49-F238E27FC236}">
                  <a16:creationId xmlns:a16="http://schemas.microsoft.com/office/drawing/2014/main" id="{C3D33B17-AD2F-4A47-073D-3C8EE89A7963}"/>
                </a:ext>
              </a:extLst>
            </p:cNvPr>
            <p:cNvSpPr>
              <a:spLocks/>
            </p:cNvSpPr>
            <p:nvPr/>
          </p:nvSpPr>
          <p:spPr bwMode="auto">
            <a:xfrm>
              <a:off x="5060479" y="4551522"/>
              <a:ext cx="227081" cy="242979"/>
            </a:xfrm>
            <a:custGeom>
              <a:avLst/>
              <a:gdLst>
                <a:gd name="T0" fmla="*/ 13804 w 119"/>
                <a:gd name="T1" fmla="*/ 6967731 h 122"/>
                <a:gd name="T2" fmla="*/ 13276 w 119"/>
                <a:gd name="T3" fmla="*/ 6805381 h 122"/>
                <a:gd name="T4" fmla="*/ 9694 w 119"/>
                <a:gd name="T5" fmla="*/ 6464307 h 122"/>
                <a:gd name="T6" fmla="*/ 8636 w 119"/>
                <a:gd name="T7" fmla="*/ 5488220 h 122"/>
                <a:gd name="T8" fmla="*/ 7596 w 119"/>
                <a:gd name="T9" fmla="*/ 5226284 h 122"/>
                <a:gd name="T10" fmla="*/ 7126 w 119"/>
                <a:gd name="T11" fmla="*/ 4983115 h 122"/>
                <a:gd name="T12" fmla="*/ 4260 w 119"/>
                <a:gd name="T13" fmla="*/ 4473138 h 122"/>
                <a:gd name="T14" fmla="*/ 2205 w 119"/>
                <a:gd name="T15" fmla="*/ 3425410 h 122"/>
                <a:gd name="T16" fmla="*/ 0 w 119"/>
                <a:gd name="T17" fmla="*/ 2368465 h 122"/>
                <a:gd name="T18" fmla="*/ 5143 w 119"/>
                <a:gd name="T19" fmla="*/ 2569297 h 122"/>
                <a:gd name="T20" fmla="*/ 8636 w 119"/>
                <a:gd name="T21" fmla="*/ 1801461 h 122"/>
                <a:gd name="T22" fmla="*/ 12906 w 119"/>
                <a:gd name="T23" fmla="*/ 989832 h 122"/>
                <a:gd name="T24" fmla="*/ 13804 w 119"/>
                <a:gd name="T25" fmla="*/ 401347 h 122"/>
                <a:gd name="T26" fmla="*/ 16775 w 119"/>
                <a:gd name="T27" fmla="*/ 197306 h 122"/>
                <a:gd name="T28" fmla="*/ 19656 w 119"/>
                <a:gd name="T29" fmla="*/ 0 h 122"/>
                <a:gd name="T30" fmla="*/ 19656 w 119"/>
                <a:gd name="T31" fmla="*/ 415121 h 122"/>
                <a:gd name="T32" fmla="*/ 21141 w 119"/>
                <a:gd name="T33" fmla="*/ 415121 h 122"/>
                <a:gd name="T34" fmla="*/ 25009 w 119"/>
                <a:gd name="T35" fmla="*/ 816392 h 122"/>
                <a:gd name="T36" fmla="*/ 28503 w 119"/>
                <a:gd name="T37" fmla="*/ 1164362 h 122"/>
                <a:gd name="T38" fmla="*/ 28503 w 119"/>
                <a:gd name="T39" fmla="*/ 2449753 h 122"/>
                <a:gd name="T40" fmla="*/ 27717 w 119"/>
                <a:gd name="T41" fmla="*/ 3425410 h 122"/>
                <a:gd name="T42" fmla="*/ 28201 w 119"/>
                <a:gd name="T43" fmla="*/ 4381400 h 122"/>
                <a:gd name="T44" fmla="*/ 27024 w 119"/>
                <a:gd name="T45" fmla="*/ 5358421 h 122"/>
                <a:gd name="T46" fmla="*/ 26166 w 119"/>
                <a:gd name="T47" fmla="*/ 6226269 h 122"/>
                <a:gd name="T48" fmla="*/ 23886 w 119"/>
                <a:gd name="T49" fmla="*/ 6754670 h 122"/>
                <a:gd name="T50" fmla="*/ 21566 w 119"/>
                <a:gd name="T51" fmla="*/ 7349795 h 122"/>
                <a:gd name="T52" fmla="*/ 18376 w 119"/>
                <a:gd name="T53" fmla="*/ 7166468 h 122"/>
                <a:gd name="T54" fmla="*/ 14447 w 119"/>
                <a:gd name="T55" fmla="*/ 7107062 h 122"/>
                <a:gd name="T56" fmla="*/ 13804 w 119"/>
                <a:gd name="T57" fmla="*/ 6967731 h 1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122"/>
                <a:gd name="T89" fmla="*/ 119 w 119"/>
                <a:gd name="T90" fmla="*/ 122 h 12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122">
                  <a:moveTo>
                    <a:pt x="58" y="116"/>
                  </a:moveTo>
                  <a:lnTo>
                    <a:pt x="55" y="113"/>
                  </a:lnTo>
                  <a:lnTo>
                    <a:pt x="41" y="107"/>
                  </a:lnTo>
                  <a:lnTo>
                    <a:pt x="36" y="91"/>
                  </a:lnTo>
                  <a:lnTo>
                    <a:pt x="32" y="87"/>
                  </a:lnTo>
                  <a:lnTo>
                    <a:pt x="29" y="83"/>
                  </a:lnTo>
                  <a:lnTo>
                    <a:pt x="18" y="74"/>
                  </a:lnTo>
                  <a:lnTo>
                    <a:pt x="9" y="57"/>
                  </a:lnTo>
                  <a:lnTo>
                    <a:pt x="0" y="39"/>
                  </a:lnTo>
                  <a:lnTo>
                    <a:pt x="22" y="43"/>
                  </a:lnTo>
                  <a:lnTo>
                    <a:pt x="36" y="30"/>
                  </a:lnTo>
                  <a:lnTo>
                    <a:pt x="54" y="17"/>
                  </a:lnTo>
                  <a:lnTo>
                    <a:pt x="58" y="6"/>
                  </a:lnTo>
                  <a:lnTo>
                    <a:pt x="70" y="3"/>
                  </a:lnTo>
                  <a:lnTo>
                    <a:pt x="82" y="0"/>
                  </a:lnTo>
                  <a:lnTo>
                    <a:pt x="82" y="7"/>
                  </a:lnTo>
                  <a:lnTo>
                    <a:pt x="89" y="7"/>
                  </a:lnTo>
                  <a:lnTo>
                    <a:pt x="105" y="13"/>
                  </a:lnTo>
                  <a:lnTo>
                    <a:pt x="119" y="19"/>
                  </a:lnTo>
                  <a:lnTo>
                    <a:pt x="119" y="41"/>
                  </a:lnTo>
                  <a:lnTo>
                    <a:pt x="116" y="57"/>
                  </a:lnTo>
                  <a:lnTo>
                    <a:pt x="118" y="73"/>
                  </a:lnTo>
                  <a:lnTo>
                    <a:pt x="113" y="89"/>
                  </a:lnTo>
                  <a:lnTo>
                    <a:pt x="109" y="103"/>
                  </a:lnTo>
                  <a:lnTo>
                    <a:pt x="100" y="112"/>
                  </a:lnTo>
                  <a:lnTo>
                    <a:pt x="90" y="122"/>
                  </a:lnTo>
                  <a:lnTo>
                    <a:pt x="76" y="119"/>
                  </a:lnTo>
                  <a:lnTo>
                    <a:pt x="60" y="118"/>
                  </a:lnTo>
                  <a:lnTo>
                    <a:pt x="58" y="11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39" name="Freeform 80">
              <a:extLst>
                <a:ext uri="{FF2B5EF4-FFF2-40B4-BE49-F238E27FC236}">
                  <a16:creationId xmlns:a16="http://schemas.microsoft.com/office/drawing/2014/main" id="{C340ADEB-52C8-E7F0-FDF2-DC3BD9FA4754}"/>
                </a:ext>
              </a:extLst>
            </p:cNvPr>
            <p:cNvSpPr>
              <a:spLocks/>
            </p:cNvSpPr>
            <p:nvPr/>
          </p:nvSpPr>
          <p:spPr bwMode="auto">
            <a:xfrm>
              <a:off x="5543426" y="1998725"/>
              <a:ext cx="1068239" cy="496587"/>
            </a:xfrm>
            <a:custGeom>
              <a:avLst/>
              <a:gdLst>
                <a:gd name="T0" fmla="*/ 19205 w 556"/>
                <a:gd name="T1" fmla="*/ 11553426 h 246"/>
                <a:gd name="T2" fmla="*/ 13305 w 556"/>
                <a:gd name="T3" fmla="*/ 12250671 h 246"/>
                <a:gd name="T4" fmla="*/ 4922 w 556"/>
                <a:gd name="T5" fmla="*/ 9823080 h 246"/>
                <a:gd name="T6" fmla="*/ 944 w 556"/>
                <a:gd name="T7" fmla="*/ 7282138 h 246"/>
                <a:gd name="T8" fmla="*/ 6371 w 556"/>
                <a:gd name="T9" fmla="*/ 6320956 h 246"/>
                <a:gd name="T10" fmla="*/ 10254 w 556"/>
                <a:gd name="T11" fmla="*/ 5157936 h 246"/>
                <a:gd name="T12" fmla="*/ 19205 w 556"/>
                <a:gd name="T13" fmla="*/ 4547214 h 246"/>
                <a:gd name="T14" fmla="*/ 30432 w 556"/>
                <a:gd name="T15" fmla="*/ 5779770 h 246"/>
                <a:gd name="T16" fmla="*/ 44518 w 556"/>
                <a:gd name="T17" fmla="*/ 5650755 h 246"/>
                <a:gd name="T18" fmla="*/ 53247 w 556"/>
                <a:gd name="T19" fmla="*/ 5650755 h 246"/>
                <a:gd name="T20" fmla="*/ 50490 w 556"/>
                <a:gd name="T21" fmla="*/ 2609395 h 246"/>
                <a:gd name="T22" fmla="*/ 49309 w 556"/>
                <a:gd name="T23" fmla="*/ 2020366 h 246"/>
                <a:gd name="T24" fmla="*/ 59982 w 556"/>
                <a:gd name="T25" fmla="*/ 1591868 h 246"/>
                <a:gd name="T26" fmla="*/ 70241 w 556"/>
                <a:gd name="T27" fmla="*/ 768724 h 246"/>
                <a:gd name="T28" fmla="*/ 79583 w 556"/>
                <a:gd name="T29" fmla="*/ 169542 h 246"/>
                <a:gd name="T30" fmla="*/ 86441 w 556"/>
                <a:gd name="T31" fmla="*/ 768724 h 246"/>
                <a:gd name="T32" fmla="*/ 97405 w 556"/>
                <a:gd name="T33" fmla="*/ 1996907 h 246"/>
                <a:gd name="T34" fmla="*/ 105900 w 556"/>
                <a:gd name="T35" fmla="*/ 1591868 h 246"/>
                <a:gd name="T36" fmla="*/ 111952 w 556"/>
                <a:gd name="T37" fmla="*/ 1344860 h 246"/>
                <a:gd name="T38" fmla="*/ 116938 w 556"/>
                <a:gd name="T39" fmla="*/ 3041583 h 246"/>
                <a:gd name="T40" fmla="*/ 128013 w 556"/>
                <a:gd name="T41" fmla="*/ 5060468 h 246"/>
                <a:gd name="T42" fmla="*/ 134503 w 556"/>
                <a:gd name="T43" fmla="*/ 5779770 h 246"/>
                <a:gd name="T44" fmla="*/ 143030 w 556"/>
                <a:gd name="T45" fmla="*/ 5779770 h 246"/>
                <a:gd name="T46" fmla="*/ 154243 w 556"/>
                <a:gd name="T47" fmla="*/ 7631711 h 246"/>
                <a:gd name="T48" fmla="*/ 164369 w 556"/>
                <a:gd name="T49" fmla="*/ 8663682 h 246"/>
                <a:gd name="T50" fmla="*/ 160485 w 556"/>
                <a:gd name="T51" fmla="*/ 9947136 h 246"/>
                <a:gd name="T52" fmla="*/ 158944 w 556"/>
                <a:gd name="T53" fmla="*/ 11553426 h 246"/>
                <a:gd name="T54" fmla="*/ 152563 w 556"/>
                <a:gd name="T55" fmla="*/ 12467249 h 246"/>
                <a:gd name="T56" fmla="*/ 154766 w 556"/>
                <a:gd name="T57" fmla="*/ 14224666 h 246"/>
                <a:gd name="T58" fmla="*/ 144065 w 556"/>
                <a:gd name="T59" fmla="*/ 14514762 h 246"/>
                <a:gd name="T60" fmla="*/ 148734 w 556"/>
                <a:gd name="T61" fmla="*/ 15962386 h 246"/>
                <a:gd name="T62" fmla="*/ 150745 w 556"/>
                <a:gd name="T63" fmla="*/ 17223235 h 246"/>
                <a:gd name="T64" fmla="*/ 144065 w 556"/>
                <a:gd name="T65" fmla="*/ 16625661 h 246"/>
                <a:gd name="T66" fmla="*/ 133105 w 556"/>
                <a:gd name="T67" fmla="*/ 16995939 h 246"/>
                <a:gd name="T68" fmla="*/ 122753 w 556"/>
                <a:gd name="T69" fmla="*/ 16838774 h 246"/>
                <a:gd name="T70" fmla="*/ 116004 w 556"/>
                <a:gd name="T71" fmla="*/ 17386225 h 246"/>
                <a:gd name="T72" fmla="*/ 108883 w 556"/>
                <a:gd name="T73" fmla="*/ 17897182 h 246"/>
                <a:gd name="T74" fmla="*/ 100778 w 556"/>
                <a:gd name="T75" fmla="*/ 19505689 h 246"/>
                <a:gd name="T76" fmla="*/ 92343 w 556"/>
                <a:gd name="T77" fmla="*/ 18350889 h 246"/>
                <a:gd name="T78" fmla="*/ 87561 w 556"/>
                <a:gd name="T79" fmla="*/ 16339421 h 246"/>
                <a:gd name="T80" fmla="*/ 78709 w 556"/>
                <a:gd name="T81" fmla="*/ 16102017 h 246"/>
                <a:gd name="T82" fmla="*/ 69395 w 556"/>
                <a:gd name="T83" fmla="*/ 16078693 h 246"/>
                <a:gd name="T84" fmla="*/ 59885 w 556"/>
                <a:gd name="T85" fmla="*/ 13806612 h 246"/>
                <a:gd name="T86" fmla="*/ 48765 w 556"/>
                <a:gd name="T87" fmla="*/ 13554806 h 246"/>
                <a:gd name="T88" fmla="*/ 44518 w 556"/>
                <a:gd name="T89" fmla="*/ 15363936 h 246"/>
                <a:gd name="T90" fmla="*/ 47358 w 556"/>
                <a:gd name="T91" fmla="*/ 17897182 h 246"/>
                <a:gd name="T92" fmla="*/ 43838 w 556"/>
                <a:gd name="T93" fmla="*/ 18835932 h 246"/>
                <a:gd name="T94" fmla="*/ 38636 w 556"/>
                <a:gd name="T95" fmla="*/ 17386225 h 246"/>
                <a:gd name="T96" fmla="*/ 27655 w 556"/>
                <a:gd name="T97" fmla="*/ 16995939 h 246"/>
                <a:gd name="T98" fmla="*/ 21961 w 556"/>
                <a:gd name="T99" fmla="*/ 15363936 h 246"/>
                <a:gd name="T100" fmla="*/ 24703 w 556"/>
                <a:gd name="T101" fmla="*/ 14861383 h 246"/>
                <a:gd name="T102" fmla="*/ 25330 w 556"/>
                <a:gd name="T103" fmla="*/ 13720962 h 246"/>
                <a:gd name="T104" fmla="*/ 29307 w 556"/>
                <a:gd name="T105" fmla="*/ 13226789 h 246"/>
                <a:gd name="T106" fmla="*/ 23018 w 556"/>
                <a:gd name="T107" fmla="*/ 11701525 h 24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56"/>
                <a:gd name="T163" fmla="*/ 0 h 246"/>
                <a:gd name="T164" fmla="*/ 556 w 556"/>
                <a:gd name="T165" fmla="*/ 246 h 24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56" h="246">
                  <a:moveTo>
                    <a:pt x="77" y="147"/>
                  </a:moveTo>
                  <a:lnTo>
                    <a:pt x="65" y="145"/>
                  </a:lnTo>
                  <a:lnTo>
                    <a:pt x="46" y="154"/>
                  </a:lnTo>
                  <a:lnTo>
                    <a:pt x="45" y="154"/>
                  </a:lnTo>
                  <a:lnTo>
                    <a:pt x="33" y="138"/>
                  </a:lnTo>
                  <a:lnTo>
                    <a:pt x="17" y="124"/>
                  </a:lnTo>
                  <a:lnTo>
                    <a:pt x="0" y="110"/>
                  </a:lnTo>
                  <a:lnTo>
                    <a:pt x="3" y="92"/>
                  </a:lnTo>
                  <a:lnTo>
                    <a:pt x="4" y="73"/>
                  </a:lnTo>
                  <a:lnTo>
                    <a:pt x="22" y="80"/>
                  </a:lnTo>
                  <a:lnTo>
                    <a:pt x="25" y="73"/>
                  </a:lnTo>
                  <a:lnTo>
                    <a:pt x="35" y="65"/>
                  </a:lnTo>
                  <a:lnTo>
                    <a:pt x="45" y="57"/>
                  </a:lnTo>
                  <a:lnTo>
                    <a:pt x="65" y="57"/>
                  </a:lnTo>
                  <a:lnTo>
                    <a:pt x="84" y="65"/>
                  </a:lnTo>
                  <a:lnTo>
                    <a:pt x="103" y="73"/>
                  </a:lnTo>
                  <a:lnTo>
                    <a:pt x="123" y="73"/>
                  </a:lnTo>
                  <a:lnTo>
                    <a:pt x="151" y="71"/>
                  </a:lnTo>
                  <a:lnTo>
                    <a:pt x="179" y="76"/>
                  </a:lnTo>
                  <a:lnTo>
                    <a:pt x="180" y="71"/>
                  </a:lnTo>
                  <a:lnTo>
                    <a:pt x="166" y="54"/>
                  </a:lnTo>
                  <a:lnTo>
                    <a:pt x="171" y="33"/>
                  </a:lnTo>
                  <a:lnTo>
                    <a:pt x="184" y="35"/>
                  </a:lnTo>
                  <a:lnTo>
                    <a:pt x="167" y="26"/>
                  </a:lnTo>
                  <a:lnTo>
                    <a:pt x="186" y="23"/>
                  </a:lnTo>
                  <a:lnTo>
                    <a:pt x="203" y="20"/>
                  </a:lnTo>
                  <a:lnTo>
                    <a:pt x="221" y="16"/>
                  </a:lnTo>
                  <a:lnTo>
                    <a:pt x="237" y="10"/>
                  </a:lnTo>
                  <a:lnTo>
                    <a:pt x="254" y="6"/>
                  </a:lnTo>
                  <a:lnTo>
                    <a:pt x="270" y="2"/>
                  </a:lnTo>
                  <a:lnTo>
                    <a:pt x="283" y="0"/>
                  </a:lnTo>
                  <a:lnTo>
                    <a:pt x="292" y="10"/>
                  </a:lnTo>
                  <a:lnTo>
                    <a:pt x="320" y="20"/>
                  </a:lnTo>
                  <a:lnTo>
                    <a:pt x="330" y="25"/>
                  </a:lnTo>
                  <a:lnTo>
                    <a:pt x="340" y="28"/>
                  </a:lnTo>
                  <a:lnTo>
                    <a:pt x="359" y="20"/>
                  </a:lnTo>
                  <a:lnTo>
                    <a:pt x="376" y="15"/>
                  </a:lnTo>
                  <a:lnTo>
                    <a:pt x="379" y="17"/>
                  </a:lnTo>
                  <a:lnTo>
                    <a:pt x="376" y="25"/>
                  </a:lnTo>
                  <a:lnTo>
                    <a:pt x="395" y="38"/>
                  </a:lnTo>
                  <a:lnTo>
                    <a:pt x="414" y="51"/>
                  </a:lnTo>
                  <a:lnTo>
                    <a:pt x="433" y="64"/>
                  </a:lnTo>
                  <a:lnTo>
                    <a:pt x="452" y="76"/>
                  </a:lnTo>
                  <a:lnTo>
                    <a:pt x="455" y="73"/>
                  </a:lnTo>
                  <a:lnTo>
                    <a:pt x="466" y="76"/>
                  </a:lnTo>
                  <a:lnTo>
                    <a:pt x="484" y="73"/>
                  </a:lnTo>
                  <a:lnTo>
                    <a:pt x="503" y="84"/>
                  </a:lnTo>
                  <a:lnTo>
                    <a:pt x="522" y="96"/>
                  </a:lnTo>
                  <a:lnTo>
                    <a:pt x="540" y="92"/>
                  </a:lnTo>
                  <a:lnTo>
                    <a:pt x="556" y="109"/>
                  </a:lnTo>
                  <a:lnTo>
                    <a:pt x="551" y="121"/>
                  </a:lnTo>
                  <a:lnTo>
                    <a:pt x="543" y="125"/>
                  </a:lnTo>
                  <a:lnTo>
                    <a:pt x="551" y="144"/>
                  </a:lnTo>
                  <a:lnTo>
                    <a:pt x="538" y="145"/>
                  </a:lnTo>
                  <a:lnTo>
                    <a:pt x="514" y="141"/>
                  </a:lnTo>
                  <a:lnTo>
                    <a:pt x="516" y="157"/>
                  </a:lnTo>
                  <a:lnTo>
                    <a:pt x="519" y="171"/>
                  </a:lnTo>
                  <a:lnTo>
                    <a:pt x="523" y="179"/>
                  </a:lnTo>
                  <a:lnTo>
                    <a:pt x="504" y="176"/>
                  </a:lnTo>
                  <a:lnTo>
                    <a:pt x="487" y="183"/>
                  </a:lnTo>
                  <a:lnTo>
                    <a:pt x="497" y="187"/>
                  </a:lnTo>
                  <a:lnTo>
                    <a:pt x="503" y="201"/>
                  </a:lnTo>
                  <a:lnTo>
                    <a:pt x="510" y="214"/>
                  </a:lnTo>
                  <a:lnTo>
                    <a:pt x="510" y="217"/>
                  </a:lnTo>
                  <a:lnTo>
                    <a:pt x="506" y="221"/>
                  </a:lnTo>
                  <a:lnTo>
                    <a:pt x="487" y="209"/>
                  </a:lnTo>
                  <a:lnTo>
                    <a:pt x="469" y="211"/>
                  </a:lnTo>
                  <a:lnTo>
                    <a:pt x="450" y="214"/>
                  </a:lnTo>
                  <a:lnTo>
                    <a:pt x="429" y="214"/>
                  </a:lnTo>
                  <a:lnTo>
                    <a:pt x="415" y="212"/>
                  </a:lnTo>
                  <a:lnTo>
                    <a:pt x="408" y="222"/>
                  </a:lnTo>
                  <a:lnTo>
                    <a:pt x="392" y="219"/>
                  </a:lnTo>
                  <a:lnTo>
                    <a:pt x="378" y="218"/>
                  </a:lnTo>
                  <a:lnTo>
                    <a:pt x="368" y="225"/>
                  </a:lnTo>
                  <a:lnTo>
                    <a:pt x="354" y="235"/>
                  </a:lnTo>
                  <a:lnTo>
                    <a:pt x="341" y="246"/>
                  </a:lnTo>
                  <a:lnTo>
                    <a:pt x="327" y="238"/>
                  </a:lnTo>
                  <a:lnTo>
                    <a:pt x="312" y="231"/>
                  </a:lnTo>
                  <a:lnTo>
                    <a:pt x="312" y="217"/>
                  </a:lnTo>
                  <a:lnTo>
                    <a:pt x="296" y="206"/>
                  </a:lnTo>
                  <a:lnTo>
                    <a:pt x="280" y="205"/>
                  </a:lnTo>
                  <a:lnTo>
                    <a:pt x="266" y="203"/>
                  </a:lnTo>
                  <a:lnTo>
                    <a:pt x="250" y="203"/>
                  </a:lnTo>
                  <a:lnTo>
                    <a:pt x="235" y="202"/>
                  </a:lnTo>
                  <a:lnTo>
                    <a:pt x="221" y="185"/>
                  </a:lnTo>
                  <a:lnTo>
                    <a:pt x="202" y="174"/>
                  </a:lnTo>
                  <a:lnTo>
                    <a:pt x="183" y="164"/>
                  </a:lnTo>
                  <a:lnTo>
                    <a:pt x="166" y="171"/>
                  </a:lnTo>
                  <a:lnTo>
                    <a:pt x="147" y="177"/>
                  </a:lnTo>
                  <a:lnTo>
                    <a:pt x="151" y="193"/>
                  </a:lnTo>
                  <a:lnTo>
                    <a:pt x="155" y="209"/>
                  </a:lnTo>
                  <a:lnTo>
                    <a:pt x="160" y="225"/>
                  </a:lnTo>
                  <a:lnTo>
                    <a:pt x="163" y="241"/>
                  </a:lnTo>
                  <a:lnTo>
                    <a:pt x="147" y="237"/>
                  </a:lnTo>
                  <a:lnTo>
                    <a:pt x="129" y="231"/>
                  </a:lnTo>
                  <a:lnTo>
                    <a:pt x="131" y="219"/>
                  </a:lnTo>
                  <a:lnTo>
                    <a:pt x="106" y="219"/>
                  </a:lnTo>
                  <a:lnTo>
                    <a:pt x="93" y="214"/>
                  </a:lnTo>
                  <a:lnTo>
                    <a:pt x="87" y="211"/>
                  </a:lnTo>
                  <a:lnTo>
                    <a:pt x="74" y="193"/>
                  </a:lnTo>
                  <a:lnTo>
                    <a:pt x="68" y="187"/>
                  </a:lnTo>
                  <a:lnTo>
                    <a:pt x="84" y="187"/>
                  </a:lnTo>
                  <a:lnTo>
                    <a:pt x="77" y="180"/>
                  </a:lnTo>
                  <a:lnTo>
                    <a:pt x="86" y="173"/>
                  </a:lnTo>
                  <a:lnTo>
                    <a:pt x="103" y="173"/>
                  </a:lnTo>
                  <a:lnTo>
                    <a:pt x="99" y="167"/>
                  </a:lnTo>
                  <a:lnTo>
                    <a:pt x="96" y="147"/>
                  </a:lnTo>
                  <a:lnTo>
                    <a:pt x="77" y="147"/>
                  </a:lnTo>
                  <a:close/>
                </a:path>
              </a:pathLst>
            </a:custGeom>
            <a:solidFill>
              <a:srgbClr val="8B8D8D">
                <a:lumMod val="40000"/>
                <a:lumOff val="60000"/>
              </a:srgbClr>
            </a:solidFill>
            <a:ln w="1588">
              <a:solidFill>
                <a:schemeClr val="bg1"/>
              </a:solidFill>
              <a:prstDash val="solid"/>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0" name="Freeform 81">
              <a:extLst>
                <a:ext uri="{FF2B5EF4-FFF2-40B4-BE49-F238E27FC236}">
                  <a16:creationId xmlns:a16="http://schemas.microsoft.com/office/drawing/2014/main" id="{33715607-7548-9770-57F3-60602EC7B996}"/>
                </a:ext>
              </a:extLst>
            </p:cNvPr>
            <p:cNvSpPr>
              <a:spLocks/>
            </p:cNvSpPr>
            <p:nvPr/>
          </p:nvSpPr>
          <p:spPr bwMode="auto">
            <a:xfrm>
              <a:off x="5378712" y="2396603"/>
              <a:ext cx="228681" cy="94155"/>
            </a:xfrm>
            <a:custGeom>
              <a:avLst/>
              <a:gdLst>
                <a:gd name="T0" fmla="*/ 5766 w 120"/>
                <a:gd name="T1" fmla="*/ 1962542 h 46"/>
                <a:gd name="T2" fmla="*/ 0 w 120"/>
                <a:gd name="T3" fmla="*/ 1 h 46"/>
                <a:gd name="T4" fmla="*/ 838 w 120"/>
                <a:gd name="T5" fmla="*/ 0 h 46"/>
                <a:gd name="T6" fmla="*/ 4322 w 120"/>
                <a:gd name="T7" fmla="*/ 1 h 46"/>
                <a:gd name="T8" fmla="*/ 8188 w 120"/>
                <a:gd name="T9" fmla="*/ 341409 h 46"/>
                <a:gd name="T10" fmla="*/ 12889 w 120"/>
                <a:gd name="T11" fmla="*/ 1277729 h 46"/>
                <a:gd name="T12" fmla="*/ 17856 w 120"/>
                <a:gd name="T13" fmla="*/ 2287996 h 46"/>
                <a:gd name="T14" fmla="*/ 22758 w 120"/>
                <a:gd name="T15" fmla="*/ 3332516 h 46"/>
                <a:gd name="T16" fmla="*/ 27457 w 120"/>
                <a:gd name="T17" fmla="*/ 4289593 h 46"/>
                <a:gd name="T18" fmla="*/ 26400 w 120"/>
                <a:gd name="T19" fmla="*/ 5336369 h 46"/>
                <a:gd name="T20" fmla="*/ 23041 w 120"/>
                <a:gd name="T21" fmla="*/ 5010047 h 46"/>
                <a:gd name="T22" fmla="*/ 18303 w 120"/>
                <a:gd name="T23" fmla="*/ 5010047 h 46"/>
                <a:gd name="T24" fmla="*/ 13448 w 120"/>
                <a:gd name="T25" fmla="*/ 5010047 h 46"/>
                <a:gd name="T26" fmla="*/ 9219 w 120"/>
                <a:gd name="T27" fmla="*/ 5244844 h 46"/>
                <a:gd name="T28" fmla="*/ 8910 w 120"/>
                <a:gd name="T29" fmla="*/ 3709680 h 46"/>
                <a:gd name="T30" fmla="*/ 5766 w 120"/>
                <a:gd name="T31" fmla="*/ 1962542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0"/>
                <a:gd name="T49" fmla="*/ 0 h 46"/>
                <a:gd name="T50" fmla="*/ 120 w 120"/>
                <a:gd name="T51" fmla="*/ 46 h 4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0" h="46">
                  <a:moveTo>
                    <a:pt x="24" y="17"/>
                  </a:moveTo>
                  <a:lnTo>
                    <a:pt x="0" y="1"/>
                  </a:lnTo>
                  <a:lnTo>
                    <a:pt x="3" y="0"/>
                  </a:lnTo>
                  <a:lnTo>
                    <a:pt x="19" y="1"/>
                  </a:lnTo>
                  <a:lnTo>
                    <a:pt x="35" y="3"/>
                  </a:lnTo>
                  <a:lnTo>
                    <a:pt x="56" y="11"/>
                  </a:lnTo>
                  <a:lnTo>
                    <a:pt x="77" y="20"/>
                  </a:lnTo>
                  <a:lnTo>
                    <a:pt x="99" y="29"/>
                  </a:lnTo>
                  <a:lnTo>
                    <a:pt x="120" y="37"/>
                  </a:lnTo>
                  <a:lnTo>
                    <a:pt x="116" y="46"/>
                  </a:lnTo>
                  <a:lnTo>
                    <a:pt x="101" y="43"/>
                  </a:lnTo>
                  <a:lnTo>
                    <a:pt x="80" y="43"/>
                  </a:lnTo>
                  <a:lnTo>
                    <a:pt x="59" y="43"/>
                  </a:lnTo>
                  <a:lnTo>
                    <a:pt x="40" y="45"/>
                  </a:lnTo>
                  <a:lnTo>
                    <a:pt x="39" y="32"/>
                  </a:lnTo>
                  <a:lnTo>
                    <a:pt x="24" y="1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1" name="Freeform 82">
              <a:extLst>
                <a:ext uri="{FF2B5EF4-FFF2-40B4-BE49-F238E27FC236}">
                  <a16:creationId xmlns:a16="http://schemas.microsoft.com/office/drawing/2014/main" id="{566F2BB4-2B0E-1103-3953-F739A7D630A7}"/>
                </a:ext>
              </a:extLst>
            </p:cNvPr>
            <p:cNvSpPr>
              <a:spLocks/>
            </p:cNvSpPr>
            <p:nvPr/>
          </p:nvSpPr>
          <p:spPr bwMode="auto">
            <a:xfrm>
              <a:off x="5748118" y="2440642"/>
              <a:ext cx="415782" cy="273352"/>
            </a:xfrm>
            <a:custGeom>
              <a:avLst/>
              <a:gdLst>
                <a:gd name="T0" fmla="*/ 64348 w 216"/>
                <a:gd name="T1" fmla="*/ 7485224 h 136"/>
                <a:gd name="T2" fmla="*/ 62585 w 216"/>
                <a:gd name="T3" fmla="*/ 8366916 h 136"/>
                <a:gd name="T4" fmla="*/ 58411 w 216"/>
                <a:gd name="T5" fmla="*/ 8870297 h 136"/>
                <a:gd name="T6" fmla="*/ 57187 w 216"/>
                <a:gd name="T7" fmla="*/ 9650256 h 136"/>
                <a:gd name="T8" fmla="*/ 54173 w 216"/>
                <a:gd name="T9" fmla="*/ 9490752 h 136"/>
                <a:gd name="T10" fmla="*/ 49584 w 216"/>
                <a:gd name="T11" fmla="*/ 9132055 h 136"/>
                <a:gd name="T12" fmla="*/ 47614 w 216"/>
                <a:gd name="T13" fmla="*/ 7727826 h 136"/>
                <a:gd name="T14" fmla="*/ 43389 w 216"/>
                <a:gd name="T15" fmla="*/ 7662897 h 136"/>
                <a:gd name="T16" fmla="*/ 39509 w 216"/>
                <a:gd name="T17" fmla="*/ 7163594 h 136"/>
                <a:gd name="T18" fmla="*/ 35388 w 216"/>
                <a:gd name="T19" fmla="*/ 6539984 h 136"/>
                <a:gd name="T20" fmla="*/ 28023 w 216"/>
                <a:gd name="T21" fmla="*/ 5893467 h 136"/>
                <a:gd name="T22" fmla="*/ 23667 w 216"/>
                <a:gd name="T23" fmla="*/ 6047294 h 136"/>
                <a:gd name="T24" fmla="*/ 18222 w 216"/>
                <a:gd name="T25" fmla="*/ 6070855 h 136"/>
                <a:gd name="T26" fmla="*/ 15138 w 216"/>
                <a:gd name="T27" fmla="*/ 6990744 h 136"/>
                <a:gd name="T28" fmla="*/ 13171 w 216"/>
                <a:gd name="T29" fmla="*/ 6990744 h 136"/>
                <a:gd name="T30" fmla="*/ 12292 w 216"/>
                <a:gd name="T31" fmla="*/ 5835391 h 136"/>
                <a:gd name="T32" fmla="*/ 10942 w 216"/>
                <a:gd name="T33" fmla="*/ 4772521 h 136"/>
                <a:gd name="T34" fmla="*/ 8029 w 216"/>
                <a:gd name="T35" fmla="*/ 4314664 h 136"/>
                <a:gd name="T36" fmla="*/ 7781 w 216"/>
                <a:gd name="T37" fmla="*/ 4452985 h 136"/>
                <a:gd name="T38" fmla="*/ 8741 w 216"/>
                <a:gd name="T39" fmla="*/ 4217600 h 136"/>
                <a:gd name="T40" fmla="*/ 9090 w 216"/>
                <a:gd name="T41" fmla="*/ 4069813 h 136"/>
                <a:gd name="T42" fmla="*/ 8029 w 216"/>
                <a:gd name="T43" fmla="*/ 3562435 h 136"/>
                <a:gd name="T44" fmla="*/ 6033 w 216"/>
                <a:gd name="T45" fmla="*/ 3640942 h 136"/>
                <a:gd name="T46" fmla="*/ 6033 w 216"/>
                <a:gd name="T47" fmla="*/ 3758949 h 136"/>
                <a:gd name="T48" fmla="*/ 4603 w 216"/>
                <a:gd name="T49" fmla="*/ 2484571 h 136"/>
                <a:gd name="T50" fmla="*/ 5012 w 216"/>
                <a:gd name="T51" fmla="*/ 2402912 h 136"/>
                <a:gd name="T52" fmla="*/ 7781 w 216"/>
                <a:gd name="T53" fmla="*/ 2402912 h 136"/>
                <a:gd name="T54" fmla="*/ 10212 w 216"/>
                <a:gd name="T55" fmla="*/ 2657348 h 136"/>
                <a:gd name="T56" fmla="*/ 11274 w 216"/>
                <a:gd name="T57" fmla="*/ 2621627 h 136"/>
                <a:gd name="T58" fmla="*/ 11798 w 216"/>
                <a:gd name="T59" fmla="*/ 2484571 h 136"/>
                <a:gd name="T60" fmla="*/ 12292 w 216"/>
                <a:gd name="T61" fmla="*/ 2059505 h 136"/>
                <a:gd name="T62" fmla="*/ 7781 w 216"/>
                <a:gd name="T63" fmla="*/ 1110619 h 136"/>
                <a:gd name="T64" fmla="*/ 3597 w 216"/>
                <a:gd name="T65" fmla="*/ 941689 h 136"/>
                <a:gd name="T66" fmla="*/ 4164 w 216"/>
                <a:gd name="T67" fmla="*/ 1979627 h 136"/>
                <a:gd name="T68" fmla="*/ 4164 w 216"/>
                <a:gd name="T69" fmla="*/ 2059505 h 136"/>
                <a:gd name="T70" fmla="*/ 982 w 216"/>
                <a:gd name="T71" fmla="*/ 815175 h 136"/>
                <a:gd name="T72" fmla="*/ 1182 w 216"/>
                <a:gd name="T73" fmla="*/ 222805 h 136"/>
                <a:gd name="T74" fmla="*/ 0 w 216"/>
                <a:gd name="T75" fmla="*/ 0 h 136"/>
                <a:gd name="T76" fmla="*/ 7781 w 216"/>
                <a:gd name="T77" fmla="*/ 0 h 136"/>
                <a:gd name="T78" fmla="*/ 7262 w 216"/>
                <a:gd name="T79" fmla="*/ 815175 h 136"/>
                <a:gd name="T80" fmla="*/ 12665 w 216"/>
                <a:gd name="T81" fmla="*/ 1275204 h 136"/>
                <a:gd name="T82" fmla="*/ 17810 w 216"/>
                <a:gd name="T83" fmla="*/ 1592432 h 136"/>
                <a:gd name="T84" fmla="*/ 24424 w 216"/>
                <a:gd name="T85" fmla="*/ 1935971 h 136"/>
                <a:gd name="T86" fmla="*/ 23171 w 216"/>
                <a:gd name="T87" fmla="*/ 1129186 h 136"/>
                <a:gd name="T88" fmla="*/ 25579 w 216"/>
                <a:gd name="T89" fmla="*/ 941689 h 136"/>
                <a:gd name="T90" fmla="*/ 29291 w 216"/>
                <a:gd name="T91" fmla="*/ 0 h 136"/>
                <a:gd name="T92" fmla="*/ 35258 w 216"/>
                <a:gd name="T93" fmla="*/ 941689 h 136"/>
                <a:gd name="T94" fmla="*/ 38800 w 216"/>
                <a:gd name="T95" fmla="*/ 2166008 h 136"/>
                <a:gd name="T96" fmla="*/ 45005 w 216"/>
                <a:gd name="T97" fmla="*/ 2838435 h 136"/>
                <a:gd name="T98" fmla="*/ 49213 w 216"/>
                <a:gd name="T99" fmla="*/ 3208533 h 136"/>
                <a:gd name="T100" fmla="*/ 57187 w 216"/>
                <a:gd name="T101" fmla="*/ 4314664 h 136"/>
                <a:gd name="T102" fmla="*/ 64639 w 216"/>
                <a:gd name="T103" fmla="*/ 5463108 h 136"/>
                <a:gd name="T104" fmla="*/ 67690 w 216"/>
                <a:gd name="T105" fmla="*/ 6730436 h 136"/>
                <a:gd name="T106" fmla="*/ 66073 w 216"/>
                <a:gd name="T107" fmla="*/ 7044157 h 136"/>
                <a:gd name="T108" fmla="*/ 64348 w 216"/>
                <a:gd name="T109" fmla="*/ 7485224 h 1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
                <a:gd name="T166" fmla="*/ 0 h 136"/>
                <a:gd name="T167" fmla="*/ 216 w 216"/>
                <a:gd name="T168" fmla="*/ 136 h 1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 h="136">
                  <a:moveTo>
                    <a:pt x="205" y="105"/>
                  </a:moveTo>
                  <a:lnTo>
                    <a:pt x="199" y="118"/>
                  </a:lnTo>
                  <a:lnTo>
                    <a:pt x="186" y="125"/>
                  </a:lnTo>
                  <a:lnTo>
                    <a:pt x="182" y="136"/>
                  </a:lnTo>
                  <a:lnTo>
                    <a:pt x="173" y="134"/>
                  </a:lnTo>
                  <a:lnTo>
                    <a:pt x="158" y="128"/>
                  </a:lnTo>
                  <a:lnTo>
                    <a:pt x="153" y="109"/>
                  </a:lnTo>
                  <a:lnTo>
                    <a:pt x="139" y="108"/>
                  </a:lnTo>
                  <a:lnTo>
                    <a:pt x="126" y="101"/>
                  </a:lnTo>
                  <a:lnTo>
                    <a:pt x="113" y="92"/>
                  </a:lnTo>
                  <a:lnTo>
                    <a:pt x="90" y="83"/>
                  </a:lnTo>
                  <a:lnTo>
                    <a:pt x="76" y="85"/>
                  </a:lnTo>
                  <a:lnTo>
                    <a:pt x="58" y="86"/>
                  </a:lnTo>
                  <a:lnTo>
                    <a:pt x="48" y="98"/>
                  </a:lnTo>
                  <a:lnTo>
                    <a:pt x="42" y="98"/>
                  </a:lnTo>
                  <a:lnTo>
                    <a:pt x="39" y="82"/>
                  </a:lnTo>
                  <a:lnTo>
                    <a:pt x="35" y="67"/>
                  </a:lnTo>
                  <a:lnTo>
                    <a:pt x="26" y="61"/>
                  </a:lnTo>
                  <a:lnTo>
                    <a:pt x="25" y="63"/>
                  </a:lnTo>
                  <a:lnTo>
                    <a:pt x="28" y="59"/>
                  </a:lnTo>
                  <a:lnTo>
                    <a:pt x="29" y="57"/>
                  </a:lnTo>
                  <a:lnTo>
                    <a:pt x="26" y="50"/>
                  </a:lnTo>
                  <a:lnTo>
                    <a:pt x="19" y="51"/>
                  </a:lnTo>
                  <a:lnTo>
                    <a:pt x="19" y="53"/>
                  </a:lnTo>
                  <a:lnTo>
                    <a:pt x="15" y="35"/>
                  </a:lnTo>
                  <a:lnTo>
                    <a:pt x="16" y="34"/>
                  </a:lnTo>
                  <a:lnTo>
                    <a:pt x="25" y="34"/>
                  </a:lnTo>
                  <a:lnTo>
                    <a:pt x="32" y="38"/>
                  </a:lnTo>
                  <a:lnTo>
                    <a:pt x="36" y="37"/>
                  </a:lnTo>
                  <a:lnTo>
                    <a:pt x="38" y="35"/>
                  </a:lnTo>
                  <a:lnTo>
                    <a:pt x="39" y="29"/>
                  </a:lnTo>
                  <a:lnTo>
                    <a:pt x="25" y="15"/>
                  </a:lnTo>
                  <a:lnTo>
                    <a:pt x="12" y="13"/>
                  </a:lnTo>
                  <a:lnTo>
                    <a:pt x="13" y="28"/>
                  </a:lnTo>
                  <a:lnTo>
                    <a:pt x="13" y="29"/>
                  </a:lnTo>
                  <a:lnTo>
                    <a:pt x="3" y="12"/>
                  </a:lnTo>
                  <a:lnTo>
                    <a:pt x="4" y="3"/>
                  </a:lnTo>
                  <a:lnTo>
                    <a:pt x="0" y="0"/>
                  </a:lnTo>
                  <a:lnTo>
                    <a:pt x="25" y="0"/>
                  </a:lnTo>
                  <a:lnTo>
                    <a:pt x="23" y="12"/>
                  </a:lnTo>
                  <a:lnTo>
                    <a:pt x="41" y="18"/>
                  </a:lnTo>
                  <a:lnTo>
                    <a:pt x="57" y="22"/>
                  </a:lnTo>
                  <a:lnTo>
                    <a:pt x="78" y="27"/>
                  </a:lnTo>
                  <a:lnTo>
                    <a:pt x="74" y="16"/>
                  </a:lnTo>
                  <a:lnTo>
                    <a:pt x="81" y="13"/>
                  </a:lnTo>
                  <a:lnTo>
                    <a:pt x="93" y="0"/>
                  </a:lnTo>
                  <a:lnTo>
                    <a:pt x="112" y="13"/>
                  </a:lnTo>
                  <a:lnTo>
                    <a:pt x="124" y="31"/>
                  </a:lnTo>
                  <a:lnTo>
                    <a:pt x="144" y="40"/>
                  </a:lnTo>
                  <a:lnTo>
                    <a:pt x="157" y="45"/>
                  </a:lnTo>
                  <a:lnTo>
                    <a:pt x="182" y="61"/>
                  </a:lnTo>
                  <a:lnTo>
                    <a:pt x="206" y="77"/>
                  </a:lnTo>
                  <a:lnTo>
                    <a:pt x="216" y="95"/>
                  </a:lnTo>
                  <a:lnTo>
                    <a:pt x="211" y="99"/>
                  </a:lnTo>
                  <a:lnTo>
                    <a:pt x="205" y="10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2" name="Freeform 83">
              <a:extLst>
                <a:ext uri="{FF2B5EF4-FFF2-40B4-BE49-F238E27FC236}">
                  <a16:creationId xmlns:a16="http://schemas.microsoft.com/office/drawing/2014/main" id="{A9B9B95D-F09B-B67D-5F9D-66B9FF4DC319}"/>
                </a:ext>
              </a:extLst>
            </p:cNvPr>
            <p:cNvSpPr>
              <a:spLocks/>
            </p:cNvSpPr>
            <p:nvPr/>
          </p:nvSpPr>
          <p:spPr bwMode="auto">
            <a:xfrm>
              <a:off x="5229990" y="2698808"/>
              <a:ext cx="57569" cy="36447"/>
            </a:xfrm>
            <a:custGeom>
              <a:avLst/>
              <a:gdLst>
                <a:gd name="T0" fmla="*/ 8509 w 30"/>
                <a:gd name="T1" fmla="*/ 0 h 18"/>
                <a:gd name="T2" fmla="*/ 3224 w 30"/>
                <a:gd name="T3" fmla="*/ 411872 h 18"/>
                <a:gd name="T4" fmla="*/ 0 w 30"/>
                <a:gd name="T5" fmla="*/ 859338 h 18"/>
                <a:gd name="T6" fmla="*/ 1597 w 30"/>
                <a:gd name="T7" fmla="*/ 1621461 h 18"/>
                <a:gd name="T8" fmla="*/ 6686 w 30"/>
                <a:gd name="T9" fmla="*/ 1058437 h 18"/>
                <a:gd name="T10" fmla="*/ 6092 w 30"/>
                <a:gd name="T11" fmla="*/ 794154 h 18"/>
                <a:gd name="T12" fmla="*/ 8509 w 30"/>
                <a:gd name="T13" fmla="*/ 0 h 18"/>
                <a:gd name="T14" fmla="*/ 0 60000 65536"/>
                <a:gd name="T15" fmla="*/ 0 60000 65536"/>
                <a:gd name="T16" fmla="*/ 0 60000 65536"/>
                <a:gd name="T17" fmla="*/ 0 60000 65536"/>
                <a:gd name="T18" fmla="*/ 0 60000 65536"/>
                <a:gd name="T19" fmla="*/ 0 60000 65536"/>
                <a:gd name="T20" fmla="*/ 0 60000 65536"/>
                <a:gd name="T21" fmla="*/ 0 w 30"/>
                <a:gd name="T22" fmla="*/ 0 h 18"/>
                <a:gd name="T23" fmla="*/ 30 w 30"/>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8">
                  <a:moveTo>
                    <a:pt x="30" y="0"/>
                  </a:moveTo>
                  <a:lnTo>
                    <a:pt x="11" y="5"/>
                  </a:lnTo>
                  <a:lnTo>
                    <a:pt x="0" y="10"/>
                  </a:lnTo>
                  <a:lnTo>
                    <a:pt x="6" y="18"/>
                  </a:lnTo>
                  <a:lnTo>
                    <a:pt x="23" y="12"/>
                  </a:lnTo>
                  <a:lnTo>
                    <a:pt x="22" y="9"/>
                  </a:lnTo>
                  <a:lnTo>
                    <a:pt x="30"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3" name="Freeform 84">
              <a:extLst>
                <a:ext uri="{FF2B5EF4-FFF2-40B4-BE49-F238E27FC236}">
                  <a16:creationId xmlns:a16="http://schemas.microsoft.com/office/drawing/2014/main" id="{E98EEC5B-C687-1040-CB9C-CABF4344C5E5}"/>
                </a:ext>
              </a:extLst>
            </p:cNvPr>
            <p:cNvSpPr>
              <a:spLocks/>
            </p:cNvSpPr>
            <p:nvPr/>
          </p:nvSpPr>
          <p:spPr bwMode="auto">
            <a:xfrm>
              <a:off x="5313147" y="2735254"/>
              <a:ext cx="39979" cy="53152"/>
            </a:xfrm>
            <a:custGeom>
              <a:avLst/>
              <a:gdLst>
                <a:gd name="T0" fmla="*/ 4083 w 21"/>
                <a:gd name="T1" fmla="*/ 555036 h 27"/>
                <a:gd name="T2" fmla="*/ 2033 w 21"/>
                <a:gd name="T3" fmla="*/ 974948 h 27"/>
                <a:gd name="T4" fmla="*/ 0 w 21"/>
                <a:gd name="T5" fmla="*/ 1081518 h 27"/>
                <a:gd name="T6" fmla="*/ 1371 w 21"/>
                <a:gd name="T7" fmla="*/ 555036 h 27"/>
                <a:gd name="T8" fmla="*/ 2420 w 21"/>
                <a:gd name="T9" fmla="*/ 0 h 27"/>
                <a:gd name="T10" fmla="*/ 4861 w 21"/>
                <a:gd name="T11" fmla="*/ 153360 h 27"/>
                <a:gd name="T12" fmla="*/ 4083 w 21"/>
                <a:gd name="T13" fmla="*/ 555036 h 27"/>
                <a:gd name="T14" fmla="*/ 0 60000 65536"/>
                <a:gd name="T15" fmla="*/ 0 60000 65536"/>
                <a:gd name="T16" fmla="*/ 0 60000 65536"/>
                <a:gd name="T17" fmla="*/ 0 60000 65536"/>
                <a:gd name="T18" fmla="*/ 0 60000 65536"/>
                <a:gd name="T19" fmla="*/ 0 60000 65536"/>
                <a:gd name="T20" fmla="*/ 0 60000 65536"/>
                <a:gd name="T21" fmla="*/ 0 w 21"/>
                <a:gd name="T22" fmla="*/ 0 h 27"/>
                <a:gd name="T23" fmla="*/ 21 w 21"/>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7">
                  <a:moveTo>
                    <a:pt x="18" y="14"/>
                  </a:moveTo>
                  <a:lnTo>
                    <a:pt x="9" y="24"/>
                  </a:lnTo>
                  <a:lnTo>
                    <a:pt x="0" y="27"/>
                  </a:lnTo>
                  <a:lnTo>
                    <a:pt x="6" y="14"/>
                  </a:lnTo>
                  <a:lnTo>
                    <a:pt x="11" y="0"/>
                  </a:lnTo>
                  <a:lnTo>
                    <a:pt x="21" y="4"/>
                  </a:lnTo>
                  <a:lnTo>
                    <a:pt x="18" y="1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4" name="Freeform 85">
              <a:extLst>
                <a:ext uri="{FF2B5EF4-FFF2-40B4-BE49-F238E27FC236}">
                  <a16:creationId xmlns:a16="http://schemas.microsoft.com/office/drawing/2014/main" id="{043A9C5C-E4CA-BEE7-978B-D259BA6936E4}"/>
                </a:ext>
              </a:extLst>
            </p:cNvPr>
            <p:cNvSpPr>
              <a:spLocks/>
            </p:cNvSpPr>
            <p:nvPr/>
          </p:nvSpPr>
          <p:spPr bwMode="auto">
            <a:xfrm>
              <a:off x="5329138" y="2644138"/>
              <a:ext cx="174308" cy="174642"/>
            </a:xfrm>
            <a:custGeom>
              <a:avLst/>
              <a:gdLst>
                <a:gd name="T0" fmla="*/ 15619 w 91"/>
                <a:gd name="T1" fmla="*/ 360221 h 87"/>
                <a:gd name="T2" fmla="*/ 9681 w 91"/>
                <a:gd name="T3" fmla="*/ 360221 h 87"/>
                <a:gd name="T4" fmla="*/ 3789 w 91"/>
                <a:gd name="T5" fmla="*/ 517559 h 87"/>
                <a:gd name="T6" fmla="*/ 1842 w 91"/>
                <a:gd name="T7" fmla="*/ 743619 h 87"/>
                <a:gd name="T8" fmla="*/ 1842 w 91"/>
                <a:gd name="T9" fmla="*/ 1248009 h 87"/>
                <a:gd name="T10" fmla="*/ 1 w 91"/>
                <a:gd name="T11" fmla="*/ 1748645 h 87"/>
                <a:gd name="T12" fmla="*/ 0 w 91"/>
                <a:gd name="T13" fmla="*/ 1580681 h 87"/>
                <a:gd name="T14" fmla="*/ 895 w 91"/>
                <a:gd name="T15" fmla="*/ 3426420 h 87"/>
                <a:gd name="T16" fmla="*/ 3789 w 91"/>
                <a:gd name="T17" fmla="*/ 3701604 h 87"/>
                <a:gd name="T18" fmla="*/ 2642 w 91"/>
                <a:gd name="T19" fmla="*/ 4469394 h 87"/>
                <a:gd name="T20" fmla="*/ 1 w 91"/>
                <a:gd name="T21" fmla="*/ 5207080 h 87"/>
                <a:gd name="T22" fmla="*/ 1 w 91"/>
                <a:gd name="T23" fmla="*/ 6057851 h 87"/>
                <a:gd name="T24" fmla="*/ 5439 w 91"/>
                <a:gd name="T25" fmla="*/ 6597024 h 87"/>
                <a:gd name="T26" fmla="*/ 9348 w 91"/>
                <a:gd name="T27" fmla="*/ 5827747 h 87"/>
                <a:gd name="T28" fmla="*/ 12601 w 91"/>
                <a:gd name="T29" fmla="*/ 5186491 h 87"/>
                <a:gd name="T30" fmla="*/ 17200 w 91"/>
                <a:gd name="T31" fmla="*/ 4359879 h 87"/>
                <a:gd name="T32" fmla="*/ 20801 w 91"/>
                <a:gd name="T33" fmla="*/ 3701604 h 87"/>
                <a:gd name="T34" fmla="*/ 20801 w 91"/>
                <a:gd name="T35" fmla="*/ 2409547 h 87"/>
                <a:gd name="T36" fmla="*/ 20801 w 91"/>
                <a:gd name="T37" fmla="*/ 1068418 h 87"/>
                <a:gd name="T38" fmla="*/ 24611 w 91"/>
                <a:gd name="T39" fmla="*/ 1 h 87"/>
                <a:gd name="T40" fmla="*/ 23557 w 91"/>
                <a:gd name="T41" fmla="*/ 0 h 87"/>
                <a:gd name="T42" fmla="*/ 19243 w 91"/>
                <a:gd name="T43" fmla="*/ 232168 h 87"/>
                <a:gd name="T44" fmla="*/ 15619 w 91"/>
                <a:gd name="T45" fmla="*/ 360221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1"/>
                <a:gd name="T70" fmla="*/ 0 h 87"/>
                <a:gd name="T71" fmla="*/ 91 w 91"/>
                <a:gd name="T72" fmla="*/ 87 h 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1" h="87">
                  <a:moveTo>
                    <a:pt x="58" y="5"/>
                  </a:moveTo>
                  <a:lnTo>
                    <a:pt x="36" y="5"/>
                  </a:lnTo>
                  <a:lnTo>
                    <a:pt x="13" y="7"/>
                  </a:lnTo>
                  <a:lnTo>
                    <a:pt x="7" y="10"/>
                  </a:lnTo>
                  <a:lnTo>
                    <a:pt x="7" y="17"/>
                  </a:lnTo>
                  <a:lnTo>
                    <a:pt x="1" y="23"/>
                  </a:lnTo>
                  <a:lnTo>
                    <a:pt x="0" y="21"/>
                  </a:lnTo>
                  <a:lnTo>
                    <a:pt x="3" y="45"/>
                  </a:lnTo>
                  <a:lnTo>
                    <a:pt x="13" y="49"/>
                  </a:lnTo>
                  <a:lnTo>
                    <a:pt x="10" y="59"/>
                  </a:lnTo>
                  <a:lnTo>
                    <a:pt x="1" y="69"/>
                  </a:lnTo>
                  <a:lnTo>
                    <a:pt x="1" y="80"/>
                  </a:lnTo>
                  <a:lnTo>
                    <a:pt x="20" y="87"/>
                  </a:lnTo>
                  <a:lnTo>
                    <a:pt x="35" y="77"/>
                  </a:lnTo>
                  <a:lnTo>
                    <a:pt x="48" y="68"/>
                  </a:lnTo>
                  <a:lnTo>
                    <a:pt x="64" y="58"/>
                  </a:lnTo>
                  <a:lnTo>
                    <a:pt x="78" y="49"/>
                  </a:lnTo>
                  <a:lnTo>
                    <a:pt x="78" y="32"/>
                  </a:lnTo>
                  <a:lnTo>
                    <a:pt x="78" y="14"/>
                  </a:lnTo>
                  <a:lnTo>
                    <a:pt x="91" y="1"/>
                  </a:lnTo>
                  <a:lnTo>
                    <a:pt x="87" y="0"/>
                  </a:lnTo>
                  <a:lnTo>
                    <a:pt x="72" y="3"/>
                  </a:lnTo>
                  <a:lnTo>
                    <a:pt x="58" y="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5" name="Freeform 86">
              <a:extLst>
                <a:ext uri="{FF2B5EF4-FFF2-40B4-BE49-F238E27FC236}">
                  <a16:creationId xmlns:a16="http://schemas.microsoft.com/office/drawing/2014/main" id="{F401B2FF-BE5F-46DE-336B-69BB67D798C7}"/>
                </a:ext>
              </a:extLst>
            </p:cNvPr>
            <p:cNvSpPr>
              <a:spLocks/>
            </p:cNvSpPr>
            <p:nvPr/>
          </p:nvSpPr>
          <p:spPr bwMode="auto">
            <a:xfrm>
              <a:off x="5826476" y="2329784"/>
              <a:ext cx="446166" cy="309798"/>
            </a:xfrm>
            <a:custGeom>
              <a:avLst/>
              <a:gdLst>
                <a:gd name="T0" fmla="*/ 50121 w 232"/>
                <a:gd name="T1" fmla="*/ 9594407 h 154"/>
                <a:gd name="T2" fmla="*/ 43044 w 232"/>
                <a:gd name="T3" fmla="*/ 8452561 h 154"/>
                <a:gd name="T4" fmla="*/ 35346 w 232"/>
                <a:gd name="T5" fmla="*/ 7327464 h 154"/>
                <a:gd name="T6" fmla="*/ 31353 w 232"/>
                <a:gd name="T7" fmla="*/ 6916468 h 154"/>
                <a:gd name="T8" fmla="*/ 25142 w 232"/>
                <a:gd name="T9" fmla="*/ 6276630 h 154"/>
                <a:gd name="T10" fmla="*/ 21549 w 232"/>
                <a:gd name="T11" fmla="*/ 4987275 h 154"/>
                <a:gd name="T12" fmla="*/ 15871 w 232"/>
                <a:gd name="T13" fmla="*/ 3989242 h 154"/>
                <a:gd name="T14" fmla="*/ 12278 w 232"/>
                <a:gd name="T15" fmla="*/ 4987275 h 154"/>
                <a:gd name="T16" fmla="*/ 10210 w 232"/>
                <a:gd name="T17" fmla="*/ 5178454 h 154"/>
                <a:gd name="T18" fmla="*/ 11315 w 232"/>
                <a:gd name="T19" fmla="*/ 6006581 h 154"/>
                <a:gd name="T20" fmla="*/ 4926 w 232"/>
                <a:gd name="T21" fmla="*/ 5620534 h 154"/>
                <a:gd name="T22" fmla="*/ 4096 w 232"/>
                <a:gd name="T23" fmla="*/ 4468671 h 154"/>
                <a:gd name="T24" fmla="*/ 2436 w 232"/>
                <a:gd name="T25" fmla="*/ 3280825 h 154"/>
                <a:gd name="T26" fmla="*/ 1165 w 232"/>
                <a:gd name="T27" fmla="*/ 2123793 h 154"/>
                <a:gd name="T28" fmla="*/ 0 w 232"/>
                <a:gd name="T29" fmla="*/ 960693 h 154"/>
                <a:gd name="T30" fmla="*/ 5924 w 232"/>
                <a:gd name="T31" fmla="*/ 500756 h 154"/>
                <a:gd name="T32" fmla="*/ 10974 w 232"/>
                <a:gd name="T33" fmla="*/ 0 h 154"/>
                <a:gd name="T34" fmla="*/ 16570 w 232"/>
                <a:gd name="T35" fmla="*/ 718617 h 154"/>
                <a:gd name="T36" fmla="*/ 22486 w 232"/>
                <a:gd name="T37" fmla="*/ 1538723 h 154"/>
                <a:gd name="T38" fmla="*/ 26814 w 232"/>
                <a:gd name="T39" fmla="*/ 2779834 h 154"/>
                <a:gd name="T40" fmla="*/ 31353 w 232"/>
                <a:gd name="T41" fmla="*/ 2839221 h 154"/>
                <a:gd name="T42" fmla="*/ 36327 w 232"/>
                <a:gd name="T43" fmla="*/ 2839221 h 154"/>
                <a:gd name="T44" fmla="*/ 40450 w 232"/>
                <a:gd name="T45" fmla="*/ 3009392 h 154"/>
                <a:gd name="T46" fmla="*/ 45344 w 232"/>
                <a:gd name="T47" fmla="*/ 3047780 h 154"/>
                <a:gd name="T48" fmla="*/ 50121 w 232"/>
                <a:gd name="T49" fmla="*/ 3851545 h 154"/>
                <a:gd name="T50" fmla="*/ 50121 w 232"/>
                <a:gd name="T51" fmla="*/ 4896349 h 154"/>
                <a:gd name="T52" fmla="*/ 54678 w 232"/>
                <a:gd name="T53" fmla="*/ 5377765 h 154"/>
                <a:gd name="T54" fmla="*/ 59107 w 232"/>
                <a:gd name="T55" fmla="*/ 6006581 h 154"/>
                <a:gd name="T56" fmla="*/ 63179 w 232"/>
                <a:gd name="T57" fmla="*/ 5178454 h 154"/>
                <a:gd name="T58" fmla="*/ 67445 w 232"/>
                <a:gd name="T59" fmla="*/ 4468671 h 154"/>
                <a:gd name="T60" fmla="*/ 70650 w 232"/>
                <a:gd name="T61" fmla="*/ 5377765 h 154"/>
                <a:gd name="T62" fmla="*/ 67445 w 232"/>
                <a:gd name="T63" fmla="*/ 6178242 h 154"/>
                <a:gd name="T64" fmla="*/ 62744 w 232"/>
                <a:gd name="T65" fmla="*/ 7157059 h 154"/>
                <a:gd name="T66" fmla="*/ 57733 w 232"/>
                <a:gd name="T67" fmla="*/ 8065828 h 154"/>
                <a:gd name="T68" fmla="*/ 59943 w 232"/>
                <a:gd name="T69" fmla="*/ 8619832 h 154"/>
                <a:gd name="T70" fmla="*/ 63179 w 232"/>
                <a:gd name="T71" fmla="*/ 9026833 h 154"/>
                <a:gd name="T72" fmla="*/ 64589 w 232"/>
                <a:gd name="T73" fmla="*/ 9537050 h 154"/>
                <a:gd name="T74" fmla="*/ 63179 w 232"/>
                <a:gd name="T75" fmla="*/ 10431170 h 154"/>
                <a:gd name="T76" fmla="*/ 62462 w 232"/>
                <a:gd name="T77" fmla="*/ 11232636 h 154"/>
                <a:gd name="T78" fmla="*/ 57733 w 232"/>
                <a:gd name="T79" fmla="*/ 10998250 h 154"/>
                <a:gd name="T80" fmla="*/ 53242 w 232"/>
                <a:gd name="T81" fmla="*/ 10943907 h 154"/>
                <a:gd name="T82" fmla="*/ 50121 w 232"/>
                <a:gd name="T83" fmla="*/ 9594407 h 15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2"/>
                <a:gd name="T127" fmla="*/ 0 h 154"/>
                <a:gd name="T128" fmla="*/ 232 w 232"/>
                <a:gd name="T129" fmla="*/ 154 h 15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2" h="154">
                  <a:moveTo>
                    <a:pt x="165" y="132"/>
                  </a:moveTo>
                  <a:lnTo>
                    <a:pt x="141" y="116"/>
                  </a:lnTo>
                  <a:lnTo>
                    <a:pt x="116" y="100"/>
                  </a:lnTo>
                  <a:lnTo>
                    <a:pt x="103" y="95"/>
                  </a:lnTo>
                  <a:lnTo>
                    <a:pt x="83" y="86"/>
                  </a:lnTo>
                  <a:lnTo>
                    <a:pt x="71" y="68"/>
                  </a:lnTo>
                  <a:lnTo>
                    <a:pt x="52" y="55"/>
                  </a:lnTo>
                  <a:lnTo>
                    <a:pt x="40" y="68"/>
                  </a:lnTo>
                  <a:lnTo>
                    <a:pt x="33" y="71"/>
                  </a:lnTo>
                  <a:lnTo>
                    <a:pt x="37" y="82"/>
                  </a:lnTo>
                  <a:lnTo>
                    <a:pt x="16" y="77"/>
                  </a:lnTo>
                  <a:lnTo>
                    <a:pt x="13" y="61"/>
                  </a:lnTo>
                  <a:lnTo>
                    <a:pt x="8" y="45"/>
                  </a:lnTo>
                  <a:lnTo>
                    <a:pt x="4" y="29"/>
                  </a:lnTo>
                  <a:lnTo>
                    <a:pt x="0" y="13"/>
                  </a:lnTo>
                  <a:lnTo>
                    <a:pt x="19" y="7"/>
                  </a:lnTo>
                  <a:lnTo>
                    <a:pt x="36" y="0"/>
                  </a:lnTo>
                  <a:lnTo>
                    <a:pt x="55" y="10"/>
                  </a:lnTo>
                  <a:lnTo>
                    <a:pt x="74" y="21"/>
                  </a:lnTo>
                  <a:lnTo>
                    <a:pt x="88" y="38"/>
                  </a:lnTo>
                  <a:lnTo>
                    <a:pt x="103" y="39"/>
                  </a:lnTo>
                  <a:lnTo>
                    <a:pt x="119" y="39"/>
                  </a:lnTo>
                  <a:lnTo>
                    <a:pt x="133" y="41"/>
                  </a:lnTo>
                  <a:lnTo>
                    <a:pt x="149" y="42"/>
                  </a:lnTo>
                  <a:lnTo>
                    <a:pt x="165" y="53"/>
                  </a:lnTo>
                  <a:lnTo>
                    <a:pt x="165" y="67"/>
                  </a:lnTo>
                  <a:lnTo>
                    <a:pt x="180" y="74"/>
                  </a:lnTo>
                  <a:lnTo>
                    <a:pt x="194" y="82"/>
                  </a:lnTo>
                  <a:lnTo>
                    <a:pt x="207" y="71"/>
                  </a:lnTo>
                  <a:lnTo>
                    <a:pt x="221" y="61"/>
                  </a:lnTo>
                  <a:lnTo>
                    <a:pt x="232" y="74"/>
                  </a:lnTo>
                  <a:lnTo>
                    <a:pt x="221" y="84"/>
                  </a:lnTo>
                  <a:lnTo>
                    <a:pt x="206" y="98"/>
                  </a:lnTo>
                  <a:lnTo>
                    <a:pt x="190" y="111"/>
                  </a:lnTo>
                  <a:lnTo>
                    <a:pt x="197" y="118"/>
                  </a:lnTo>
                  <a:lnTo>
                    <a:pt x="207" y="124"/>
                  </a:lnTo>
                  <a:lnTo>
                    <a:pt x="212" y="131"/>
                  </a:lnTo>
                  <a:lnTo>
                    <a:pt x="207" y="143"/>
                  </a:lnTo>
                  <a:lnTo>
                    <a:pt x="205" y="154"/>
                  </a:lnTo>
                  <a:lnTo>
                    <a:pt x="190" y="151"/>
                  </a:lnTo>
                  <a:lnTo>
                    <a:pt x="175" y="150"/>
                  </a:lnTo>
                  <a:lnTo>
                    <a:pt x="165" y="13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6" name="Freeform 87">
              <a:extLst>
                <a:ext uri="{FF2B5EF4-FFF2-40B4-BE49-F238E27FC236}">
                  <a16:creationId xmlns:a16="http://schemas.microsoft.com/office/drawing/2014/main" id="{F5544B9D-E3EF-CECE-9243-295F203E9262}"/>
                </a:ext>
              </a:extLst>
            </p:cNvPr>
            <p:cNvSpPr>
              <a:spLocks/>
            </p:cNvSpPr>
            <p:nvPr/>
          </p:nvSpPr>
          <p:spPr bwMode="auto">
            <a:xfrm>
              <a:off x="4866980" y="2457348"/>
              <a:ext cx="70363" cy="53151"/>
            </a:xfrm>
            <a:custGeom>
              <a:avLst/>
              <a:gdLst>
                <a:gd name="T0" fmla="*/ 4937 w 36"/>
                <a:gd name="T1" fmla="*/ 3376748 h 26"/>
                <a:gd name="T2" fmla="*/ 0 w 36"/>
                <a:gd name="T3" fmla="*/ 913970 h 26"/>
                <a:gd name="T4" fmla="*/ 1608 w 36"/>
                <a:gd name="T5" fmla="*/ 797242 h 26"/>
                <a:gd name="T6" fmla="*/ 1965 w 36"/>
                <a:gd name="T7" fmla="*/ 545481 h 26"/>
                <a:gd name="T8" fmla="*/ 4385 w 36"/>
                <a:gd name="T9" fmla="*/ 373224 h 26"/>
                <a:gd name="T10" fmla="*/ 6034 w 36"/>
                <a:gd name="T11" fmla="*/ 545481 h 26"/>
                <a:gd name="T12" fmla="*/ 6550 w 36"/>
                <a:gd name="T13" fmla="*/ 255364 h 26"/>
                <a:gd name="T14" fmla="*/ 8006 w 36"/>
                <a:gd name="T15" fmla="*/ 255364 h 26"/>
                <a:gd name="T16" fmla="*/ 9403 w 36"/>
                <a:gd name="T17" fmla="*/ 255364 h 26"/>
                <a:gd name="T18" fmla="*/ 9785 w 36"/>
                <a:gd name="T19" fmla="*/ 255364 h 26"/>
                <a:gd name="T20" fmla="*/ 13365 w 36"/>
                <a:gd name="T21" fmla="*/ 0 h 26"/>
                <a:gd name="T22" fmla="*/ 14617 w 36"/>
                <a:gd name="T23" fmla="*/ 373224 h 26"/>
                <a:gd name="T24" fmla="*/ 16335 w 36"/>
                <a:gd name="T25" fmla="*/ 255364 h 26"/>
                <a:gd name="T26" fmla="*/ 17865 w 36"/>
                <a:gd name="T27" fmla="*/ 545481 h 26"/>
                <a:gd name="T28" fmla="*/ 18286 w 36"/>
                <a:gd name="T29" fmla="*/ 2310407 h 26"/>
                <a:gd name="T30" fmla="*/ 4937 w 36"/>
                <a:gd name="T31" fmla="*/ 3376748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26"/>
                <a:gd name="T50" fmla="*/ 36 w 36"/>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26">
                  <a:moveTo>
                    <a:pt x="10" y="26"/>
                  </a:moveTo>
                  <a:lnTo>
                    <a:pt x="0" y="7"/>
                  </a:lnTo>
                  <a:lnTo>
                    <a:pt x="3" y="6"/>
                  </a:lnTo>
                  <a:lnTo>
                    <a:pt x="4" y="4"/>
                  </a:lnTo>
                  <a:lnTo>
                    <a:pt x="9" y="3"/>
                  </a:lnTo>
                  <a:lnTo>
                    <a:pt x="12" y="4"/>
                  </a:lnTo>
                  <a:lnTo>
                    <a:pt x="13" y="2"/>
                  </a:lnTo>
                  <a:lnTo>
                    <a:pt x="16" y="2"/>
                  </a:lnTo>
                  <a:lnTo>
                    <a:pt x="19" y="2"/>
                  </a:lnTo>
                  <a:lnTo>
                    <a:pt x="20" y="2"/>
                  </a:lnTo>
                  <a:lnTo>
                    <a:pt x="26" y="0"/>
                  </a:lnTo>
                  <a:lnTo>
                    <a:pt x="29" y="3"/>
                  </a:lnTo>
                  <a:lnTo>
                    <a:pt x="32" y="2"/>
                  </a:lnTo>
                  <a:lnTo>
                    <a:pt x="35" y="4"/>
                  </a:lnTo>
                  <a:lnTo>
                    <a:pt x="36" y="18"/>
                  </a:lnTo>
                  <a:lnTo>
                    <a:pt x="10" y="2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7" name="Freeform 88">
              <a:extLst>
                <a:ext uri="{FF2B5EF4-FFF2-40B4-BE49-F238E27FC236}">
                  <a16:creationId xmlns:a16="http://schemas.microsoft.com/office/drawing/2014/main" id="{6E87B83C-8B53-8FB9-9F2A-25456EA5AA69}"/>
                </a:ext>
              </a:extLst>
            </p:cNvPr>
            <p:cNvSpPr>
              <a:spLocks/>
            </p:cNvSpPr>
            <p:nvPr/>
          </p:nvSpPr>
          <p:spPr bwMode="auto">
            <a:xfrm>
              <a:off x="4921352" y="2389010"/>
              <a:ext cx="163114" cy="106303"/>
            </a:xfrm>
            <a:custGeom>
              <a:avLst/>
              <a:gdLst>
                <a:gd name="T0" fmla="*/ 1109 w 85"/>
                <a:gd name="T1" fmla="*/ 460229 h 53"/>
                <a:gd name="T2" fmla="*/ 1 w 85"/>
                <a:gd name="T3" fmla="*/ 0 h 53"/>
                <a:gd name="T4" fmla="*/ 0 w 85"/>
                <a:gd name="T5" fmla="*/ 818182 h 53"/>
                <a:gd name="T6" fmla="*/ 1331 w 85"/>
                <a:gd name="T7" fmla="*/ 1600233 h 53"/>
                <a:gd name="T8" fmla="*/ 0 w 85"/>
                <a:gd name="T9" fmla="*/ 2171263 h 53"/>
                <a:gd name="T10" fmla="*/ 1109 w 85"/>
                <a:gd name="T11" fmla="*/ 2629263 h 53"/>
                <a:gd name="T12" fmla="*/ 1916 w 85"/>
                <a:gd name="T13" fmla="*/ 2790376 h 53"/>
                <a:gd name="T14" fmla="*/ 2299 w 85"/>
                <a:gd name="T15" fmla="*/ 3770263 h 53"/>
                <a:gd name="T16" fmla="*/ 6866 w 85"/>
                <a:gd name="T17" fmla="*/ 3571900 h 53"/>
                <a:gd name="T18" fmla="*/ 14237 w 85"/>
                <a:gd name="T19" fmla="*/ 3770263 h 53"/>
                <a:gd name="T20" fmla="*/ 15840 w 85"/>
                <a:gd name="T21" fmla="*/ 3438805 h 53"/>
                <a:gd name="T22" fmla="*/ 16632 w 85"/>
                <a:gd name="T23" fmla="*/ 3222759 h 53"/>
                <a:gd name="T24" fmla="*/ 17308 w 85"/>
                <a:gd name="T25" fmla="*/ 2959193 h 53"/>
                <a:gd name="T26" fmla="*/ 23414 w 85"/>
                <a:gd name="T27" fmla="*/ 2946584 h 53"/>
                <a:gd name="T28" fmla="*/ 21434 w 85"/>
                <a:gd name="T29" fmla="*/ 2412477 h 53"/>
                <a:gd name="T30" fmla="*/ 22394 w 85"/>
                <a:gd name="T31" fmla="*/ 1833565 h 53"/>
                <a:gd name="T32" fmla="*/ 23414 w 85"/>
                <a:gd name="T33" fmla="*/ 1131015 h 53"/>
                <a:gd name="T34" fmla="*/ 23959 w 85"/>
                <a:gd name="T35" fmla="*/ 659951 h 53"/>
                <a:gd name="T36" fmla="*/ 16632 w 85"/>
                <a:gd name="T37" fmla="*/ 223820 h 53"/>
                <a:gd name="T38" fmla="*/ 10211 w 85"/>
                <a:gd name="T39" fmla="*/ 699878 h 53"/>
                <a:gd name="T40" fmla="*/ 5722 w 85"/>
                <a:gd name="T41" fmla="*/ 550038 h 53"/>
                <a:gd name="T42" fmla="*/ 1109 w 85"/>
                <a:gd name="T43" fmla="*/ 460229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53"/>
                <a:gd name="T68" fmla="*/ 85 w 85"/>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53">
                  <a:moveTo>
                    <a:pt x="4" y="6"/>
                  </a:moveTo>
                  <a:lnTo>
                    <a:pt x="1" y="0"/>
                  </a:lnTo>
                  <a:lnTo>
                    <a:pt x="0" y="12"/>
                  </a:lnTo>
                  <a:lnTo>
                    <a:pt x="5" y="22"/>
                  </a:lnTo>
                  <a:lnTo>
                    <a:pt x="0" y="31"/>
                  </a:lnTo>
                  <a:lnTo>
                    <a:pt x="4" y="37"/>
                  </a:lnTo>
                  <a:lnTo>
                    <a:pt x="7" y="39"/>
                  </a:lnTo>
                  <a:lnTo>
                    <a:pt x="8" y="53"/>
                  </a:lnTo>
                  <a:lnTo>
                    <a:pt x="24" y="50"/>
                  </a:lnTo>
                  <a:lnTo>
                    <a:pt x="50" y="53"/>
                  </a:lnTo>
                  <a:lnTo>
                    <a:pt x="56" y="48"/>
                  </a:lnTo>
                  <a:lnTo>
                    <a:pt x="58" y="45"/>
                  </a:lnTo>
                  <a:lnTo>
                    <a:pt x="61" y="42"/>
                  </a:lnTo>
                  <a:lnTo>
                    <a:pt x="82" y="41"/>
                  </a:lnTo>
                  <a:lnTo>
                    <a:pt x="75" y="34"/>
                  </a:lnTo>
                  <a:lnTo>
                    <a:pt x="78" y="26"/>
                  </a:lnTo>
                  <a:lnTo>
                    <a:pt x="82" y="16"/>
                  </a:lnTo>
                  <a:lnTo>
                    <a:pt x="85" y="9"/>
                  </a:lnTo>
                  <a:lnTo>
                    <a:pt x="58" y="3"/>
                  </a:lnTo>
                  <a:lnTo>
                    <a:pt x="36" y="10"/>
                  </a:lnTo>
                  <a:lnTo>
                    <a:pt x="20" y="8"/>
                  </a:lnTo>
                  <a:lnTo>
                    <a:pt x="4" y="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8" name="Freeform 89">
              <a:extLst>
                <a:ext uri="{FF2B5EF4-FFF2-40B4-BE49-F238E27FC236}">
                  <a16:creationId xmlns:a16="http://schemas.microsoft.com/office/drawing/2014/main" id="{7F389539-D98F-FEAF-FF5B-8DDE1B605CBB}"/>
                </a:ext>
              </a:extLst>
            </p:cNvPr>
            <p:cNvSpPr>
              <a:spLocks/>
            </p:cNvSpPr>
            <p:nvPr/>
          </p:nvSpPr>
          <p:spPr bwMode="auto">
            <a:xfrm>
              <a:off x="4839795" y="2449755"/>
              <a:ext cx="47975" cy="103266"/>
            </a:xfrm>
            <a:custGeom>
              <a:avLst/>
              <a:gdLst>
                <a:gd name="T0" fmla="*/ 0 w 25"/>
                <a:gd name="T1" fmla="*/ 749279 h 51"/>
                <a:gd name="T2" fmla="*/ 924 w 25"/>
                <a:gd name="T3" fmla="*/ 2446495 h 51"/>
                <a:gd name="T4" fmla="*/ 3869 w 25"/>
                <a:gd name="T5" fmla="*/ 3425541 h 51"/>
                <a:gd name="T6" fmla="*/ 4643 w 25"/>
                <a:gd name="T7" fmla="*/ 3092916 h 51"/>
                <a:gd name="T8" fmla="*/ 7091 w 25"/>
                <a:gd name="T9" fmla="*/ 2045054 h 51"/>
                <a:gd name="T10" fmla="*/ 4231 w 25"/>
                <a:gd name="T11" fmla="*/ 749279 h 51"/>
                <a:gd name="T12" fmla="*/ 3311 w 25"/>
                <a:gd name="T13" fmla="*/ 215237 h 51"/>
                <a:gd name="T14" fmla="*/ 2 w 25"/>
                <a:gd name="T15" fmla="*/ 0 h 51"/>
                <a:gd name="T16" fmla="*/ 0 w 25"/>
                <a:gd name="T17" fmla="*/ 749279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51"/>
                <a:gd name="T29" fmla="*/ 25 w 25"/>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51">
                  <a:moveTo>
                    <a:pt x="0" y="11"/>
                  </a:moveTo>
                  <a:lnTo>
                    <a:pt x="3" y="36"/>
                  </a:lnTo>
                  <a:lnTo>
                    <a:pt x="13" y="51"/>
                  </a:lnTo>
                  <a:lnTo>
                    <a:pt x="16" y="46"/>
                  </a:lnTo>
                  <a:lnTo>
                    <a:pt x="25" y="30"/>
                  </a:lnTo>
                  <a:lnTo>
                    <a:pt x="15" y="11"/>
                  </a:lnTo>
                  <a:lnTo>
                    <a:pt x="12" y="3"/>
                  </a:lnTo>
                  <a:lnTo>
                    <a:pt x="2" y="0"/>
                  </a:lnTo>
                  <a:lnTo>
                    <a:pt x="0" y="1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49" name="Freeform 90">
              <a:extLst>
                <a:ext uri="{FF2B5EF4-FFF2-40B4-BE49-F238E27FC236}">
                  <a16:creationId xmlns:a16="http://schemas.microsoft.com/office/drawing/2014/main" id="{F08F796A-1311-B8E7-6109-1D92FDD78101}"/>
                </a:ext>
              </a:extLst>
            </p:cNvPr>
            <p:cNvSpPr>
              <a:spLocks/>
            </p:cNvSpPr>
            <p:nvPr/>
          </p:nvSpPr>
          <p:spPr bwMode="auto">
            <a:xfrm>
              <a:off x="5490653" y="2484683"/>
              <a:ext cx="127932" cy="89598"/>
            </a:xfrm>
            <a:custGeom>
              <a:avLst/>
              <a:gdLst>
                <a:gd name="T0" fmla="*/ 2213 w 67"/>
                <a:gd name="T1" fmla="*/ 379696 h 45"/>
                <a:gd name="T2" fmla="*/ 0 w 67"/>
                <a:gd name="T3" fmla="*/ 0 h 45"/>
                <a:gd name="T4" fmla="*/ 5136 w 67"/>
                <a:gd name="T5" fmla="*/ 0 h 45"/>
                <a:gd name="T6" fmla="*/ 10393 w 67"/>
                <a:gd name="T7" fmla="*/ 0 h 45"/>
                <a:gd name="T8" fmla="*/ 13947 w 67"/>
                <a:gd name="T9" fmla="*/ 174403 h 45"/>
                <a:gd name="T10" fmla="*/ 13801 w 67"/>
                <a:gd name="T11" fmla="*/ 1042008 h 45"/>
                <a:gd name="T12" fmla="*/ 15414 w 67"/>
                <a:gd name="T13" fmla="*/ 1213037 h 45"/>
                <a:gd name="T14" fmla="*/ 13947 w 67"/>
                <a:gd name="T15" fmla="*/ 1553481 h 45"/>
                <a:gd name="T16" fmla="*/ 16479 w 67"/>
                <a:gd name="T17" fmla="*/ 2321324 h 45"/>
                <a:gd name="T18" fmla="*/ 14886 w 67"/>
                <a:gd name="T19" fmla="*/ 2467275 h 45"/>
                <a:gd name="T20" fmla="*/ 13947 w 67"/>
                <a:gd name="T21" fmla="*/ 2321324 h 45"/>
                <a:gd name="T22" fmla="*/ 13801 w 67"/>
                <a:gd name="T23" fmla="*/ 2132076 h 45"/>
                <a:gd name="T24" fmla="*/ 12909 w 67"/>
                <a:gd name="T25" fmla="*/ 2052703 h 45"/>
                <a:gd name="T26" fmla="*/ 11681 w 67"/>
                <a:gd name="T27" fmla="*/ 2052703 h 45"/>
                <a:gd name="T28" fmla="*/ 10811 w 67"/>
                <a:gd name="T29" fmla="*/ 2052703 h 45"/>
                <a:gd name="T30" fmla="*/ 9783 w 67"/>
                <a:gd name="T31" fmla="*/ 1864735 h 45"/>
                <a:gd name="T32" fmla="*/ 8389 w 67"/>
                <a:gd name="T33" fmla="*/ 1864735 h 45"/>
                <a:gd name="T34" fmla="*/ 5319 w 67"/>
                <a:gd name="T35" fmla="*/ 1553481 h 45"/>
                <a:gd name="T36" fmla="*/ 3602 w 67"/>
                <a:gd name="T37" fmla="*/ 1014825 h 45"/>
                <a:gd name="T38" fmla="*/ 2213 w 67"/>
                <a:gd name="T39" fmla="*/ 379696 h 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7"/>
                <a:gd name="T61" fmla="*/ 0 h 45"/>
                <a:gd name="T62" fmla="*/ 67 w 67"/>
                <a:gd name="T63" fmla="*/ 45 h 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7" h="45">
                  <a:moveTo>
                    <a:pt x="9" y="7"/>
                  </a:moveTo>
                  <a:lnTo>
                    <a:pt x="0" y="0"/>
                  </a:lnTo>
                  <a:lnTo>
                    <a:pt x="21" y="0"/>
                  </a:lnTo>
                  <a:lnTo>
                    <a:pt x="42" y="0"/>
                  </a:lnTo>
                  <a:lnTo>
                    <a:pt x="57" y="3"/>
                  </a:lnTo>
                  <a:lnTo>
                    <a:pt x="56" y="19"/>
                  </a:lnTo>
                  <a:lnTo>
                    <a:pt x="63" y="22"/>
                  </a:lnTo>
                  <a:lnTo>
                    <a:pt x="57" y="28"/>
                  </a:lnTo>
                  <a:lnTo>
                    <a:pt x="67" y="42"/>
                  </a:lnTo>
                  <a:lnTo>
                    <a:pt x="61" y="45"/>
                  </a:lnTo>
                  <a:lnTo>
                    <a:pt x="57" y="42"/>
                  </a:lnTo>
                  <a:lnTo>
                    <a:pt x="56" y="39"/>
                  </a:lnTo>
                  <a:lnTo>
                    <a:pt x="53" y="37"/>
                  </a:lnTo>
                  <a:lnTo>
                    <a:pt x="48" y="37"/>
                  </a:lnTo>
                  <a:lnTo>
                    <a:pt x="44" y="37"/>
                  </a:lnTo>
                  <a:lnTo>
                    <a:pt x="40" y="34"/>
                  </a:lnTo>
                  <a:lnTo>
                    <a:pt x="34" y="34"/>
                  </a:lnTo>
                  <a:lnTo>
                    <a:pt x="22" y="28"/>
                  </a:lnTo>
                  <a:lnTo>
                    <a:pt x="15" y="18"/>
                  </a:lnTo>
                  <a:lnTo>
                    <a:pt x="9"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0" name="Freeform 91">
              <a:extLst>
                <a:ext uri="{FF2B5EF4-FFF2-40B4-BE49-F238E27FC236}">
                  <a16:creationId xmlns:a16="http://schemas.microsoft.com/office/drawing/2014/main" id="{E86ABAC1-CF55-3C3A-C582-426E0B22F63A}"/>
                </a:ext>
              </a:extLst>
            </p:cNvPr>
            <p:cNvSpPr>
              <a:spLocks/>
            </p:cNvSpPr>
            <p:nvPr/>
          </p:nvSpPr>
          <p:spPr bwMode="auto">
            <a:xfrm>
              <a:off x="5599395" y="2472534"/>
              <a:ext cx="110342" cy="123008"/>
            </a:xfrm>
            <a:custGeom>
              <a:avLst/>
              <a:gdLst>
                <a:gd name="T0" fmla="*/ 2376 w 58"/>
                <a:gd name="T1" fmla="*/ 4128003 h 61"/>
                <a:gd name="T2" fmla="*/ 1 w 58"/>
                <a:gd name="T3" fmla="*/ 2910679 h 61"/>
                <a:gd name="T4" fmla="*/ 1601 w 58"/>
                <a:gd name="T5" fmla="*/ 2400868 h 61"/>
                <a:gd name="T6" fmla="*/ 0 w 58"/>
                <a:gd name="T7" fmla="*/ 2148252 h 61"/>
                <a:gd name="T8" fmla="*/ 1 w 58"/>
                <a:gd name="T9" fmla="*/ 774319 h 61"/>
                <a:gd name="T10" fmla="*/ 1131 w 58"/>
                <a:gd name="T11" fmla="*/ 0 h 61"/>
                <a:gd name="T12" fmla="*/ 6737 w 58"/>
                <a:gd name="T13" fmla="*/ 402453 h 61"/>
                <a:gd name="T14" fmla="*/ 8416 w 58"/>
                <a:gd name="T15" fmla="*/ 1374932 h 61"/>
                <a:gd name="T16" fmla="*/ 12707 w 58"/>
                <a:gd name="T17" fmla="*/ 2400868 h 61"/>
                <a:gd name="T18" fmla="*/ 10681 w 58"/>
                <a:gd name="T19" fmla="*/ 2514664 h 61"/>
                <a:gd name="T20" fmla="*/ 9760 w 58"/>
                <a:gd name="T21" fmla="*/ 4282992 h 61"/>
                <a:gd name="T22" fmla="*/ 9535 w 58"/>
                <a:gd name="T23" fmla="*/ 5233421 h 61"/>
                <a:gd name="T24" fmla="*/ 6424 w 58"/>
                <a:gd name="T25" fmla="*/ 4535616 h 61"/>
                <a:gd name="T26" fmla="*/ 6896 w 58"/>
                <a:gd name="T27" fmla="*/ 4282992 h 61"/>
                <a:gd name="T28" fmla="*/ 5797 w 58"/>
                <a:gd name="T29" fmla="*/ 3463548 h 61"/>
                <a:gd name="T30" fmla="*/ 2376 w 58"/>
                <a:gd name="T31" fmla="*/ 4128003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61"/>
                <a:gd name="T50" fmla="*/ 58 w 58"/>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61">
                  <a:moveTo>
                    <a:pt x="11" y="48"/>
                  </a:moveTo>
                  <a:lnTo>
                    <a:pt x="1" y="34"/>
                  </a:lnTo>
                  <a:lnTo>
                    <a:pt x="7" y="28"/>
                  </a:lnTo>
                  <a:lnTo>
                    <a:pt x="0" y="25"/>
                  </a:lnTo>
                  <a:lnTo>
                    <a:pt x="1" y="9"/>
                  </a:lnTo>
                  <a:lnTo>
                    <a:pt x="5" y="0"/>
                  </a:lnTo>
                  <a:lnTo>
                    <a:pt x="30" y="5"/>
                  </a:lnTo>
                  <a:lnTo>
                    <a:pt x="39" y="16"/>
                  </a:lnTo>
                  <a:lnTo>
                    <a:pt x="58" y="28"/>
                  </a:lnTo>
                  <a:lnTo>
                    <a:pt x="49" y="29"/>
                  </a:lnTo>
                  <a:lnTo>
                    <a:pt x="45" y="50"/>
                  </a:lnTo>
                  <a:lnTo>
                    <a:pt x="43" y="61"/>
                  </a:lnTo>
                  <a:lnTo>
                    <a:pt x="29" y="53"/>
                  </a:lnTo>
                  <a:lnTo>
                    <a:pt x="32" y="50"/>
                  </a:lnTo>
                  <a:lnTo>
                    <a:pt x="27" y="40"/>
                  </a:lnTo>
                  <a:lnTo>
                    <a:pt x="11" y="4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1" name="Freeform 92">
              <a:extLst>
                <a:ext uri="{FF2B5EF4-FFF2-40B4-BE49-F238E27FC236}">
                  <a16:creationId xmlns:a16="http://schemas.microsoft.com/office/drawing/2014/main" id="{D82E640F-DA07-6BB9-857E-980943B249CB}"/>
                </a:ext>
              </a:extLst>
            </p:cNvPr>
            <p:cNvSpPr>
              <a:spLocks/>
            </p:cNvSpPr>
            <p:nvPr/>
          </p:nvSpPr>
          <p:spPr bwMode="auto">
            <a:xfrm>
              <a:off x="5557817" y="2553020"/>
              <a:ext cx="49575" cy="28854"/>
            </a:xfrm>
            <a:custGeom>
              <a:avLst/>
              <a:gdLst>
                <a:gd name="T0" fmla="*/ 6002 w 26"/>
                <a:gd name="T1" fmla="*/ 3339619 h 14"/>
                <a:gd name="T2" fmla="*/ 4962 w 26"/>
                <a:gd name="T3" fmla="*/ 4088202 h 14"/>
                <a:gd name="T4" fmla="*/ 853 w 26"/>
                <a:gd name="T5" fmla="*/ 1211319 h 14"/>
                <a:gd name="T6" fmla="*/ 0 w 26"/>
                <a:gd name="T7" fmla="*/ 465870 h 14"/>
                <a:gd name="T8" fmla="*/ 0 w 26"/>
                <a:gd name="T9" fmla="*/ 0 h 14"/>
                <a:gd name="T10" fmla="*/ 1213 w 26"/>
                <a:gd name="T11" fmla="*/ 0 h 14"/>
                <a:gd name="T12" fmla="*/ 2171 w 26"/>
                <a:gd name="T13" fmla="*/ 1048208 h 14"/>
                <a:gd name="T14" fmla="*/ 3087 w 26"/>
                <a:gd name="T15" fmla="*/ 1048208 h 14"/>
                <a:gd name="T16" fmla="*/ 4162 w 26"/>
                <a:gd name="T17" fmla="*/ 1048208 h 14"/>
                <a:gd name="T18" fmla="*/ 4962 w 26"/>
                <a:gd name="T19" fmla="*/ 1572312 h 14"/>
                <a:gd name="T20" fmla="*/ 5034 w 26"/>
                <a:gd name="T21" fmla="*/ 2358468 h 14"/>
                <a:gd name="T22" fmla="*/ 6002 w 26"/>
                <a:gd name="T23" fmla="*/ 3339619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14"/>
                <a:gd name="T38" fmla="*/ 26 w 26"/>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14">
                  <a:moveTo>
                    <a:pt x="26" y="11"/>
                  </a:moveTo>
                  <a:lnTo>
                    <a:pt x="21" y="14"/>
                  </a:lnTo>
                  <a:lnTo>
                    <a:pt x="3" y="4"/>
                  </a:lnTo>
                  <a:lnTo>
                    <a:pt x="0" y="1"/>
                  </a:lnTo>
                  <a:lnTo>
                    <a:pt x="0" y="0"/>
                  </a:lnTo>
                  <a:lnTo>
                    <a:pt x="5" y="0"/>
                  </a:lnTo>
                  <a:lnTo>
                    <a:pt x="9" y="3"/>
                  </a:lnTo>
                  <a:lnTo>
                    <a:pt x="13" y="3"/>
                  </a:lnTo>
                  <a:lnTo>
                    <a:pt x="18" y="3"/>
                  </a:lnTo>
                  <a:lnTo>
                    <a:pt x="21" y="5"/>
                  </a:lnTo>
                  <a:lnTo>
                    <a:pt x="22" y="8"/>
                  </a:lnTo>
                  <a:lnTo>
                    <a:pt x="26" y="1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2" name="Freeform 93">
              <a:extLst>
                <a:ext uri="{FF2B5EF4-FFF2-40B4-BE49-F238E27FC236}">
                  <a16:creationId xmlns:a16="http://schemas.microsoft.com/office/drawing/2014/main" id="{1FFA199A-3716-A7D3-A0A4-B0BB90D2DB8F}"/>
                </a:ext>
              </a:extLst>
            </p:cNvPr>
            <p:cNvSpPr>
              <a:spLocks/>
            </p:cNvSpPr>
            <p:nvPr/>
          </p:nvSpPr>
          <p:spPr bwMode="auto">
            <a:xfrm>
              <a:off x="4863782" y="2478608"/>
              <a:ext cx="175908" cy="188308"/>
            </a:xfrm>
            <a:custGeom>
              <a:avLst/>
              <a:gdLst>
                <a:gd name="T0" fmla="*/ 4572 w 92"/>
                <a:gd name="T1" fmla="*/ 4140410 h 93"/>
                <a:gd name="T2" fmla="*/ 2140 w 92"/>
                <a:gd name="T3" fmla="*/ 3742286 h 93"/>
                <a:gd name="T4" fmla="*/ 0 w 92"/>
                <a:gd name="T5" fmla="*/ 3039458 h 93"/>
                <a:gd name="T6" fmla="*/ 876 w 92"/>
                <a:gd name="T7" fmla="*/ 2620939 h 93"/>
                <a:gd name="T8" fmla="*/ 3060 w 92"/>
                <a:gd name="T9" fmla="*/ 1322790 h 93"/>
                <a:gd name="T10" fmla="*/ 9664 w 92"/>
                <a:gd name="T11" fmla="*/ 666706 h 93"/>
                <a:gd name="T12" fmla="*/ 13816 w 92"/>
                <a:gd name="T13" fmla="*/ 392810 h 93"/>
                <a:gd name="T14" fmla="*/ 20437 w 92"/>
                <a:gd name="T15" fmla="*/ 666706 h 93"/>
                <a:gd name="T16" fmla="*/ 21848 w 92"/>
                <a:gd name="T17" fmla="*/ 252233 h 93"/>
                <a:gd name="T18" fmla="*/ 22415 w 92"/>
                <a:gd name="T19" fmla="*/ 0 h 93"/>
                <a:gd name="T20" fmla="*/ 23510 w 92"/>
                <a:gd name="T21" fmla="*/ 666706 h 93"/>
                <a:gd name="T22" fmla="*/ 21848 w 92"/>
                <a:gd name="T23" fmla="*/ 1464038 h 93"/>
                <a:gd name="T24" fmla="*/ 17671 w 92"/>
                <a:gd name="T25" fmla="*/ 1262447 h 93"/>
                <a:gd name="T26" fmla="*/ 13359 w 92"/>
                <a:gd name="T27" fmla="*/ 1566430 h 93"/>
                <a:gd name="T28" fmla="*/ 15283 w 92"/>
                <a:gd name="T29" fmla="*/ 2323492 h 93"/>
                <a:gd name="T30" fmla="*/ 13816 w 92"/>
                <a:gd name="T31" fmla="*/ 2323492 h 93"/>
                <a:gd name="T32" fmla="*/ 13816 w 92"/>
                <a:gd name="T33" fmla="*/ 2597258 h 93"/>
                <a:gd name="T34" fmla="*/ 12037 w 92"/>
                <a:gd name="T35" fmla="*/ 2439448 h 93"/>
                <a:gd name="T36" fmla="*/ 12906 w 92"/>
                <a:gd name="T37" fmla="*/ 2620939 h 93"/>
                <a:gd name="T38" fmla="*/ 10680 w 92"/>
                <a:gd name="T39" fmla="*/ 1819010 h 93"/>
                <a:gd name="T40" fmla="*/ 9345 w 92"/>
                <a:gd name="T41" fmla="*/ 2079036 h 93"/>
                <a:gd name="T42" fmla="*/ 11173 w 92"/>
                <a:gd name="T43" fmla="*/ 3347828 h 93"/>
                <a:gd name="T44" fmla="*/ 11957 w 92"/>
                <a:gd name="T45" fmla="*/ 3893746 h 93"/>
                <a:gd name="T46" fmla="*/ 10680 w 92"/>
                <a:gd name="T47" fmla="*/ 3622003 h 93"/>
                <a:gd name="T48" fmla="*/ 10794 w 92"/>
                <a:gd name="T49" fmla="*/ 4174705 h 93"/>
                <a:gd name="T50" fmla="*/ 10067 w 92"/>
                <a:gd name="T51" fmla="*/ 4174705 h 93"/>
                <a:gd name="T52" fmla="*/ 15283 w 92"/>
                <a:gd name="T53" fmla="*/ 5441270 h 93"/>
                <a:gd name="T54" fmla="*/ 15283 w 92"/>
                <a:gd name="T55" fmla="*/ 5846907 h 93"/>
                <a:gd name="T56" fmla="*/ 13359 w 92"/>
                <a:gd name="T57" fmla="*/ 5580716 h 93"/>
                <a:gd name="T58" fmla="*/ 12037 w 92"/>
                <a:gd name="T59" fmla="*/ 5820928 h 93"/>
                <a:gd name="T60" fmla="*/ 12906 w 92"/>
                <a:gd name="T61" fmla="*/ 6396463 h 93"/>
                <a:gd name="T62" fmla="*/ 11173 w 92"/>
                <a:gd name="T63" fmla="*/ 6396463 h 93"/>
                <a:gd name="T64" fmla="*/ 12037 w 92"/>
                <a:gd name="T65" fmla="*/ 7691912 h 93"/>
                <a:gd name="T66" fmla="*/ 10680 w 92"/>
                <a:gd name="T67" fmla="*/ 7437093 h 93"/>
                <a:gd name="T68" fmla="*/ 9664 w 92"/>
                <a:gd name="T69" fmla="*/ 7691912 h 93"/>
                <a:gd name="T70" fmla="*/ 7816 w 92"/>
                <a:gd name="T71" fmla="*/ 7011221 h 93"/>
                <a:gd name="T72" fmla="*/ 7551 w 92"/>
                <a:gd name="T73" fmla="*/ 7314729 h 93"/>
                <a:gd name="T74" fmla="*/ 5467 w 92"/>
                <a:gd name="T75" fmla="*/ 6015164 h 93"/>
                <a:gd name="T76" fmla="*/ 5282 w 92"/>
                <a:gd name="T77" fmla="*/ 5580716 h 93"/>
                <a:gd name="T78" fmla="*/ 8083 w 92"/>
                <a:gd name="T79" fmla="*/ 5218798 h 93"/>
                <a:gd name="T80" fmla="*/ 11957 w 92"/>
                <a:gd name="T81" fmla="*/ 5441270 h 93"/>
                <a:gd name="T82" fmla="*/ 11617 w 92"/>
                <a:gd name="T83" fmla="*/ 5218798 h 93"/>
                <a:gd name="T84" fmla="*/ 9345 w 92"/>
                <a:gd name="T85" fmla="*/ 4947124 h 93"/>
                <a:gd name="T86" fmla="*/ 5282 w 92"/>
                <a:gd name="T87" fmla="*/ 4823752 h 93"/>
                <a:gd name="T88" fmla="*/ 4572 w 92"/>
                <a:gd name="T89" fmla="*/ 4823752 h 93"/>
                <a:gd name="T90" fmla="*/ 3659 w 92"/>
                <a:gd name="T91" fmla="*/ 4174705 h 93"/>
                <a:gd name="T92" fmla="*/ 4572 w 92"/>
                <a:gd name="T93" fmla="*/ 4140410 h 9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2"/>
                <a:gd name="T142" fmla="*/ 0 h 93"/>
                <a:gd name="T143" fmla="*/ 92 w 92"/>
                <a:gd name="T144" fmla="*/ 93 h 9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2" h="93">
                  <a:moveTo>
                    <a:pt x="18" y="50"/>
                  </a:moveTo>
                  <a:lnTo>
                    <a:pt x="8" y="45"/>
                  </a:lnTo>
                  <a:lnTo>
                    <a:pt x="0" y="37"/>
                  </a:lnTo>
                  <a:lnTo>
                    <a:pt x="3" y="32"/>
                  </a:lnTo>
                  <a:lnTo>
                    <a:pt x="12" y="16"/>
                  </a:lnTo>
                  <a:lnTo>
                    <a:pt x="38" y="8"/>
                  </a:lnTo>
                  <a:lnTo>
                    <a:pt x="54" y="5"/>
                  </a:lnTo>
                  <a:lnTo>
                    <a:pt x="80" y="8"/>
                  </a:lnTo>
                  <a:lnTo>
                    <a:pt x="86" y="3"/>
                  </a:lnTo>
                  <a:lnTo>
                    <a:pt x="88" y="0"/>
                  </a:lnTo>
                  <a:lnTo>
                    <a:pt x="92" y="8"/>
                  </a:lnTo>
                  <a:lnTo>
                    <a:pt x="86" y="18"/>
                  </a:lnTo>
                  <a:lnTo>
                    <a:pt x="69" y="15"/>
                  </a:lnTo>
                  <a:lnTo>
                    <a:pt x="53" y="19"/>
                  </a:lnTo>
                  <a:lnTo>
                    <a:pt x="60" y="28"/>
                  </a:lnTo>
                  <a:lnTo>
                    <a:pt x="54" y="28"/>
                  </a:lnTo>
                  <a:lnTo>
                    <a:pt x="54" y="31"/>
                  </a:lnTo>
                  <a:lnTo>
                    <a:pt x="48" y="29"/>
                  </a:lnTo>
                  <a:lnTo>
                    <a:pt x="51" y="32"/>
                  </a:lnTo>
                  <a:lnTo>
                    <a:pt x="41" y="22"/>
                  </a:lnTo>
                  <a:lnTo>
                    <a:pt x="37" y="25"/>
                  </a:lnTo>
                  <a:lnTo>
                    <a:pt x="44" y="40"/>
                  </a:lnTo>
                  <a:lnTo>
                    <a:pt x="47" y="47"/>
                  </a:lnTo>
                  <a:lnTo>
                    <a:pt x="41" y="44"/>
                  </a:lnTo>
                  <a:lnTo>
                    <a:pt x="43" y="51"/>
                  </a:lnTo>
                  <a:lnTo>
                    <a:pt x="40" y="51"/>
                  </a:lnTo>
                  <a:lnTo>
                    <a:pt x="60" y="66"/>
                  </a:lnTo>
                  <a:lnTo>
                    <a:pt x="60" y="71"/>
                  </a:lnTo>
                  <a:lnTo>
                    <a:pt x="53" y="67"/>
                  </a:lnTo>
                  <a:lnTo>
                    <a:pt x="48" y="70"/>
                  </a:lnTo>
                  <a:lnTo>
                    <a:pt x="51" y="77"/>
                  </a:lnTo>
                  <a:lnTo>
                    <a:pt x="44" y="77"/>
                  </a:lnTo>
                  <a:lnTo>
                    <a:pt x="48" y="93"/>
                  </a:lnTo>
                  <a:lnTo>
                    <a:pt x="41" y="90"/>
                  </a:lnTo>
                  <a:lnTo>
                    <a:pt x="38" y="93"/>
                  </a:lnTo>
                  <a:lnTo>
                    <a:pt x="31" y="85"/>
                  </a:lnTo>
                  <a:lnTo>
                    <a:pt x="30" y="89"/>
                  </a:lnTo>
                  <a:lnTo>
                    <a:pt x="22" y="73"/>
                  </a:lnTo>
                  <a:lnTo>
                    <a:pt x="21" y="67"/>
                  </a:lnTo>
                  <a:lnTo>
                    <a:pt x="32" y="63"/>
                  </a:lnTo>
                  <a:lnTo>
                    <a:pt x="47" y="66"/>
                  </a:lnTo>
                  <a:lnTo>
                    <a:pt x="46" y="63"/>
                  </a:lnTo>
                  <a:lnTo>
                    <a:pt x="37" y="60"/>
                  </a:lnTo>
                  <a:lnTo>
                    <a:pt x="21" y="58"/>
                  </a:lnTo>
                  <a:lnTo>
                    <a:pt x="18" y="58"/>
                  </a:lnTo>
                  <a:lnTo>
                    <a:pt x="14" y="51"/>
                  </a:lnTo>
                  <a:lnTo>
                    <a:pt x="18" y="5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3" name="Freeform 94">
              <a:extLst>
                <a:ext uri="{FF2B5EF4-FFF2-40B4-BE49-F238E27FC236}">
                  <a16:creationId xmlns:a16="http://schemas.microsoft.com/office/drawing/2014/main" id="{076C318F-1C89-5894-2722-9F58B91819D4}"/>
                </a:ext>
              </a:extLst>
            </p:cNvPr>
            <p:cNvSpPr>
              <a:spLocks/>
            </p:cNvSpPr>
            <p:nvPr/>
          </p:nvSpPr>
          <p:spPr bwMode="auto">
            <a:xfrm>
              <a:off x="4975723" y="2703364"/>
              <a:ext cx="76760" cy="18223"/>
            </a:xfrm>
            <a:custGeom>
              <a:avLst/>
              <a:gdLst>
                <a:gd name="T0" fmla="*/ 9060 w 40"/>
                <a:gd name="T1" fmla="*/ 131390 h 10"/>
                <a:gd name="T2" fmla="*/ 2299 w 40"/>
                <a:gd name="T3" fmla="*/ 0 h 10"/>
                <a:gd name="T4" fmla="*/ 1 w 40"/>
                <a:gd name="T5" fmla="*/ 0 h 10"/>
                <a:gd name="T6" fmla="*/ 0 w 40"/>
                <a:gd name="T7" fmla="*/ 183946 h 10"/>
                <a:gd name="T8" fmla="*/ 3973 w 40"/>
                <a:gd name="T9" fmla="*/ 246646 h 10"/>
                <a:gd name="T10" fmla="*/ 8239 w 40"/>
                <a:gd name="T11" fmla="*/ 345304 h 10"/>
                <a:gd name="T12" fmla="*/ 11550 w 40"/>
                <a:gd name="T13" fmla="*/ 183946 h 10"/>
                <a:gd name="T14" fmla="*/ 9060 w 40"/>
                <a:gd name="T15" fmla="*/ 131390 h 10"/>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10"/>
                <a:gd name="T26" fmla="*/ 40 w 4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10">
                  <a:moveTo>
                    <a:pt x="32" y="4"/>
                  </a:moveTo>
                  <a:lnTo>
                    <a:pt x="8" y="0"/>
                  </a:lnTo>
                  <a:lnTo>
                    <a:pt x="1" y="0"/>
                  </a:lnTo>
                  <a:lnTo>
                    <a:pt x="0" y="6"/>
                  </a:lnTo>
                  <a:lnTo>
                    <a:pt x="14" y="7"/>
                  </a:lnTo>
                  <a:lnTo>
                    <a:pt x="29" y="10"/>
                  </a:lnTo>
                  <a:lnTo>
                    <a:pt x="40" y="6"/>
                  </a:lnTo>
                  <a:lnTo>
                    <a:pt x="32"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4" name="Freeform 95">
              <a:extLst>
                <a:ext uri="{FF2B5EF4-FFF2-40B4-BE49-F238E27FC236}">
                  <a16:creationId xmlns:a16="http://schemas.microsoft.com/office/drawing/2014/main" id="{3DD2A69D-0190-63EF-048E-719FF2C265ED}"/>
                </a:ext>
              </a:extLst>
            </p:cNvPr>
            <p:cNvSpPr>
              <a:spLocks/>
            </p:cNvSpPr>
            <p:nvPr/>
          </p:nvSpPr>
          <p:spPr bwMode="auto">
            <a:xfrm>
              <a:off x="4951736" y="2578838"/>
              <a:ext cx="44776" cy="33410"/>
            </a:xfrm>
            <a:custGeom>
              <a:avLst/>
              <a:gdLst>
                <a:gd name="T0" fmla="*/ 10135 w 23"/>
                <a:gd name="T1" fmla="*/ 1232281 h 16"/>
                <a:gd name="T2" fmla="*/ 4504 w 23"/>
                <a:gd name="T3" fmla="*/ 336568 h 16"/>
                <a:gd name="T4" fmla="*/ 0 w 23"/>
                <a:gd name="T5" fmla="*/ 0 h 16"/>
                <a:gd name="T6" fmla="*/ 4614 w 23"/>
                <a:gd name="T7" fmla="*/ 521891 h 16"/>
                <a:gd name="T8" fmla="*/ 10135 w 23"/>
                <a:gd name="T9" fmla="*/ 1232281 h 16"/>
                <a:gd name="T10" fmla="*/ 0 60000 65536"/>
                <a:gd name="T11" fmla="*/ 0 60000 65536"/>
                <a:gd name="T12" fmla="*/ 0 60000 65536"/>
                <a:gd name="T13" fmla="*/ 0 60000 65536"/>
                <a:gd name="T14" fmla="*/ 0 60000 65536"/>
                <a:gd name="T15" fmla="*/ 0 w 23"/>
                <a:gd name="T16" fmla="*/ 0 h 16"/>
                <a:gd name="T17" fmla="*/ 23 w 23"/>
                <a:gd name="T18" fmla="*/ 16 h 16"/>
              </a:gdLst>
              <a:ahLst/>
              <a:cxnLst>
                <a:cxn ang="T10">
                  <a:pos x="T0" y="T1"/>
                </a:cxn>
                <a:cxn ang="T11">
                  <a:pos x="T2" y="T3"/>
                </a:cxn>
                <a:cxn ang="T12">
                  <a:pos x="T4" y="T5"/>
                </a:cxn>
                <a:cxn ang="T13">
                  <a:pos x="T6" y="T7"/>
                </a:cxn>
                <a:cxn ang="T14">
                  <a:pos x="T8" y="T9"/>
                </a:cxn>
              </a:cxnLst>
              <a:rect l="T15" t="T16" r="T17" b="T18"/>
              <a:pathLst>
                <a:path w="23" h="16">
                  <a:moveTo>
                    <a:pt x="23" y="16"/>
                  </a:moveTo>
                  <a:lnTo>
                    <a:pt x="10" y="4"/>
                  </a:lnTo>
                  <a:lnTo>
                    <a:pt x="0" y="0"/>
                  </a:lnTo>
                  <a:lnTo>
                    <a:pt x="11" y="7"/>
                  </a:lnTo>
                  <a:lnTo>
                    <a:pt x="23" y="1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5" name="Freeform 96">
              <a:extLst>
                <a:ext uri="{FF2B5EF4-FFF2-40B4-BE49-F238E27FC236}">
                  <a16:creationId xmlns:a16="http://schemas.microsoft.com/office/drawing/2014/main" id="{09945D37-F559-5A0A-3D67-CA785B268896}"/>
                </a:ext>
              </a:extLst>
            </p:cNvPr>
            <p:cNvSpPr>
              <a:spLocks/>
            </p:cNvSpPr>
            <p:nvPr/>
          </p:nvSpPr>
          <p:spPr bwMode="auto">
            <a:xfrm>
              <a:off x="5033293" y="2568207"/>
              <a:ext cx="14393" cy="6074"/>
            </a:xfrm>
            <a:custGeom>
              <a:avLst/>
              <a:gdLst>
                <a:gd name="T0" fmla="*/ 286 w 8"/>
                <a:gd name="T1" fmla="*/ 3392 h 4"/>
                <a:gd name="T2" fmla="*/ 3 w 8"/>
                <a:gd name="T3" fmla="*/ 1 h 4"/>
                <a:gd name="T4" fmla="*/ 0 w 8"/>
                <a:gd name="T5" fmla="*/ 0 h 4"/>
                <a:gd name="T6" fmla="*/ 254 w 8"/>
                <a:gd name="T7" fmla="*/ 1 h 4"/>
                <a:gd name="T8" fmla="*/ 286 w 8"/>
                <a:gd name="T9" fmla="*/ 3392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8" y="4"/>
                  </a:moveTo>
                  <a:lnTo>
                    <a:pt x="3" y="1"/>
                  </a:lnTo>
                  <a:lnTo>
                    <a:pt x="0" y="0"/>
                  </a:lnTo>
                  <a:lnTo>
                    <a:pt x="7" y="1"/>
                  </a:lnTo>
                  <a:lnTo>
                    <a:pt x="8"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6" name="Freeform 97">
              <a:extLst>
                <a:ext uri="{FF2B5EF4-FFF2-40B4-BE49-F238E27FC236}">
                  <a16:creationId xmlns:a16="http://schemas.microsoft.com/office/drawing/2014/main" id="{C82B7BAE-30BE-28AB-C057-6A8678D866E1}"/>
                </a:ext>
              </a:extLst>
            </p:cNvPr>
            <p:cNvSpPr>
              <a:spLocks/>
            </p:cNvSpPr>
            <p:nvPr/>
          </p:nvSpPr>
          <p:spPr bwMode="auto">
            <a:xfrm>
              <a:off x="4878175" y="2598579"/>
              <a:ext cx="9595" cy="9112"/>
            </a:xfrm>
            <a:custGeom>
              <a:avLst/>
              <a:gdLst>
                <a:gd name="T0" fmla="*/ 0 w 4"/>
                <a:gd name="T1" fmla="*/ 0 h 4"/>
                <a:gd name="T2" fmla="*/ 1049869 w 4"/>
                <a:gd name="T3" fmla="*/ 1049869 h 4"/>
                <a:gd name="T4" fmla="*/ 311073 w 4"/>
                <a:gd name="T5" fmla="*/ 1049869 h 4"/>
                <a:gd name="T6" fmla="*/ 0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0"/>
                  </a:moveTo>
                  <a:lnTo>
                    <a:pt x="4" y="4"/>
                  </a:lnTo>
                  <a:lnTo>
                    <a:pt x="1" y="4"/>
                  </a:lnTo>
                  <a:lnTo>
                    <a:pt x="0"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7" name="Freeform 98">
              <a:extLst>
                <a:ext uri="{FF2B5EF4-FFF2-40B4-BE49-F238E27FC236}">
                  <a16:creationId xmlns:a16="http://schemas.microsoft.com/office/drawing/2014/main" id="{787ECA3C-9A35-444D-9AFE-34731EBBD5D6}"/>
                </a:ext>
              </a:extLst>
            </p:cNvPr>
            <p:cNvSpPr>
              <a:spLocks/>
            </p:cNvSpPr>
            <p:nvPr/>
          </p:nvSpPr>
          <p:spPr bwMode="auto">
            <a:xfrm>
              <a:off x="5033293" y="2592504"/>
              <a:ext cx="6396" cy="7593"/>
            </a:xfrm>
            <a:custGeom>
              <a:avLst/>
              <a:gdLst>
                <a:gd name="T0" fmla="*/ 4 w 4"/>
                <a:gd name="T1" fmla="*/ 0 h 4"/>
                <a:gd name="T2" fmla="*/ 3 w 4"/>
                <a:gd name="T3" fmla="*/ 3392 h 4"/>
                <a:gd name="T4" fmla="*/ 0 w 4"/>
                <a:gd name="T5" fmla="*/ 1 h 4"/>
                <a:gd name="T6" fmla="*/ 4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4" y="0"/>
                  </a:moveTo>
                  <a:lnTo>
                    <a:pt x="3" y="4"/>
                  </a:lnTo>
                  <a:lnTo>
                    <a:pt x="0" y="1"/>
                  </a:lnTo>
                  <a:lnTo>
                    <a:pt x="4"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8" name="Freeform 99">
              <a:extLst>
                <a:ext uri="{FF2B5EF4-FFF2-40B4-BE49-F238E27FC236}">
                  <a16:creationId xmlns:a16="http://schemas.microsoft.com/office/drawing/2014/main" id="{D5F9CEBB-FF98-CA0B-30FE-0D54263A4F99}"/>
                </a:ext>
              </a:extLst>
            </p:cNvPr>
            <p:cNvSpPr>
              <a:spLocks/>
            </p:cNvSpPr>
            <p:nvPr/>
          </p:nvSpPr>
          <p:spPr bwMode="auto">
            <a:xfrm>
              <a:off x="4486380" y="2296374"/>
              <a:ext cx="331026" cy="321947"/>
            </a:xfrm>
            <a:custGeom>
              <a:avLst/>
              <a:gdLst>
                <a:gd name="T0" fmla="*/ 29887 w 172"/>
                <a:gd name="T1" fmla="*/ 521910 h 160"/>
                <a:gd name="T2" fmla="*/ 22917 w 172"/>
                <a:gd name="T3" fmla="*/ 0 h 160"/>
                <a:gd name="T4" fmla="*/ 18110 w 172"/>
                <a:gd name="T5" fmla="*/ 1 h 160"/>
                <a:gd name="T6" fmla="*/ 15574 w 172"/>
                <a:gd name="T7" fmla="*/ 1 h 160"/>
                <a:gd name="T8" fmla="*/ 14734 w 172"/>
                <a:gd name="T9" fmla="*/ 483816 h 160"/>
                <a:gd name="T10" fmla="*/ 13823 w 172"/>
                <a:gd name="T11" fmla="*/ 750246 h 160"/>
                <a:gd name="T12" fmla="*/ 10493 w 172"/>
                <a:gd name="T13" fmla="*/ 750246 h 160"/>
                <a:gd name="T14" fmla="*/ 8719 w 172"/>
                <a:gd name="T15" fmla="*/ 1259752 h 160"/>
                <a:gd name="T16" fmla="*/ 6020 w 172"/>
                <a:gd name="T17" fmla="*/ 750246 h 160"/>
                <a:gd name="T18" fmla="*/ 3453 w 172"/>
                <a:gd name="T19" fmla="*/ 1232281 h 160"/>
                <a:gd name="T20" fmla="*/ 2 w 172"/>
                <a:gd name="T21" fmla="*/ 1259752 h 160"/>
                <a:gd name="T22" fmla="*/ 2 w 172"/>
                <a:gd name="T23" fmla="*/ 1810894 h 160"/>
                <a:gd name="T24" fmla="*/ 0 w 172"/>
                <a:gd name="T25" fmla="*/ 2466636 h 160"/>
                <a:gd name="T26" fmla="*/ 0 w 172"/>
                <a:gd name="T27" fmla="*/ 2794741 h 160"/>
                <a:gd name="T28" fmla="*/ 0 w 172"/>
                <a:gd name="T29" fmla="*/ 3203578 h 160"/>
                <a:gd name="T30" fmla="*/ 3453 w 172"/>
                <a:gd name="T31" fmla="*/ 3670061 h 160"/>
                <a:gd name="T32" fmla="*/ 3453 w 172"/>
                <a:gd name="T33" fmla="*/ 4243232 h 160"/>
                <a:gd name="T34" fmla="*/ 7542 w 172"/>
                <a:gd name="T35" fmla="*/ 3466712 h 160"/>
                <a:gd name="T36" fmla="*/ 13823 w 172"/>
                <a:gd name="T37" fmla="*/ 3742043 h 160"/>
                <a:gd name="T38" fmla="*/ 16783 w 172"/>
                <a:gd name="T39" fmla="*/ 5261879 h 160"/>
                <a:gd name="T40" fmla="*/ 21007 w 172"/>
                <a:gd name="T41" fmla="*/ 6136694 h 160"/>
                <a:gd name="T42" fmla="*/ 24834 w 172"/>
                <a:gd name="T43" fmla="*/ 6986290 h 160"/>
                <a:gd name="T44" fmla="*/ 26492 w 172"/>
                <a:gd name="T45" fmla="*/ 7163632 h 160"/>
                <a:gd name="T46" fmla="*/ 26492 w 172"/>
                <a:gd name="T47" fmla="*/ 7215681 h 160"/>
                <a:gd name="T48" fmla="*/ 29887 w 172"/>
                <a:gd name="T49" fmla="*/ 7583830 h 160"/>
                <a:gd name="T50" fmla="*/ 35581 w 172"/>
                <a:gd name="T51" fmla="*/ 8588855 h 160"/>
                <a:gd name="T52" fmla="*/ 37796 w 172"/>
                <a:gd name="T53" fmla="*/ 8821494 h 160"/>
                <a:gd name="T54" fmla="*/ 40348 w 172"/>
                <a:gd name="T55" fmla="*/ 9184538 h 160"/>
                <a:gd name="T56" fmla="*/ 43288 w 172"/>
                <a:gd name="T57" fmla="*/ 10699145 h 160"/>
                <a:gd name="T58" fmla="*/ 41745 w 172"/>
                <a:gd name="T59" fmla="*/ 11933623 h 160"/>
                <a:gd name="T60" fmla="*/ 43288 w 172"/>
                <a:gd name="T61" fmla="*/ 12310797 h 160"/>
                <a:gd name="T62" fmla="*/ 45722 w 172"/>
                <a:gd name="T63" fmla="*/ 11390093 h 160"/>
                <a:gd name="T64" fmla="*/ 47312 w 172"/>
                <a:gd name="T65" fmla="*/ 10873168 h 160"/>
                <a:gd name="T66" fmla="*/ 48075 w 172"/>
                <a:gd name="T67" fmla="*/ 10479707 h 160"/>
                <a:gd name="T68" fmla="*/ 45487 w 172"/>
                <a:gd name="T69" fmla="*/ 9879344 h 160"/>
                <a:gd name="T70" fmla="*/ 46851 w 172"/>
                <a:gd name="T71" fmla="*/ 8821494 h 160"/>
                <a:gd name="T72" fmla="*/ 49487 w 172"/>
                <a:gd name="T73" fmla="*/ 8940600 h 160"/>
                <a:gd name="T74" fmla="*/ 52621 w 172"/>
                <a:gd name="T75" fmla="*/ 9627103 h 160"/>
                <a:gd name="T76" fmla="*/ 53532 w 172"/>
                <a:gd name="T77" fmla="*/ 8940600 h 160"/>
                <a:gd name="T78" fmla="*/ 47398 w 172"/>
                <a:gd name="T79" fmla="*/ 8227899 h 160"/>
                <a:gd name="T80" fmla="*/ 41745 w 172"/>
                <a:gd name="T81" fmla="*/ 7442886 h 160"/>
                <a:gd name="T82" fmla="*/ 42821 w 172"/>
                <a:gd name="T83" fmla="*/ 6872590 h 160"/>
                <a:gd name="T84" fmla="*/ 41046 w 172"/>
                <a:gd name="T85" fmla="*/ 6736108 h 160"/>
                <a:gd name="T86" fmla="*/ 35581 w 172"/>
                <a:gd name="T87" fmla="*/ 6375140 h 160"/>
                <a:gd name="T88" fmla="*/ 32671 w 172"/>
                <a:gd name="T89" fmla="*/ 5462623 h 160"/>
                <a:gd name="T90" fmla="*/ 30579 w 172"/>
                <a:gd name="T91" fmla="*/ 4532946 h 160"/>
                <a:gd name="T92" fmla="*/ 26492 w 172"/>
                <a:gd name="T93" fmla="*/ 4017439 h 160"/>
                <a:gd name="T94" fmla="*/ 24566 w 172"/>
                <a:gd name="T95" fmla="*/ 2951815 h 160"/>
                <a:gd name="T96" fmla="*/ 23590 w 172"/>
                <a:gd name="T97" fmla="*/ 2228576 h 160"/>
                <a:gd name="T98" fmla="*/ 27751 w 172"/>
                <a:gd name="T99" fmla="*/ 1715921 h 160"/>
                <a:gd name="T100" fmla="*/ 29887 w 172"/>
                <a:gd name="T101" fmla="*/ 1771404 h 160"/>
                <a:gd name="T102" fmla="*/ 28998 w 172"/>
                <a:gd name="T103" fmla="*/ 857239 h 160"/>
                <a:gd name="T104" fmla="*/ 29887 w 172"/>
                <a:gd name="T105" fmla="*/ 521910 h 160"/>
                <a:gd name="T106" fmla="*/ 25518 w 172"/>
                <a:gd name="T107" fmla="*/ 4017439 h 160"/>
                <a:gd name="T108" fmla="*/ 24834 w 172"/>
                <a:gd name="T109" fmla="*/ 4017439 h 160"/>
                <a:gd name="T110" fmla="*/ 25518 w 172"/>
                <a:gd name="T111" fmla="*/ 4156425 h 160"/>
                <a:gd name="T112" fmla="*/ 25518 w 172"/>
                <a:gd name="T113" fmla="*/ 4017439 h 160"/>
                <a:gd name="T114" fmla="*/ 29887 w 172"/>
                <a:gd name="T115" fmla="*/ 521910 h 160"/>
                <a:gd name="T116" fmla="*/ 26492 w 172"/>
                <a:gd name="T117" fmla="*/ 7163632 h 160"/>
                <a:gd name="T118" fmla="*/ 26492 w 172"/>
                <a:gd name="T119" fmla="*/ 6986290 h 160"/>
                <a:gd name="T120" fmla="*/ 26492 w 172"/>
                <a:gd name="T121" fmla="*/ 7163632 h 160"/>
                <a:gd name="T122" fmla="*/ 29887 w 172"/>
                <a:gd name="T123" fmla="*/ 521910 h 1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2"/>
                <a:gd name="T187" fmla="*/ 0 h 160"/>
                <a:gd name="T188" fmla="*/ 172 w 172"/>
                <a:gd name="T189" fmla="*/ 160 h 1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2" h="160">
                  <a:moveTo>
                    <a:pt x="96" y="7"/>
                  </a:moveTo>
                  <a:lnTo>
                    <a:pt x="73" y="0"/>
                  </a:lnTo>
                  <a:lnTo>
                    <a:pt x="58" y="1"/>
                  </a:lnTo>
                  <a:lnTo>
                    <a:pt x="50" y="1"/>
                  </a:lnTo>
                  <a:lnTo>
                    <a:pt x="47" y="6"/>
                  </a:lnTo>
                  <a:lnTo>
                    <a:pt x="44" y="10"/>
                  </a:lnTo>
                  <a:lnTo>
                    <a:pt x="34" y="10"/>
                  </a:lnTo>
                  <a:lnTo>
                    <a:pt x="28" y="17"/>
                  </a:lnTo>
                  <a:lnTo>
                    <a:pt x="19" y="10"/>
                  </a:lnTo>
                  <a:lnTo>
                    <a:pt x="11" y="16"/>
                  </a:lnTo>
                  <a:lnTo>
                    <a:pt x="2" y="17"/>
                  </a:lnTo>
                  <a:lnTo>
                    <a:pt x="2" y="24"/>
                  </a:lnTo>
                  <a:lnTo>
                    <a:pt x="0" y="32"/>
                  </a:lnTo>
                  <a:lnTo>
                    <a:pt x="0" y="36"/>
                  </a:lnTo>
                  <a:lnTo>
                    <a:pt x="0" y="42"/>
                  </a:lnTo>
                  <a:lnTo>
                    <a:pt x="11" y="48"/>
                  </a:lnTo>
                  <a:lnTo>
                    <a:pt x="11" y="55"/>
                  </a:lnTo>
                  <a:lnTo>
                    <a:pt x="24" y="45"/>
                  </a:lnTo>
                  <a:lnTo>
                    <a:pt x="44" y="49"/>
                  </a:lnTo>
                  <a:lnTo>
                    <a:pt x="54" y="68"/>
                  </a:lnTo>
                  <a:lnTo>
                    <a:pt x="67" y="80"/>
                  </a:lnTo>
                  <a:lnTo>
                    <a:pt x="80" y="91"/>
                  </a:lnTo>
                  <a:lnTo>
                    <a:pt x="85" y="93"/>
                  </a:lnTo>
                  <a:lnTo>
                    <a:pt x="85" y="94"/>
                  </a:lnTo>
                  <a:lnTo>
                    <a:pt x="96" y="99"/>
                  </a:lnTo>
                  <a:lnTo>
                    <a:pt x="114" y="112"/>
                  </a:lnTo>
                  <a:lnTo>
                    <a:pt x="121" y="115"/>
                  </a:lnTo>
                  <a:lnTo>
                    <a:pt x="130" y="120"/>
                  </a:lnTo>
                  <a:lnTo>
                    <a:pt x="140" y="139"/>
                  </a:lnTo>
                  <a:lnTo>
                    <a:pt x="134" y="155"/>
                  </a:lnTo>
                  <a:lnTo>
                    <a:pt x="140" y="160"/>
                  </a:lnTo>
                  <a:lnTo>
                    <a:pt x="147" y="148"/>
                  </a:lnTo>
                  <a:lnTo>
                    <a:pt x="151" y="141"/>
                  </a:lnTo>
                  <a:lnTo>
                    <a:pt x="154" y="136"/>
                  </a:lnTo>
                  <a:lnTo>
                    <a:pt x="146" y="129"/>
                  </a:lnTo>
                  <a:lnTo>
                    <a:pt x="150" y="115"/>
                  </a:lnTo>
                  <a:lnTo>
                    <a:pt x="159" y="117"/>
                  </a:lnTo>
                  <a:lnTo>
                    <a:pt x="169" y="125"/>
                  </a:lnTo>
                  <a:lnTo>
                    <a:pt x="172" y="117"/>
                  </a:lnTo>
                  <a:lnTo>
                    <a:pt x="153" y="107"/>
                  </a:lnTo>
                  <a:lnTo>
                    <a:pt x="134" y="97"/>
                  </a:lnTo>
                  <a:lnTo>
                    <a:pt x="137" y="90"/>
                  </a:lnTo>
                  <a:lnTo>
                    <a:pt x="131" y="88"/>
                  </a:lnTo>
                  <a:lnTo>
                    <a:pt x="114" y="83"/>
                  </a:lnTo>
                  <a:lnTo>
                    <a:pt x="105" y="71"/>
                  </a:lnTo>
                  <a:lnTo>
                    <a:pt x="98" y="59"/>
                  </a:lnTo>
                  <a:lnTo>
                    <a:pt x="85" y="52"/>
                  </a:lnTo>
                  <a:lnTo>
                    <a:pt x="79" y="38"/>
                  </a:lnTo>
                  <a:lnTo>
                    <a:pt x="76" y="29"/>
                  </a:lnTo>
                  <a:lnTo>
                    <a:pt x="89" y="22"/>
                  </a:lnTo>
                  <a:lnTo>
                    <a:pt x="96" y="23"/>
                  </a:lnTo>
                  <a:lnTo>
                    <a:pt x="93" y="11"/>
                  </a:lnTo>
                  <a:lnTo>
                    <a:pt x="96" y="7"/>
                  </a:lnTo>
                  <a:lnTo>
                    <a:pt x="82" y="52"/>
                  </a:lnTo>
                  <a:lnTo>
                    <a:pt x="80" y="52"/>
                  </a:lnTo>
                  <a:lnTo>
                    <a:pt x="82" y="54"/>
                  </a:lnTo>
                  <a:lnTo>
                    <a:pt x="82" y="52"/>
                  </a:lnTo>
                  <a:lnTo>
                    <a:pt x="96" y="7"/>
                  </a:lnTo>
                  <a:lnTo>
                    <a:pt x="85" y="93"/>
                  </a:lnTo>
                  <a:lnTo>
                    <a:pt x="85" y="91"/>
                  </a:lnTo>
                  <a:lnTo>
                    <a:pt x="85" y="93"/>
                  </a:lnTo>
                  <a:lnTo>
                    <a:pt x="96"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59" name="Freeform 100">
              <a:extLst>
                <a:ext uri="{FF2B5EF4-FFF2-40B4-BE49-F238E27FC236}">
                  <a16:creationId xmlns:a16="http://schemas.microsoft.com/office/drawing/2014/main" id="{40F4C313-A08E-BFC0-281D-CB77DD61437F}"/>
                </a:ext>
              </a:extLst>
            </p:cNvPr>
            <p:cNvSpPr>
              <a:spLocks/>
            </p:cNvSpPr>
            <p:nvPr/>
          </p:nvSpPr>
          <p:spPr bwMode="auto">
            <a:xfrm>
              <a:off x="4486380" y="2296374"/>
              <a:ext cx="331026" cy="321947"/>
            </a:xfrm>
            <a:custGeom>
              <a:avLst/>
              <a:gdLst>
                <a:gd name="T0" fmla="*/ 29887 w 172"/>
                <a:gd name="T1" fmla="*/ 521910 h 160"/>
                <a:gd name="T2" fmla="*/ 22917 w 172"/>
                <a:gd name="T3" fmla="*/ 0 h 160"/>
                <a:gd name="T4" fmla="*/ 18110 w 172"/>
                <a:gd name="T5" fmla="*/ 1 h 160"/>
                <a:gd name="T6" fmla="*/ 15574 w 172"/>
                <a:gd name="T7" fmla="*/ 1 h 160"/>
                <a:gd name="T8" fmla="*/ 14734 w 172"/>
                <a:gd name="T9" fmla="*/ 483816 h 160"/>
                <a:gd name="T10" fmla="*/ 13823 w 172"/>
                <a:gd name="T11" fmla="*/ 750246 h 160"/>
                <a:gd name="T12" fmla="*/ 10493 w 172"/>
                <a:gd name="T13" fmla="*/ 750246 h 160"/>
                <a:gd name="T14" fmla="*/ 8719 w 172"/>
                <a:gd name="T15" fmla="*/ 1259752 h 160"/>
                <a:gd name="T16" fmla="*/ 6020 w 172"/>
                <a:gd name="T17" fmla="*/ 750246 h 160"/>
                <a:gd name="T18" fmla="*/ 3453 w 172"/>
                <a:gd name="T19" fmla="*/ 1232281 h 160"/>
                <a:gd name="T20" fmla="*/ 2 w 172"/>
                <a:gd name="T21" fmla="*/ 1259752 h 160"/>
                <a:gd name="T22" fmla="*/ 2 w 172"/>
                <a:gd name="T23" fmla="*/ 1810894 h 160"/>
                <a:gd name="T24" fmla="*/ 0 w 172"/>
                <a:gd name="T25" fmla="*/ 2466636 h 160"/>
                <a:gd name="T26" fmla="*/ 0 w 172"/>
                <a:gd name="T27" fmla="*/ 2794741 h 160"/>
                <a:gd name="T28" fmla="*/ 0 w 172"/>
                <a:gd name="T29" fmla="*/ 3203578 h 160"/>
                <a:gd name="T30" fmla="*/ 3453 w 172"/>
                <a:gd name="T31" fmla="*/ 3670061 h 160"/>
                <a:gd name="T32" fmla="*/ 3453 w 172"/>
                <a:gd name="T33" fmla="*/ 4243232 h 160"/>
                <a:gd name="T34" fmla="*/ 7542 w 172"/>
                <a:gd name="T35" fmla="*/ 3466712 h 160"/>
                <a:gd name="T36" fmla="*/ 13823 w 172"/>
                <a:gd name="T37" fmla="*/ 3742043 h 160"/>
                <a:gd name="T38" fmla="*/ 16783 w 172"/>
                <a:gd name="T39" fmla="*/ 5261879 h 160"/>
                <a:gd name="T40" fmla="*/ 21007 w 172"/>
                <a:gd name="T41" fmla="*/ 6136694 h 160"/>
                <a:gd name="T42" fmla="*/ 24834 w 172"/>
                <a:gd name="T43" fmla="*/ 6986290 h 160"/>
                <a:gd name="T44" fmla="*/ 26492 w 172"/>
                <a:gd name="T45" fmla="*/ 7163632 h 160"/>
                <a:gd name="T46" fmla="*/ 26492 w 172"/>
                <a:gd name="T47" fmla="*/ 7215681 h 160"/>
                <a:gd name="T48" fmla="*/ 29887 w 172"/>
                <a:gd name="T49" fmla="*/ 7583830 h 160"/>
                <a:gd name="T50" fmla="*/ 35581 w 172"/>
                <a:gd name="T51" fmla="*/ 8588855 h 160"/>
                <a:gd name="T52" fmla="*/ 37796 w 172"/>
                <a:gd name="T53" fmla="*/ 8821494 h 160"/>
                <a:gd name="T54" fmla="*/ 40348 w 172"/>
                <a:gd name="T55" fmla="*/ 9184538 h 160"/>
                <a:gd name="T56" fmla="*/ 43288 w 172"/>
                <a:gd name="T57" fmla="*/ 10699145 h 160"/>
                <a:gd name="T58" fmla="*/ 41745 w 172"/>
                <a:gd name="T59" fmla="*/ 11933623 h 160"/>
                <a:gd name="T60" fmla="*/ 43288 w 172"/>
                <a:gd name="T61" fmla="*/ 12310797 h 160"/>
                <a:gd name="T62" fmla="*/ 45722 w 172"/>
                <a:gd name="T63" fmla="*/ 11390093 h 160"/>
                <a:gd name="T64" fmla="*/ 47312 w 172"/>
                <a:gd name="T65" fmla="*/ 10873168 h 160"/>
                <a:gd name="T66" fmla="*/ 48075 w 172"/>
                <a:gd name="T67" fmla="*/ 10479707 h 160"/>
                <a:gd name="T68" fmla="*/ 45487 w 172"/>
                <a:gd name="T69" fmla="*/ 9879344 h 160"/>
                <a:gd name="T70" fmla="*/ 46851 w 172"/>
                <a:gd name="T71" fmla="*/ 8821494 h 160"/>
                <a:gd name="T72" fmla="*/ 49487 w 172"/>
                <a:gd name="T73" fmla="*/ 8940600 h 160"/>
                <a:gd name="T74" fmla="*/ 52621 w 172"/>
                <a:gd name="T75" fmla="*/ 9627103 h 160"/>
                <a:gd name="T76" fmla="*/ 53532 w 172"/>
                <a:gd name="T77" fmla="*/ 8940600 h 160"/>
                <a:gd name="T78" fmla="*/ 47398 w 172"/>
                <a:gd name="T79" fmla="*/ 8227899 h 160"/>
                <a:gd name="T80" fmla="*/ 41745 w 172"/>
                <a:gd name="T81" fmla="*/ 7442886 h 160"/>
                <a:gd name="T82" fmla="*/ 42821 w 172"/>
                <a:gd name="T83" fmla="*/ 6872590 h 160"/>
                <a:gd name="T84" fmla="*/ 41046 w 172"/>
                <a:gd name="T85" fmla="*/ 6736108 h 160"/>
                <a:gd name="T86" fmla="*/ 35581 w 172"/>
                <a:gd name="T87" fmla="*/ 6375140 h 160"/>
                <a:gd name="T88" fmla="*/ 32671 w 172"/>
                <a:gd name="T89" fmla="*/ 5462623 h 160"/>
                <a:gd name="T90" fmla="*/ 30579 w 172"/>
                <a:gd name="T91" fmla="*/ 4532946 h 160"/>
                <a:gd name="T92" fmla="*/ 26492 w 172"/>
                <a:gd name="T93" fmla="*/ 4017439 h 160"/>
                <a:gd name="T94" fmla="*/ 24566 w 172"/>
                <a:gd name="T95" fmla="*/ 2951815 h 160"/>
                <a:gd name="T96" fmla="*/ 23590 w 172"/>
                <a:gd name="T97" fmla="*/ 2228576 h 160"/>
                <a:gd name="T98" fmla="*/ 27751 w 172"/>
                <a:gd name="T99" fmla="*/ 1715921 h 160"/>
                <a:gd name="T100" fmla="*/ 29887 w 172"/>
                <a:gd name="T101" fmla="*/ 1771404 h 160"/>
                <a:gd name="T102" fmla="*/ 28998 w 172"/>
                <a:gd name="T103" fmla="*/ 857239 h 160"/>
                <a:gd name="T104" fmla="*/ 29887 w 172"/>
                <a:gd name="T105" fmla="*/ 521910 h 16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2"/>
                <a:gd name="T160" fmla="*/ 0 h 160"/>
                <a:gd name="T161" fmla="*/ 172 w 172"/>
                <a:gd name="T162" fmla="*/ 160 h 16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2" h="160">
                  <a:moveTo>
                    <a:pt x="96" y="7"/>
                  </a:moveTo>
                  <a:lnTo>
                    <a:pt x="73" y="0"/>
                  </a:lnTo>
                  <a:lnTo>
                    <a:pt x="58" y="1"/>
                  </a:lnTo>
                  <a:lnTo>
                    <a:pt x="50" y="1"/>
                  </a:lnTo>
                  <a:lnTo>
                    <a:pt x="47" y="6"/>
                  </a:lnTo>
                  <a:lnTo>
                    <a:pt x="44" y="10"/>
                  </a:lnTo>
                  <a:lnTo>
                    <a:pt x="34" y="10"/>
                  </a:lnTo>
                  <a:lnTo>
                    <a:pt x="28" y="17"/>
                  </a:lnTo>
                  <a:lnTo>
                    <a:pt x="19" y="10"/>
                  </a:lnTo>
                  <a:lnTo>
                    <a:pt x="11" y="16"/>
                  </a:lnTo>
                  <a:lnTo>
                    <a:pt x="2" y="17"/>
                  </a:lnTo>
                  <a:lnTo>
                    <a:pt x="2" y="24"/>
                  </a:lnTo>
                  <a:lnTo>
                    <a:pt x="0" y="32"/>
                  </a:lnTo>
                  <a:lnTo>
                    <a:pt x="0" y="36"/>
                  </a:lnTo>
                  <a:lnTo>
                    <a:pt x="0" y="42"/>
                  </a:lnTo>
                  <a:lnTo>
                    <a:pt x="11" y="48"/>
                  </a:lnTo>
                  <a:lnTo>
                    <a:pt x="11" y="55"/>
                  </a:lnTo>
                  <a:lnTo>
                    <a:pt x="24" y="45"/>
                  </a:lnTo>
                  <a:lnTo>
                    <a:pt x="44" y="49"/>
                  </a:lnTo>
                  <a:lnTo>
                    <a:pt x="54" y="68"/>
                  </a:lnTo>
                  <a:lnTo>
                    <a:pt x="67" y="80"/>
                  </a:lnTo>
                  <a:lnTo>
                    <a:pt x="80" y="91"/>
                  </a:lnTo>
                  <a:lnTo>
                    <a:pt x="85" y="93"/>
                  </a:lnTo>
                  <a:lnTo>
                    <a:pt x="85" y="94"/>
                  </a:lnTo>
                  <a:lnTo>
                    <a:pt x="96" y="99"/>
                  </a:lnTo>
                  <a:lnTo>
                    <a:pt x="114" y="112"/>
                  </a:lnTo>
                  <a:lnTo>
                    <a:pt x="121" y="115"/>
                  </a:lnTo>
                  <a:lnTo>
                    <a:pt x="130" y="120"/>
                  </a:lnTo>
                  <a:lnTo>
                    <a:pt x="140" y="139"/>
                  </a:lnTo>
                  <a:lnTo>
                    <a:pt x="134" y="155"/>
                  </a:lnTo>
                  <a:lnTo>
                    <a:pt x="140" y="160"/>
                  </a:lnTo>
                  <a:lnTo>
                    <a:pt x="147" y="148"/>
                  </a:lnTo>
                  <a:lnTo>
                    <a:pt x="151" y="141"/>
                  </a:lnTo>
                  <a:lnTo>
                    <a:pt x="154" y="136"/>
                  </a:lnTo>
                  <a:lnTo>
                    <a:pt x="146" y="129"/>
                  </a:lnTo>
                  <a:lnTo>
                    <a:pt x="150" y="115"/>
                  </a:lnTo>
                  <a:lnTo>
                    <a:pt x="159" y="117"/>
                  </a:lnTo>
                  <a:lnTo>
                    <a:pt x="169" y="125"/>
                  </a:lnTo>
                  <a:lnTo>
                    <a:pt x="172" y="117"/>
                  </a:lnTo>
                  <a:lnTo>
                    <a:pt x="153" y="107"/>
                  </a:lnTo>
                  <a:lnTo>
                    <a:pt x="134" y="97"/>
                  </a:lnTo>
                  <a:lnTo>
                    <a:pt x="137" y="90"/>
                  </a:lnTo>
                  <a:lnTo>
                    <a:pt x="131" y="88"/>
                  </a:lnTo>
                  <a:lnTo>
                    <a:pt x="114" y="83"/>
                  </a:lnTo>
                  <a:lnTo>
                    <a:pt x="105" y="71"/>
                  </a:lnTo>
                  <a:lnTo>
                    <a:pt x="98" y="59"/>
                  </a:lnTo>
                  <a:lnTo>
                    <a:pt x="85" y="52"/>
                  </a:lnTo>
                  <a:lnTo>
                    <a:pt x="79" y="38"/>
                  </a:lnTo>
                  <a:lnTo>
                    <a:pt x="76" y="29"/>
                  </a:lnTo>
                  <a:lnTo>
                    <a:pt x="89" y="22"/>
                  </a:lnTo>
                  <a:lnTo>
                    <a:pt x="96" y="23"/>
                  </a:lnTo>
                  <a:lnTo>
                    <a:pt x="93" y="11"/>
                  </a:lnTo>
                  <a:lnTo>
                    <a:pt x="96"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0" name="Freeform 101">
              <a:extLst>
                <a:ext uri="{FF2B5EF4-FFF2-40B4-BE49-F238E27FC236}">
                  <a16:creationId xmlns:a16="http://schemas.microsoft.com/office/drawing/2014/main" id="{209BECC5-C03D-4A90-B32B-4E74D2695C85}"/>
                </a:ext>
              </a:extLst>
            </p:cNvPr>
            <p:cNvSpPr>
              <a:spLocks/>
            </p:cNvSpPr>
            <p:nvPr/>
          </p:nvSpPr>
          <p:spPr bwMode="auto">
            <a:xfrm>
              <a:off x="4641499" y="2401159"/>
              <a:ext cx="3198" cy="3037"/>
            </a:xfrm>
            <a:custGeom>
              <a:avLst/>
              <a:gdLst>
                <a:gd name="T0" fmla="*/ 2 w 2"/>
                <a:gd name="T1" fmla="*/ 0 h 2"/>
                <a:gd name="T2" fmla="*/ 0 w 2"/>
                <a:gd name="T3" fmla="*/ 0 h 2"/>
                <a:gd name="T4" fmla="*/ 2 w 2"/>
                <a:gd name="T5" fmla="*/ 2 h 2"/>
                <a:gd name="T6" fmla="*/ 2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0"/>
                  </a:lnTo>
                  <a:lnTo>
                    <a:pt x="2" y="2"/>
                  </a:lnTo>
                  <a:lnTo>
                    <a:pt x="2"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1" name="Freeform 102">
              <a:extLst>
                <a:ext uri="{FF2B5EF4-FFF2-40B4-BE49-F238E27FC236}">
                  <a16:creationId xmlns:a16="http://schemas.microsoft.com/office/drawing/2014/main" id="{CBEC45EA-DB9A-9357-4A55-C8AF061E2D0D}"/>
                </a:ext>
              </a:extLst>
            </p:cNvPr>
            <p:cNvSpPr>
              <a:spLocks/>
            </p:cNvSpPr>
            <p:nvPr/>
          </p:nvSpPr>
          <p:spPr bwMode="auto">
            <a:xfrm>
              <a:off x="4651094" y="2478608"/>
              <a:ext cx="1599" cy="4555"/>
            </a:xfrm>
            <a:custGeom>
              <a:avLst/>
              <a:gdLst>
                <a:gd name="T0" fmla="*/ 0 w 1"/>
                <a:gd name="T1" fmla="*/ 2147483647 h 2"/>
                <a:gd name="T2" fmla="*/ 0 w 1"/>
                <a:gd name="T3" fmla="*/ 0 h 2"/>
                <a:gd name="T4" fmla="*/ 0 w 1"/>
                <a:gd name="T5" fmla="*/ 2147483647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lnTo>
                    <a:pt x="0" y="0"/>
                  </a:lnTo>
                  <a:lnTo>
                    <a:pt x="0"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2" name="Freeform 103">
              <a:extLst>
                <a:ext uri="{FF2B5EF4-FFF2-40B4-BE49-F238E27FC236}">
                  <a16:creationId xmlns:a16="http://schemas.microsoft.com/office/drawing/2014/main" id="{CBE4A712-B560-374A-0689-4D7BF4514DC6}"/>
                </a:ext>
              </a:extLst>
            </p:cNvPr>
            <p:cNvSpPr>
              <a:spLocks/>
            </p:cNvSpPr>
            <p:nvPr/>
          </p:nvSpPr>
          <p:spPr bwMode="auto">
            <a:xfrm>
              <a:off x="4655891" y="2606172"/>
              <a:ext cx="89553" cy="53151"/>
            </a:xfrm>
            <a:custGeom>
              <a:avLst/>
              <a:gdLst>
                <a:gd name="T0" fmla="*/ 16970 w 46"/>
                <a:gd name="T1" fmla="*/ 642693 h 27"/>
                <a:gd name="T2" fmla="*/ 16970 w 46"/>
                <a:gd name="T3" fmla="*/ 1081518 h 27"/>
                <a:gd name="T4" fmla="*/ 9406 w 46"/>
                <a:gd name="T5" fmla="*/ 781162 h 27"/>
                <a:gd name="T6" fmla="*/ 1725 w 46"/>
                <a:gd name="T7" fmla="*/ 427535 h 27"/>
                <a:gd name="T8" fmla="*/ 0 w 46"/>
                <a:gd name="T9" fmla="*/ 153360 h 27"/>
                <a:gd name="T10" fmla="*/ 5617 w 46"/>
                <a:gd name="T11" fmla="*/ 108966 h 27"/>
                <a:gd name="T12" fmla="*/ 12864 w 46"/>
                <a:gd name="T13" fmla="*/ 1 h 27"/>
                <a:gd name="T14" fmla="*/ 20513 w 46"/>
                <a:gd name="T15" fmla="*/ 0 h 27"/>
                <a:gd name="T16" fmla="*/ 16970 w 46"/>
                <a:gd name="T17" fmla="*/ 642693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6"/>
                <a:gd name="T28" fmla="*/ 0 h 27"/>
                <a:gd name="T29" fmla="*/ 46 w 46"/>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6" h="27">
                  <a:moveTo>
                    <a:pt x="39" y="16"/>
                  </a:moveTo>
                  <a:lnTo>
                    <a:pt x="39" y="27"/>
                  </a:lnTo>
                  <a:lnTo>
                    <a:pt x="21" y="20"/>
                  </a:lnTo>
                  <a:lnTo>
                    <a:pt x="4" y="11"/>
                  </a:lnTo>
                  <a:lnTo>
                    <a:pt x="0" y="4"/>
                  </a:lnTo>
                  <a:lnTo>
                    <a:pt x="13" y="3"/>
                  </a:lnTo>
                  <a:lnTo>
                    <a:pt x="29" y="1"/>
                  </a:lnTo>
                  <a:lnTo>
                    <a:pt x="46" y="0"/>
                  </a:lnTo>
                  <a:lnTo>
                    <a:pt x="39" y="1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3" name="Freeform 104">
              <a:extLst>
                <a:ext uri="{FF2B5EF4-FFF2-40B4-BE49-F238E27FC236}">
                  <a16:creationId xmlns:a16="http://schemas.microsoft.com/office/drawing/2014/main" id="{45B00EAB-460B-5F76-E9B9-603EBFCD2DDB}"/>
                </a:ext>
              </a:extLst>
            </p:cNvPr>
            <p:cNvSpPr>
              <a:spLocks/>
            </p:cNvSpPr>
            <p:nvPr/>
          </p:nvSpPr>
          <p:spPr bwMode="auto">
            <a:xfrm>
              <a:off x="4529558" y="2498350"/>
              <a:ext cx="47975" cy="83524"/>
            </a:xfrm>
            <a:custGeom>
              <a:avLst/>
              <a:gdLst>
                <a:gd name="T0" fmla="*/ 3869 w 25"/>
                <a:gd name="T1" fmla="*/ 2266634 h 42"/>
                <a:gd name="T2" fmla="*/ 1916 w 25"/>
                <a:gd name="T3" fmla="*/ 2677991 h 42"/>
                <a:gd name="T4" fmla="*/ 1109 w 25"/>
                <a:gd name="T5" fmla="*/ 2034919 h 42"/>
                <a:gd name="T6" fmla="*/ 924 w 25"/>
                <a:gd name="T7" fmla="*/ 1216580 h 42"/>
                <a:gd name="T8" fmla="*/ 0 w 25"/>
                <a:gd name="T9" fmla="*/ 417287 h 42"/>
                <a:gd name="T10" fmla="*/ 4231 w 25"/>
                <a:gd name="T11" fmla="*/ 0 h 42"/>
                <a:gd name="T12" fmla="*/ 7091 w 25"/>
                <a:gd name="T13" fmla="*/ 851606 h 42"/>
                <a:gd name="T14" fmla="*/ 6092 w 25"/>
                <a:gd name="T15" fmla="*/ 2192517 h 42"/>
                <a:gd name="T16" fmla="*/ 3869 w 25"/>
                <a:gd name="T17" fmla="*/ 2266634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42"/>
                <a:gd name="T29" fmla="*/ 25 w 25"/>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42">
                  <a:moveTo>
                    <a:pt x="13" y="36"/>
                  </a:moveTo>
                  <a:lnTo>
                    <a:pt x="7" y="42"/>
                  </a:lnTo>
                  <a:lnTo>
                    <a:pt x="4" y="32"/>
                  </a:lnTo>
                  <a:lnTo>
                    <a:pt x="3" y="19"/>
                  </a:lnTo>
                  <a:lnTo>
                    <a:pt x="0" y="6"/>
                  </a:lnTo>
                  <a:lnTo>
                    <a:pt x="15" y="0"/>
                  </a:lnTo>
                  <a:lnTo>
                    <a:pt x="25" y="13"/>
                  </a:lnTo>
                  <a:lnTo>
                    <a:pt x="22" y="35"/>
                  </a:lnTo>
                  <a:lnTo>
                    <a:pt x="13" y="3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4" name="Freeform 105">
              <a:extLst>
                <a:ext uri="{FF2B5EF4-FFF2-40B4-BE49-F238E27FC236}">
                  <a16:creationId xmlns:a16="http://schemas.microsoft.com/office/drawing/2014/main" id="{772133AD-0814-4EF4-6BA2-A1530C224B96}"/>
                </a:ext>
              </a:extLst>
            </p:cNvPr>
            <p:cNvSpPr>
              <a:spLocks/>
            </p:cNvSpPr>
            <p:nvPr/>
          </p:nvSpPr>
          <p:spPr bwMode="auto">
            <a:xfrm>
              <a:off x="4503971" y="2405715"/>
              <a:ext cx="1599" cy="3037"/>
            </a:xfrm>
            <a:custGeom>
              <a:avLst/>
              <a:gdLst>
                <a:gd name="T0" fmla="*/ 0 w 1"/>
                <a:gd name="T1" fmla="*/ 0 h 1"/>
                <a:gd name="T2" fmla="*/ 0 w 1"/>
                <a:gd name="T3" fmla="*/ 2147483647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1"/>
                  </a:lnTo>
                  <a:lnTo>
                    <a:pt x="0"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5" name="Freeform 106">
              <a:extLst>
                <a:ext uri="{FF2B5EF4-FFF2-40B4-BE49-F238E27FC236}">
                  <a16:creationId xmlns:a16="http://schemas.microsoft.com/office/drawing/2014/main" id="{90AA6280-3A44-825A-9876-BAED10FE3E31}"/>
                </a:ext>
              </a:extLst>
            </p:cNvPr>
            <p:cNvSpPr>
              <a:spLocks/>
            </p:cNvSpPr>
            <p:nvPr/>
          </p:nvSpPr>
          <p:spPr bwMode="auto">
            <a:xfrm>
              <a:off x="5039690" y="2471015"/>
              <a:ext cx="530921" cy="218681"/>
            </a:xfrm>
            <a:custGeom>
              <a:avLst/>
              <a:gdLst>
                <a:gd name="T0" fmla="*/ 50951 w 277"/>
                <a:gd name="T1" fmla="*/ 6087957 h 109"/>
                <a:gd name="T2" fmla="*/ 43090 w 277"/>
                <a:gd name="T3" fmla="*/ 6425020 h 109"/>
                <a:gd name="T4" fmla="*/ 41477 w 277"/>
                <a:gd name="T5" fmla="*/ 7310390 h 109"/>
                <a:gd name="T6" fmla="*/ 41283 w 277"/>
                <a:gd name="T7" fmla="*/ 7046152 h 109"/>
                <a:gd name="T8" fmla="*/ 39568 w 277"/>
                <a:gd name="T9" fmla="*/ 6313164 h 109"/>
                <a:gd name="T10" fmla="*/ 33500 w 277"/>
                <a:gd name="T11" fmla="*/ 6650290 h 109"/>
                <a:gd name="T12" fmla="*/ 25753 w 277"/>
                <a:gd name="T13" fmla="*/ 6844176 h 109"/>
                <a:gd name="T14" fmla="*/ 18615 w 277"/>
                <a:gd name="T15" fmla="*/ 6650290 h 109"/>
                <a:gd name="T16" fmla="*/ 12702 w 277"/>
                <a:gd name="T17" fmla="*/ 6523801 h 109"/>
                <a:gd name="T18" fmla="*/ 8506 w 277"/>
                <a:gd name="T19" fmla="*/ 6313164 h 109"/>
                <a:gd name="T20" fmla="*/ 8842 w 277"/>
                <a:gd name="T21" fmla="*/ 6059539 h 109"/>
                <a:gd name="T22" fmla="*/ 5921 w 277"/>
                <a:gd name="T23" fmla="*/ 5630275 h 109"/>
                <a:gd name="T24" fmla="*/ 4580 w 277"/>
                <a:gd name="T25" fmla="*/ 4996359 h 109"/>
                <a:gd name="T26" fmla="*/ 897 w 277"/>
                <a:gd name="T27" fmla="*/ 4090509 h 109"/>
                <a:gd name="T28" fmla="*/ 3188 w 277"/>
                <a:gd name="T29" fmla="*/ 4311113 h 109"/>
                <a:gd name="T30" fmla="*/ 2654 w 277"/>
                <a:gd name="T31" fmla="*/ 3710671 h 109"/>
                <a:gd name="T32" fmla="*/ 0 w 277"/>
                <a:gd name="T33" fmla="*/ 3012252 h 109"/>
                <a:gd name="T34" fmla="*/ 4122 w 277"/>
                <a:gd name="T35" fmla="*/ 1971316 h 109"/>
                <a:gd name="T36" fmla="*/ 10598 w 277"/>
                <a:gd name="T37" fmla="*/ 1742401 h 109"/>
                <a:gd name="T38" fmla="*/ 12219 w 277"/>
                <a:gd name="T39" fmla="*/ 1444267 h 109"/>
                <a:gd name="T40" fmla="*/ 17553 w 277"/>
                <a:gd name="T41" fmla="*/ 1070001 h 109"/>
                <a:gd name="T42" fmla="*/ 27327 w 277"/>
                <a:gd name="T43" fmla="*/ 1 h 109"/>
                <a:gd name="T44" fmla="*/ 33500 w 277"/>
                <a:gd name="T45" fmla="*/ 1 h 109"/>
                <a:gd name="T46" fmla="*/ 37728 w 277"/>
                <a:gd name="T47" fmla="*/ 620969 h 109"/>
                <a:gd name="T48" fmla="*/ 48242 w 277"/>
                <a:gd name="T49" fmla="*/ 1116081 h 109"/>
                <a:gd name="T50" fmla="*/ 59305 w 277"/>
                <a:gd name="T51" fmla="*/ 620969 h 109"/>
                <a:gd name="T52" fmla="*/ 66839 w 277"/>
                <a:gd name="T53" fmla="*/ 962410 h 109"/>
                <a:gd name="T54" fmla="*/ 70455 w 277"/>
                <a:gd name="T55" fmla="*/ 2351893 h 109"/>
                <a:gd name="T56" fmla="*/ 72242 w 277"/>
                <a:gd name="T57" fmla="*/ 3012252 h 109"/>
                <a:gd name="T58" fmla="*/ 73193 w 277"/>
                <a:gd name="T59" fmla="*/ 4872722 h 109"/>
                <a:gd name="T60" fmla="*/ 73741 w 277"/>
                <a:gd name="T61" fmla="*/ 5854305 h 109"/>
                <a:gd name="T62" fmla="*/ 67590 w 277"/>
                <a:gd name="T63" fmla="*/ 5630275 h 109"/>
                <a:gd name="T64" fmla="*/ 64958 w 277"/>
                <a:gd name="T65" fmla="*/ 5778970 h 109"/>
                <a:gd name="T66" fmla="*/ 56911 w 277"/>
                <a:gd name="T67" fmla="*/ 6087957 h 1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77"/>
                <a:gd name="T103" fmla="*/ 0 h 109"/>
                <a:gd name="T104" fmla="*/ 277 w 277"/>
                <a:gd name="T105" fmla="*/ 109 h 1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77" h="109">
                  <a:moveTo>
                    <a:pt x="208" y="91"/>
                  </a:moveTo>
                  <a:lnTo>
                    <a:pt x="186" y="91"/>
                  </a:lnTo>
                  <a:lnTo>
                    <a:pt x="163" y="93"/>
                  </a:lnTo>
                  <a:lnTo>
                    <a:pt x="157" y="96"/>
                  </a:lnTo>
                  <a:lnTo>
                    <a:pt x="157" y="103"/>
                  </a:lnTo>
                  <a:lnTo>
                    <a:pt x="151" y="109"/>
                  </a:lnTo>
                  <a:lnTo>
                    <a:pt x="150" y="107"/>
                  </a:lnTo>
                  <a:lnTo>
                    <a:pt x="150" y="105"/>
                  </a:lnTo>
                  <a:lnTo>
                    <a:pt x="150" y="91"/>
                  </a:lnTo>
                  <a:lnTo>
                    <a:pt x="144" y="94"/>
                  </a:lnTo>
                  <a:lnTo>
                    <a:pt x="134" y="94"/>
                  </a:lnTo>
                  <a:lnTo>
                    <a:pt x="122" y="99"/>
                  </a:lnTo>
                  <a:lnTo>
                    <a:pt x="108" y="106"/>
                  </a:lnTo>
                  <a:lnTo>
                    <a:pt x="94" y="102"/>
                  </a:lnTo>
                  <a:lnTo>
                    <a:pt x="71" y="91"/>
                  </a:lnTo>
                  <a:lnTo>
                    <a:pt x="68" y="99"/>
                  </a:lnTo>
                  <a:lnTo>
                    <a:pt x="61" y="103"/>
                  </a:lnTo>
                  <a:lnTo>
                    <a:pt x="46" y="97"/>
                  </a:lnTo>
                  <a:lnTo>
                    <a:pt x="39" y="93"/>
                  </a:lnTo>
                  <a:lnTo>
                    <a:pt x="31" y="94"/>
                  </a:lnTo>
                  <a:lnTo>
                    <a:pt x="23" y="94"/>
                  </a:lnTo>
                  <a:lnTo>
                    <a:pt x="32" y="90"/>
                  </a:lnTo>
                  <a:lnTo>
                    <a:pt x="20" y="89"/>
                  </a:lnTo>
                  <a:lnTo>
                    <a:pt x="22" y="84"/>
                  </a:lnTo>
                  <a:lnTo>
                    <a:pt x="16" y="77"/>
                  </a:lnTo>
                  <a:lnTo>
                    <a:pt x="17" y="74"/>
                  </a:lnTo>
                  <a:lnTo>
                    <a:pt x="4" y="68"/>
                  </a:lnTo>
                  <a:lnTo>
                    <a:pt x="3" y="61"/>
                  </a:lnTo>
                  <a:lnTo>
                    <a:pt x="7" y="62"/>
                  </a:lnTo>
                  <a:lnTo>
                    <a:pt x="12" y="64"/>
                  </a:lnTo>
                  <a:lnTo>
                    <a:pt x="9" y="58"/>
                  </a:lnTo>
                  <a:lnTo>
                    <a:pt x="9" y="55"/>
                  </a:lnTo>
                  <a:lnTo>
                    <a:pt x="7" y="45"/>
                  </a:lnTo>
                  <a:lnTo>
                    <a:pt x="0" y="45"/>
                  </a:lnTo>
                  <a:lnTo>
                    <a:pt x="0" y="32"/>
                  </a:lnTo>
                  <a:lnTo>
                    <a:pt x="15" y="29"/>
                  </a:lnTo>
                  <a:lnTo>
                    <a:pt x="19" y="26"/>
                  </a:lnTo>
                  <a:lnTo>
                    <a:pt x="38" y="26"/>
                  </a:lnTo>
                  <a:lnTo>
                    <a:pt x="48" y="22"/>
                  </a:lnTo>
                  <a:lnTo>
                    <a:pt x="44" y="22"/>
                  </a:lnTo>
                  <a:lnTo>
                    <a:pt x="36" y="16"/>
                  </a:lnTo>
                  <a:lnTo>
                    <a:pt x="64" y="16"/>
                  </a:lnTo>
                  <a:lnTo>
                    <a:pt x="84" y="4"/>
                  </a:lnTo>
                  <a:lnTo>
                    <a:pt x="99" y="1"/>
                  </a:lnTo>
                  <a:lnTo>
                    <a:pt x="113" y="0"/>
                  </a:lnTo>
                  <a:lnTo>
                    <a:pt x="122" y="1"/>
                  </a:lnTo>
                  <a:lnTo>
                    <a:pt x="132" y="6"/>
                  </a:lnTo>
                  <a:lnTo>
                    <a:pt x="138" y="9"/>
                  </a:lnTo>
                  <a:lnTo>
                    <a:pt x="157" y="13"/>
                  </a:lnTo>
                  <a:lnTo>
                    <a:pt x="176" y="17"/>
                  </a:lnTo>
                  <a:lnTo>
                    <a:pt x="195" y="19"/>
                  </a:lnTo>
                  <a:lnTo>
                    <a:pt x="216" y="9"/>
                  </a:lnTo>
                  <a:lnTo>
                    <a:pt x="235" y="7"/>
                  </a:lnTo>
                  <a:lnTo>
                    <a:pt x="244" y="14"/>
                  </a:lnTo>
                  <a:lnTo>
                    <a:pt x="250" y="25"/>
                  </a:lnTo>
                  <a:lnTo>
                    <a:pt x="257" y="35"/>
                  </a:lnTo>
                  <a:lnTo>
                    <a:pt x="269" y="41"/>
                  </a:lnTo>
                  <a:lnTo>
                    <a:pt x="263" y="45"/>
                  </a:lnTo>
                  <a:lnTo>
                    <a:pt x="264" y="55"/>
                  </a:lnTo>
                  <a:lnTo>
                    <a:pt x="267" y="73"/>
                  </a:lnTo>
                  <a:lnTo>
                    <a:pt x="277" y="86"/>
                  </a:lnTo>
                  <a:lnTo>
                    <a:pt x="269" y="87"/>
                  </a:lnTo>
                  <a:lnTo>
                    <a:pt x="264" y="84"/>
                  </a:lnTo>
                  <a:lnTo>
                    <a:pt x="246" y="84"/>
                  </a:lnTo>
                  <a:lnTo>
                    <a:pt x="241" y="87"/>
                  </a:lnTo>
                  <a:lnTo>
                    <a:pt x="237" y="86"/>
                  </a:lnTo>
                  <a:lnTo>
                    <a:pt x="222" y="89"/>
                  </a:lnTo>
                  <a:lnTo>
                    <a:pt x="208" y="9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6" name="Freeform 107">
              <a:extLst>
                <a:ext uri="{FF2B5EF4-FFF2-40B4-BE49-F238E27FC236}">
                  <a16:creationId xmlns:a16="http://schemas.microsoft.com/office/drawing/2014/main" id="{868BAC1C-AF78-A633-517F-07DD47F9CCEE}"/>
                </a:ext>
              </a:extLst>
            </p:cNvPr>
            <p:cNvSpPr>
              <a:spLocks/>
            </p:cNvSpPr>
            <p:nvPr/>
          </p:nvSpPr>
          <p:spPr bwMode="auto">
            <a:xfrm>
              <a:off x="5028496" y="2471015"/>
              <a:ext cx="81557" cy="65301"/>
            </a:xfrm>
            <a:custGeom>
              <a:avLst/>
              <a:gdLst>
                <a:gd name="T0" fmla="*/ 1961 w 42"/>
                <a:gd name="T1" fmla="*/ 1 h 32"/>
                <a:gd name="T2" fmla="*/ 2 w 42"/>
                <a:gd name="T3" fmla="*/ 336568 h 32"/>
                <a:gd name="T4" fmla="*/ 2381 w 42"/>
                <a:gd name="T5" fmla="*/ 876349 h 32"/>
                <a:gd name="T6" fmla="*/ 0 w 42"/>
                <a:gd name="T7" fmla="*/ 1715921 h 32"/>
                <a:gd name="T8" fmla="*/ 3591 w 42"/>
                <a:gd name="T9" fmla="*/ 1771404 h 32"/>
                <a:gd name="T10" fmla="*/ 1961 w 42"/>
                <a:gd name="T11" fmla="*/ 2466636 h 32"/>
                <a:gd name="T12" fmla="*/ 8252 w 42"/>
                <a:gd name="T13" fmla="*/ 1550255 h 32"/>
                <a:gd name="T14" fmla="*/ 17177 w 42"/>
                <a:gd name="T15" fmla="*/ 1232281 h 32"/>
                <a:gd name="T16" fmla="*/ 15157 w 42"/>
                <a:gd name="T17" fmla="*/ 876349 h 32"/>
                <a:gd name="T18" fmla="*/ 10790 w 42"/>
                <a:gd name="T19" fmla="*/ 0 h 32"/>
                <a:gd name="T20" fmla="*/ 1961 w 42"/>
                <a:gd name="T21" fmla="*/ 1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5" y="1"/>
                  </a:moveTo>
                  <a:lnTo>
                    <a:pt x="2" y="4"/>
                  </a:lnTo>
                  <a:lnTo>
                    <a:pt x="6" y="12"/>
                  </a:lnTo>
                  <a:lnTo>
                    <a:pt x="0" y="22"/>
                  </a:lnTo>
                  <a:lnTo>
                    <a:pt x="9" y="23"/>
                  </a:lnTo>
                  <a:lnTo>
                    <a:pt x="5" y="32"/>
                  </a:lnTo>
                  <a:lnTo>
                    <a:pt x="21" y="20"/>
                  </a:lnTo>
                  <a:lnTo>
                    <a:pt x="42" y="16"/>
                  </a:lnTo>
                  <a:lnTo>
                    <a:pt x="37" y="12"/>
                  </a:lnTo>
                  <a:lnTo>
                    <a:pt x="26" y="0"/>
                  </a:lnTo>
                  <a:lnTo>
                    <a:pt x="5"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7" name="Freeform 108">
              <a:extLst>
                <a:ext uri="{FF2B5EF4-FFF2-40B4-BE49-F238E27FC236}">
                  <a16:creationId xmlns:a16="http://schemas.microsoft.com/office/drawing/2014/main" id="{9E29CD90-9C10-C972-1800-E136261D0FDF}"/>
                </a:ext>
              </a:extLst>
            </p:cNvPr>
            <p:cNvSpPr>
              <a:spLocks/>
            </p:cNvSpPr>
            <p:nvPr/>
          </p:nvSpPr>
          <p:spPr bwMode="auto">
            <a:xfrm>
              <a:off x="4897365" y="1978983"/>
              <a:ext cx="235076" cy="157937"/>
            </a:xfrm>
            <a:custGeom>
              <a:avLst/>
              <a:gdLst>
                <a:gd name="T0" fmla="*/ 39476 w 122"/>
                <a:gd name="T1" fmla="*/ 4101265 h 78"/>
                <a:gd name="T2" fmla="*/ 38068 w 122"/>
                <a:gd name="T3" fmla="*/ 4708469 h 78"/>
                <a:gd name="T4" fmla="*/ 38995 w 122"/>
                <a:gd name="T5" fmla="*/ 6296650 h 78"/>
                <a:gd name="T6" fmla="*/ 34087 w 122"/>
                <a:gd name="T7" fmla="*/ 6935865 h 78"/>
                <a:gd name="T8" fmla="*/ 34087 w 122"/>
                <a:gd name="T9" fmla="*/ 7663683 h 78"/>
                <a:gd name="T10" fmla="*/ 26221 w 122"/>
                <a:gd name="T11" fmla="*/ 7239244 h 78"/>
                <a:gd name="T12" fmla="*/ 18728 w 122"/>
                <a:gd name="T13" fmla="*/ 6821242 h 78"/>
                <a:gd name="T14" fmla="*/ 10706 w 122"/>
                <a:gd name="T15" fmla="*/ 6821242 h 78"/>
                <a:gd name="T16" fmla="*/ 3062 w 122"/>
                <a:gd name="T17" fmla="*/ 6671665 h 78"/>
                <a:gd name="T18" fmla="*/ 1 w 122"/>
                <a:gd name="T19" fmla="*/ 6296650 h 78"/>
                <a:gd name="T20" fmla="*/ 3062 w 122"/>
                <a:gd name="T21" fmla="*/ 5091858 h 78"/>
                <a:gd name="T22" fmla="*/ 0 w 122"/>
                <a:gd name="T23" fmla="*/ 2879429 h 78"/>
                <a:gd name="T24" fmla="*/ 6454 w 122"/>
                <a:gd name="T25" fmla="*/ 1548562 h 78"/>
                <a:gd name="T26" fmla="*/ 13200 w 122"/>
                <a:gd name="T27" fmla="*/ 295428 h 78"/>
                <a:gd name="T28" fmla="*/ 19164 w 122"/>
                <a:gd name="T29" fmla="*/ 0 h 78"/>
                <a:gd name="T30" fmla="*/ 25989 w 122"/>
                <a:gd name="T31" fmla="*/ 427992 h 78"/>
                <a:gd name="T32" fmla="*/ 32923 w 122"/>
                <a:gd name="T33" fmla="*/ 642686 h 78"/>
                <a:gd name="T34" fmla="*/ 34087 w 122"/>
                <a:gd name="T35" fmla="*/ 2667959 h 78"/>
                <a:gd name="T36" fmla="*/ 39476 w 122"/>
                <a:gd name="T37" fmla="*/ 4101265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78"/>
                <a:gd name="T59" fmla="*/ 122 w 122"/>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78">
                  <a:moveTo>
                    <a:pt x="122" y="42"/>
                  </a:moveTo>
                  <a:lnTo>
                    <a:pt x="118" y="48"/>
                  </a:lnTo>
                  <a:lnTo>
                    <a:pt x="120" y="64"/>
                  </a:lnTo>
                  <a:lnTo>
                    <a:pt x="105" y="71"/>
                  </a:lnTo>
                  <a:lnTo>
                    <a:pt x="105" y="78"/>
                  </a:lnTo>
                  <a:lnTo>
                    <a:pt x="81" y="74"/>
                  </a:lnTo>
                  <a:lnTo>
                    <a:pt x="58" y="70"/>
                  </a:lnTo>
                  <a:lnTo>
                    <a:pt x="33" y="70"/>
                  </a:lnTo>
                  <a:lnTo>
                    <a:pt x="10" y="68"/>
                  </a:lnTo>
                  <a:lnTo>
                    <a:pt x="1" y="64"/>
                  </a:lnTo>
                  <a:lnTo>
                    <a:pt x="10" y="52"/>
                  </a:lnTo>
                  <a:lnTo>
                    <a:pt x="0" y="30"/>
                  </a:lnTo>
                  <a:lnTo>
                    <a:pt x="20" y="16"/>
                  </a:lnTo>
                  <a:lnTo>
                    <a:pt x="41" y="3"/>
                  </a:lnTo>
                  <a:lnTo>
                    <a:pt x="59" y="0"/>
                  </a:lnTo>
                  <a:lnTo>
                    <a:pt x="80" y="4"/>
                  </a:lnTo>
                  <a:lnTo>
                    <a:pt x="102" y="7"/>
                  </a:lnTo>
                  <a:lnTo>
                    <a:pt x="105" y="27"/>
                  </a:lnTo>
                  <a:lnTo>
                    <a:pt x="122" y="4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8" name="Freeform 109">
              <a:extLst>
                <a:ext uri="{FF2B5EF4-FFF2-40B4-BE49-F238E27FC236}">
                  <a16:creationId xmlns:a16="http://schemas.microsoft.com/office/drawing/2014/main" id="{A8370D2C-D3DA-BD2D-3459-08D1D1C7452A}"/>
                </a:ext>
              </a:extLst>
            </p:cNvPr>
            <p:cNvSpPr>
              <a:spLocks/>
            </p:cNvSpPr>
            <p:nvPr/>
          </p:nvSpPr>
          <p:spPr bwMode="auto">
            <a:xfrm>
              <a:off x="4510368" y="1950129"/>
              <a:ext cx="62367" cy="69856"/>
            </a:xfrm>
            <a:custGeom>
              <a:avLst/>
              <a:gdLst>
                <a:gd name="T0" fmla="*/ 8194 w 32"/>
                <a:gd name="T1" fmla="*/ 1962967 h 35"/>
                <a:gd name="T2" fmla="*/ 7299 w 32"/>
                <a:gd name="T3" fmla="*/ 2192515 h 35"/>
                <a:gd name="T4" fmla="*/ 2714 w 32"/>
                <a:gd name="T5" fmla="*/ 2172273 h 35"/>
                <a:gd name="T6" fmla="*/ 1499 w 32"/>
                <a:gd name="T7" fmla="*/ 1962967 h 35"/>
                <a:gd name="T8" fmla="*/ 0 w 32"/>
                <a:gd name="T9" fmla="*/ 1374077 h 35"/>
                <a:gd name="T10" fmla="*/ 0 w 32"/>
                <a:gd name="T11" fmla="*/ 417287 h 35"/>
                <a:gd name="T12" fmla="*/ 3308 w 32"/>
                <a:gd name="T13" fmla="*/ 204471 h 35"/>
                <a:gd name="T14" fmla="*/ 4650 w 32"/>
                <a:gd name="T15" fmla="*/ 417287 h 35"/>
                <a:gd name="T16" fmla="*/ 4650 w 32"/>
                <a:gd name="T17" fmla="*/ 204471 h 35"/>
                <a:gd name="T18" fmla="*/ 8896 w 32"/>
                <a:gd name="T19" fmla="*/ 0 h 35"/>
                <a:gd name="T20" fmla="*/ 11600 w 32"/>
                <a:gd name="T21" fmla="*/ 417287 h 35"/>
                <a:gd name="T22" fmla="*/ 14832 w 32"/>
                <a:gd name="T23" fmla="*/ 417287 h 35"/>
                <a:gd name="T24" fmla="*/ 12690 w 32"/>
                <a:gd name="T25" fmla="*/ 851606 h 35"/>
                <a:gd name="T26" fmla="*/ 8543 w 32"/>
                <a:gd name="T27" fmla="*/ 1319747 h 35"/>
                <a:gd name="T28" fmla="*/ 8543 w 32"/>
                <a:gd name="T29" fmla="*/ 1374077 h 35"/>
                <a:gd name="T30" fmla="*/ 8194 w 32"/>
                <a:gd name="T31" fmla="*/ 1962967 h 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35"/>
                <a:gd name="T50" fmla="*/ 32 w 32"/>
                <a:gd name="T51" fmla="*/ 35 h 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35">
                  <a:moveTo>
                    <a:pt x="17" y="31"/>
                  </a:moveTo>
                  <a:lnTo>
                    <a:pt x="16" y="35"/>
                  </a:lnTo>
                  <a:lnTo>
                    <a:pt x="6" y="34"/>
                  </a:lnTo>
                  <a:lnTo>
                    <a:pt x="3" y="31"/>
                  </a:lnTo>
                  <a:lnTo>
                    <a:pt x="0" y="22"/>
                  </a:lnTo>
                  <a:lnTo>
                    <a:pt x="0" y="6"/>
                  </a:lnTo>
                  <a:lnTo>
                    <a:pt x="7" y="3"/>
                  </a:lnTo>
                  <a:lnTo>
                    <a:pt x="10" y="6"/>
                  </a:lnTo>
                  <a:lnTo>
                    <a:pt x="10" y="3"/>
                  </a:lnTo>
                  <a:lnTo>
                    <a:pt x="20" y="0"/>
                  </a:lnTo>
                  <a:lnTo>
                    <a:pt x="25" y="6"/>
                  </a:lnTo>
                  <a:lnTo>
                    <a:pt x="32" y="6"/>
                  </a:lnTo>
                  <a:lnTo>
                    <a:pt x="28" y="13"/>
                  </a:lnTo>
                  <a:lnTo>
                    <a:pt x="19" y="21"/>
                  </a:lnTo>
                  <a:lnTo>
                    <a:pt x="19" y="22"/>
                  </a:lnTo>
                  <a:lnTo>
                    <a:pt x="17" y="3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69" name="Freeform 110">
              <a:extLst>
                <a:ext uri="{FF2B5EF4-FFF2-40B4-BE49-F238E27FC236}">
                  <a16:creationId xmlns:a16="http://schemas.microsoft.com/office/drawing/2014/main" id="{D38D1D8C-CA10-50FD-455C-3C5BC6BE5FC0}"/>
                </a:ext>
              </a:extLst>
            </p:cNvPr>
            <p:cNvSpPr>
              <a:spLocks/>
            </p:cNvSpPr>
            <p:nvPr/>
          </p:nvSpPr>
          <p:spPr bwMode="auto">
            <a:xfrm>
              <a:off x="4579132" y="1974428"/>
              <a:ext cx="41578" cy="37965"/>
            </a:xfrm>
            <a:custGeom>
              <a:avLst/>
              <a:gdLst>
                <a:gd name="T0" fmla="*/ 16030 w 21"/>
                <a:gd name="T1" fmla="*/ 437565 h 19"/>
                <a:gd name="T2" fmla="*/ 14780 w 21"/>
                <a:gd name="T3" fmla="*/ 171405 h 19"/>
                <a:gd name="T4" fmla="*/ 9714 w 21"/>
                <a:gd name="T5" fmla="*/ 0 h 19"/>
                <a:gd name="T6" fmla="*/ 9714 w 21"/>
                <a:gd name="T7" fmla="*/ 346134 h 19"/>
                <a:gd name="T8" fmla="*/ 6822 w 21"/>
                <a:gd name="T9" fmla="*/ 346134 h 19"/>
                <a:gd name="T10" fmla="*/ 2345 w 21"/>
                <a:gd name="T11" fmla="*/ 171405 h 19"/>
                <a:gd name="T12" fmla="*/ 2 w 21"/>
                <a:gd name="T13" fmla="*/ 346134 h 19"/>
                <a:gd name="T14" fmla="*/ 0 w 21"/>
                <a:gd name="T15" fmla="*/ 621803 h 19"/>
                <a:gd name="T16" fmla="*/ 9642 w 21"/>
                <a:gd name="T17" fmla="*/ 1012258 h 19"/>
                <a:gd name="T18" fmla="*/ 11938 w 21"/>
                <a:gd name="T19" fmla="*/ 806580 h 19"/>
                <a:gd name="T20" fmla="*/ 12027 w 21"/>
                <a:gd name="T21" fmla="*/ 634929 h 19"/>
                <a:gd name="T22" fmla="*/ 16030 w 21"/>
                <a:gd name="T23" fmla="*/ 437565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9"/>
                <a:gd name="T38" fmla="*/ 21 w 21"/>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9">
                  <a:moveTo>
                    <a:pt x="21" y="8"/>
                  </a:moveTo>
                  <a:lnTo>
                    <a:pt x="19" y="3"/>
                  </a:lnTo>
                  <a:lnTo>
                    <a:pt x="13" y="0"/>
                  </a:lnTo>
                  <a:lnTo>
                    <a:pt x="13" y="6"/>
                  </a:lnTo>
                  <a:lnTo>
                    <a:pt x="9" y="6"/>
                  </a:lnTo>
                  <a:lnTo>
                    <a:pt x="3" y="3"/>
                  </a:lnTo>
                  <a:lnTo>
                    <a:pt x="2" y="6"/>
                  </a:lnTo>
                  <a:lnTo>
                    <a:pt x="0" y="11"/>
                  </a:lnTo>
                  <a:lnTo>
                    <a:pt x="12" y="19"/>
                  </a:lnTo>
                  <a:lnTo>
                    <a:pt x="15" y="15"/>
                  </a:lnTo>
                  <a:lnTo>
                    <a:pt x="16" y="12"/>
                  </a:lnTo>
                  <a:lnTo>
                    <a:pt x="21" y="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0" name="Freeform 111">
              <a:extLst>
                <a:ext uri="{FF2B5EF4-FFF2-40B4-BE49-F238E27FC236}">
                  <a16:creationId xmlns:a16="http://schemas.microsoft.com/office/drawing/2014/main" id="{3F7CC58C-A352-042A-A1D8-965B8C64FE69}"/>
                </a:ext>
              </a:extLst>
            </p:cNvPr>
            <p:cNvSpPr>
              <a:spLocks/>
            </p:cNvSpPr>
            <p:nvPr/>
          </p:nvSpPr>
          <p:spPr bwMode="auto">
            <a:xfrm>
              <a:off x="4511967" y="1922795"/>
              <a:ext cx="54371" cy="36447"/>
            </a:xfrm>
            <a:custGeom>
              <a:avLst/>
              <a:gdLst>
                <a:gd name="T0" fmla="*/ 9363 w 28"/>
                <a:gd name="T1" fmla="*/ 1058437 h 18"/>
                <a:gd name="T2" fmla="*/ 1360 w 28"/>
                <a:gd name="T3" fmla="*/ 1147111 h 18"/>
                <a:gd name="T4" fmla="*/ 0 w 28"/>
                <a:gd name="T5" fmla="*/ 1621461 h 18"/>
                <a:gd name="T6" fmla="*/ 2 w 28"/>
                <a:gd name="T7" fmla="*/ 859338 h 18"/>
                <a:gd name="T8" fmla="*/ 6350 w 28"/>
                <a:gd name="T9" fmla="*/ 732764 h 18"/>
                <a:gd name="T10" fmla="*/ 11508 w 28"/>
                <a:gd name="T11" fmla="*/ 0 h 18"/>
                <a:gd name="T12" fmla="*/ 9363 w 28"/>
                <a:gd name="T13" fmla="*/ 1058437 h 18"/>
                <a:gd name="T14" fmla="*/ 0 60000 65536"/>
                <a:gd name="T15" fmla="*/ 0 60000 65536"/>
                <a:gd name="T16" fmla="*/ 0 60000 65536"/>
                <a:gd name="T17" fmla="*/ 0 60000 65536"/>
                <a:gd name="T18" fmla="*/ 0 60000 65536"/>
                <a:gd name="T19" fmla="*/ 0 60000 65536"/>
                <a:gd name="T20" fmla="*/ 0 60000 65536"/>
                <a:gd name="T21" fmla="*/ 0 w 28"/>
                <a:gd name="T22" fmla="*/ 0 h 18"/>
                <a:gd name="T23" fmla="*/ 28 w 2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18">
                  <a:moveTo>
                    <a:pt x="22" y="12"/>
                  </a:moveTo>
                  <a:lnTo>
                    <a:pt x="3" y="13"/>
                  </a:lnTo>
                  <a:lnTo>
                    <a:pt x="0" y="18"/>
                  </a:lnTo>
                  <a:lnTo>
                    <a:pt x="2" y="10"/>
                  </a:lnTo>
                  <a:lnTo>
                    <a:pt x="15" y="8"/>
                  </a:lnTo>
                  <a:lnTo>
                    <a:pt x="28" y="0"/>
                  </a:lnTo>
                  <a:lnTo>
                    <a:pt x="22" y="1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1" name="Freeform 112">
              <a:extLst>
                <a:ext uri="{FF2B5EF4-FFF2-40B4-BE49-F238E27FC236}">
                  <a16:creationId xmlns:a16="http://schemas.microsoft.com/office/drawing/2014/main" id="{426116B4-62E3-EE93-066E-3137B317C3EA}"/>
                </a:ext>
              </a:extLst>
            </p:cNvPr>
            <p:cNvSpPr>
              <a:spLocks/>
            </p:cNvSpPr>
            <p:nvPr/>
          </p:nvSpPr>
          <p:spPr bwMode="auto">
            <a:xfrm>
              <a:off x="4548747" y="1997206"/>
              <a:ext cx="25587" cy="13668"/>
            </a:xfrm>
            <a:custGeom>
              <a:avLst/>
              <a:gdLst>
                <a:gd name="T0" fmla="*/ 8391 w 13"/>
                <a:gd name="T1" fmla="*/ 204471 h 7"/>
                <a:gd name="T2" fmla="*/ 5777 w 13"/>
                <a:gd name="T3" fmla="*/ 0 h 7"/>
                <a:gd name="T4" fmla="*/ 0 w 13"/>
                <a:gd name="T5" fmla="*/ 1 h 7"/>
                <a:gd name="T6" fmla="*/ 6012 w 13"/>
                <a:gd name="T7" fmla="*/ 438027 h 7"/>
                <a:gd name="T8" fmla="*/ 8391 w 13"/>
                <a:gd name="T9" fmla="*/ 204471 h 7"/>
                <a:gd name="T10" fmla="*/ 0 60000 65536"/>
                <a:gd name="T11" fmla="*/ 0 60000 65536"/>
                <a:gd name="T12" fmla="*/ 0 60000 65536"/>
                <a:gd name="T13" fmla="*/ 0 60000 65536"/>
                <a:gd name="T14" fmla="*/ 0 60000 65536"/>
                <a:gd name="T15" fmla="*/ 0 w 13"/>
                <a:gd name="T16" fmla="*/ 0 h 7"/>
                <a:gd name="T17" fmla="*/ 13 w 13"/>
                <a:gd name="T18" fmla="*/ 7 h 7"/>
              </a:gdLst>
              <a:ahLst/>
              <a:cxnLst>
                <a:cxn ang="T10">
                  <a:pos x="T0" y="T1"/>
                </a:cxn>
                <a:cxn ang="T11">
                  <a:pos x="T2" y="T3"/>
                </a:cxn>
                <a:cxn ang="T12">
                  <a:pos x="T4" y="T5"/>
                </a:cxn>
                <a:cxn ang="T13">
                  <a:pos x="T6" y="T7"/>
                </a:cxn>
                <a:cxn ang="T14">
                  <a:pos x="T8" y="T9"/>
                </a:cxn>
              </a:cxnLst>
              <a:rect l="T15" t="T16" r="T17" b="T18"/>
              <a:pathLst>
                <a:path w="13" h="7">
                  <a:moveTo>
                    <a:pt x="13" y="3"/>
                  </a:moveTo>
                  <a:lnTo>
                    <a:pt x="9" y="0"/>
                  </a:lnTo>
                  <a:lnTo>
                    <a:pt x="0" y="1"/>
                  </a:lnTo>
                  <a:lnTo>
                    <a:pt x="10" y="7"/>
                  </a:lnTo>
                  <a:lnTo>
                    <a:pt x="13"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2" name="Freeform 113">
              <a:extLst>
                <a:ext uri="{FF2B5EF4-FFF2-40B4-BE49-F238E27FC236}">
                  <a16:creationId xmlns:a16="http://schemas.microsoft.com/office/drawing/2014/main" id="{B013DD5A-138C-189D-FC12-EACE3F7DB074}"/>
                </a:ext>
              </a:extLst>
            </p:cNvPr>
            <p:cNvSpPr>
              <a:spLocks/>
            </p:cNvSpPr>
            <p:nvPr/>
          </p:nvSpPr>
          <p:spPr bwMode="auto">
            <a:xfrm>
              <a:off x="4603119" y="2018466"/>
              <a:ext cx="6396" cy="6074"/>
            </a:xfrm>
            <a:custGeom>
              <a:avLst/>
              <a:gdLst>
                <a:gd name="T0" fmla="*/ 4 w 4"/>
                <a:gd name="T1" fmla="*/ 1 h 3"/>
                <a:gd name="T2" fmla="*/ 1 w 4"/>
                <a:gd name="T3" fmla="*/ 0 h 3"/>
                <a:gd name="T4" fmla="*/ 0 w 4"/>
                <a:gd name="T5" fmla="*/ 20671 h 3"/>
                <a:gd name="T6" fmla="*/ 4 w 4"/>
                <a:gd name="T7" fmla="*/ 1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4" y="1"/>
                  </a:moveTo>
                  <a:lnTo>
                    <a:pt x="1" y="0"/>
                  </a:lnTo>
                  <a:lnTo>
                    <a:pt x="0" y="3"/>
                  </a:lnTo>
                  <a:lnTo>
                    <a:pt x="4"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3" name="Freeform 114">
              <a:extLst>
                <a:ext uri="{FF2B5EF4-FFF2-40B4-BE49-F238E27FC236}">
                  <a16:creationId xmlns:a16="http://schemas.microsoft.com/office/drawing/2014/main" id="{889473AB-42A5-D74E-C80A-6C1C16A932EC}"/>
                </a:ext>
              </a:extLst>
            </p:cNvPr>
            <p:cNvSpPr>
              <a:spLocks/>
            </p:cNvSpPr>
            <p:nvPr/>
          </p:nvSpPr>
          <p:spPr bwMode="auto">
            <a:xfrm>
              <a:off x="4874977" y="1862050"/>
              <a:ext cx="115140" cy="54670"/>
            </a:xfrm>
            <a:custGeom>
              <a:avLst/>
              <a:gdLst>
                <a:gd name="T0" fmla="*/ 17084 w 60"/>
                <a:gd name="T1" fmla="*/ 1528855 h 27"/>
                <a:gd name="T2" fmla="*/ 15655 w 60"/>
                <a:gd name="T3" fmla="*/ 1 h 27"/>
                <a:gd name="T4" fmla="*/ 6866 w 60"/>
                <a:gd name="T5" fmla="*/ 0 h 27"/>
                <a:gd name="T6" fmla="*/ 0 w 60"/>
                <a:gd name="T7" fmla="*/ 549799 h 27"/>
                <a:gd name="T8" fmla="*/ 924 w 60"/>
                <a:gd name="T9" fmla="*/ 977041 h 27"/>
                <a:gd name="T10" fmla="*/ 2759 w 60"/>
                <a:gd name="T11" fmla="*/ 1945546 h 27"/>
                <a:gd name="T12" fmla="*/ 4231 w 60"/>
                <a:gd name="T13" fmla="*/ 1792940 h 27"/>
                <a:gd name="T14" fmla="*/ 9887 w 60"/>
                <a:gd name="T15" fmla="*/ 2204331 h 27"/>
                <a:gd name="T16" fmla="*/ 15552 w 60"/>
                <a:gd name="T17" fmla="*/ 2393355 h 27"/>
                <a:gd name="T18" fmla="*/ 17084 w 60"/>
                <a:gd name="T19" fmla="*/ 1528855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27"/>
                <a:gd name="T32" fmla="*/ 60 w 60"/>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27">
                  <a:moveTo>
                    <a:pt x="60" y="17"/>
                  </a:moveTo>
                  <a:lnTo>
                    <a:pt x="55" y="1"/>
                  </a:lnTo>
                  <a:lnTo>
                    <a:pt x="24" y="0"/>
                  </a:lnTo>
                  <a:lnTo>
                    <a:pt x="0" y="6"/>
                  </a:lnTo>
                  <a:lnTo>
                    <a:pt x="3" y="11"/>
                  </a:lnTo>
                  <a:lnTo>
                    <a:pt x="10" y="22"/>
                  </a:lnTo>
                  <a:lnTo>
                    <a:pt x="15" y="20"/>
                  </a:lnTo>
                  <a:lnTo>
                    <a:pt x="35" y="24"/>
                  </a:lnTo>
                  <a:lnTo>
                    <a:pt x="54" y="27"/>
                  </a:lnTo>
                  <a:lnTo>
                    <a:pt x="60" y="1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4" name="Freeform 115">
              <a:extLst>
                <a:ext uri="{FF2B5EF4-FFF2-40B4-BE49-F238E27FC236}">
                  <a16:creationId xmlns:a16="http://schemas.microsoft.com/office/drawing/2014/main" id="{B5531961-9345-A74E-8724-01E23264B9AF}"/>
                </a:ext>
              </a:extLst>
            </p:cNvPr>
            <p:cNvSpPr>
              <a:spLocks/>
            </p:cNvSpPr>
            <p:nvPr/>
          </p:nvSpPr>
          <p:spPr bwMode="auto">
            <a:xfrm>
              <a:off x="4828600" y="1903051"/>
              <a:ext cx="182304" cy="83524"/>
            </a:xfrm>
            <a:custGeom>
              <a:avLst/>
              <a:gdLst>
                <a:gd name="T0" fmla="*/ 13860 w 95"/>
                <a:gd name="T1" fmla="*/ 2196609 h 41"/>
                <a:gd name="T2" fmla="*/ 7310 w 95"/>
                <a:gd name="T3" fmla="*/ 2490791 h 41"/>
                <a:gd name="T4" fmla="*/ 1109 w 95"/>
                <a:gd name="T5" fmla="*/ 2728789 h 41"/>
                <a:gd name="T6" fmla="*/ 0 w 95"/>
                <a:gd name="T7" fmla="*/ 2784922 h 41"/>
                <a:gd name="T8" fmla="*/ 1331 w 95"/>
                <a:gd name="T9" fmla="*/ 934563 h 41"/>
                <a:gd name="T10" fmla="*/ 4768 w 95"/>
                <a:gd name="T11" fmla="*/ 934563 h 41"/>
                <a:gd name="T12" fmla="*/ 9628 w 95"/>
                <a:gd name="T13" fmla="*/ 1759661 h 41"/>
                <a:gd name="T14" fmla="*/ 11864 w 95"/>
                <a:gd name="T15" fmla="*/ 1260095 h 41"/>
                <a:gd name="T16" fmla="*/ 11000 w 95"/>
                <a:gd name="T17" fmla="*/ 0 h 41"/>
                <a:gd name="T18" fmla="*/ 16638 w 95"/>
                <a:gd name="T19" fmla="*/ 351086 h 41"/>
                <a:gd name="T20" fmla="*/ 22394 w 95"/>
                <a:gd name="T21" fmla="*/ 534197 h 41"/>
                <a:gd name="T22" fmla="*/ 23959 w 95"/>
                <a:gd name="T23" fmla="*/ 1505517 h 41"/>
                <a:gd name="T24" fmla="*/ 27052 w 95"/>
                <a:gd name="T25" fmla="*/ 3041583 h 41"/>
                <a:gd name="T26" fmla="*/ 21826 w 95"/>
                <a:gd name="T27" fmla="*/ 3256369 h 41"/>
                <a:gd name="T28" fmla="*/ 13860 w 95"/>
                <a:gd name="T29" fmla="*/ 2196609 h 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5"/>
                <a:gd name="T46" fmla="*/ 0 h 41"/>
                <a:gd name="T47" fmla="*/ 95 w 95"/>
                <a:gd name="T48" fmla="*/ 41 h 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5" h="41">
                  <a:moveTo>
                    <a:pt x="48" y="28"/>
                  </a:moveTo>
                  <a:lnTo>
                    <a:pt x="26" y="31"/>
                  </a:lnTo>
                  <a:lnTo>
                    <a:pt x="4" y="34"/>
                  </a:lnTo>
                  <a:lnTo>
                    <a:pt x="0" y="35"/>
                  </a:lnTo>
                  <a:lnTo>
                    <a:pt x="5" y="12"/>
                  </a:lnTo>
                  <a:lnTo>
                    <a:pt x="17" y="12"/>
                  </a:lnTo>
                  <a:lnTo>
                    <a:pt x="34" y="22"/>
                  </a:lnTo>
                  <a:lnTo>
                    <a:pt x="42" y="16"/>
                  </a:lnTo>
                  <a:lnTo>
                    <a:pt x="39" y="0"/>
                  </a:lnTo>
                  <a:lnTo>
                    <a:pt x="59" y="4"/>
                  </a:lnTo>
                  <a:lnTo>
                    <a:pt x="78" y="7"/>
                  </a:lnTo>
                  <a:lnTo>
                    <a:pt x="85" y="19"/>
                  </a:lnTo>
                  <a:lnTo>
                    <a:pt x="95" y="38"/>
                  </a:lnTo>
                  <a:lnTo>
                    <a:pt x="77" y="41"/>
                  </a:lnTo>
                  <a:lnTo>
                    <a:pt x="48" y="2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5" name="Freeform 116">
              <a:extLst>
                <a:ext uri="{FF2B5EF4-FFF2-40B4-BE49-F238E27FC236}">
                  <a16:creationId xmlns:a16="http://schemas.microsoft.com/office/drawing/2014/main" id="{055D0961-1D1E-72EC-A3A2-8C131CA90E34}"/>
                </a:ext>
              </a:extLst>
            </p:cNvPr>
            <p:cNvSpPr>
              <a:spLocks/>
            </p:cNvSpPr>
            <p:nvPr/>
          </p:nvSpPr>
          <p:spPr bwMode="auto">
            <a:xfrm>
              <a:off x="4828600" y="1959241"/>
              <a:ext cx="147123" cy="80486"/>
            </a:xfrm>
            <a:custGeom>
              <a:avLst/>
              <a:gdLst>
                <a:gd name="T0" fmla="*/ 2 w 77"/>
                <a:gd name="T1" fmla="*/ 1678223 h 40"/>
                <a:gd name="T2" fmla="*/ 0 w 77"/>
                <a:gd name="T3" fmla="*/ 406996 h 40"/>
                <a:gd name="T4" fmla="*/ 1042 w 77"/>
                <a:gd name="T5" fmla="*/ 380134 h 40"/>
                <a:gd name="T6" fmla="*/ 6463 w 77"/>
                <a:gd name="T7" fmla="*/ 187201 h 40"/>
                <a:gd name="T8" fmla="*/ 11872 w 77"/>
                <a:gd name="T9" fmla="*/ 0 h 40"/>
                <a:gd name="T10" fmla="*/ 19282 w 77"/>
                <a:gd name="T11" fmla="*/ 771910 h 40"/>
                <a:gd name="T12" fmla="*/ 14068 w 77"/>
                <a:gd name="T13" fmla="*/ 1534121 h 40"/>
                <a:gd name="T14" fmla="*/ 8868 w 77"/>
                <a:gd name="T15" fmla="*/ 2335769 h 40"/>
                <a:gd name="T16" fmla="*/ 5589 w 77"/>
                <a:gd name="T17" fmla="*/ 2305217 h 40"/>
                <a:gd name="T18" fmla="*/ 5589 w 77"/>
                <a:gd name="T19" fmla="*/ 1907455 h 40"/>
                <a:gd name="T20" fmla="*/ 2743 w 77"/>
                <a:gd name="T21" fmla="*/ 1767046 h 40"/>
                <a:gd name="T22" fmla="*/ 2 w 77"/>
                <a:gd name="T23" fmla="*/ 1678223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7"/>
                <a:gd name="T37" fmla="*/ 0 h 40"/>
                <a:gd name="T38" fmla="*/ 77 w 77"/>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7" h="40">
                  <a:moveTo>
                    <a:pt x="2" y="29"/>
                  </a:moveTo>
                  <a:lnTo>
                    <a:pt x="0" y="7"/>
                  </a:lnTo>
                  <a:lnTo>
                    <a:pt x="4" y="6"/>
                  </a:lnTo>
                  <a:lnTo>
                    <a:pt x="26" y="3"/>
                  </a:lnTo>
                  <a:lnTo>
                    <a:pt x="48" y="0"/>
                  </a:lnTo>
                  <a:lnTo>
                    <a:pt x="77" y="13"/>
                  </a:lnTo>
                  <a:lnTo>
                    <a:pt x="56" y="26"/>
                  </a:lnTo>
                  <a:lnTo>
                    <a:pt x="36" y="40"/>
                  </a:lnTo>
                  <a:lnTo>
                    <a:pt x="23" y="39"/>
                  </a:lnTo>
                  <a:lnTo>
                    <a:pt x="23" y="32"/>
                  </a:lnTo>
                  <a:lnTo>
                    <a:pt x="11" y="30"/>
                  </a:lnTo>
                  <a:lnTo>
                    <a:pt x="2" y="2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6" name="Freeform 117">
              <a:extLst>
                <a:ext uri="{FF2B5EF4-FFF2-40B4-BE49-F238E27FC236}">
                  <a16:creationId xmlns:a16="http://schemas.microsoft.com/office/drawing/2014/main" id="{082C9288-6304-0777-A41B-246AF8EA798C}"/>
                </a:ext>
              </a:extLst>
            </p:cNvPr>
            <p:cNvSpPr>
              <a:spLocks/>
            </p:cNvSpPr>
            <p:nvPr/>
          </p:nvSpPr>
          <p:spPr bwMode="auto">
            <a:xfrm>
              <a:off x="4388832" y="2070100"/>
              <a:ext cx="97548" cy="91118"/>
            </a:xfrm>
            <a:custGeom>
              <a:avLst/>
              <a:gdLst>
                <a:gd name="T0" fmla="*/ 9749 w 51"/>
                <a:gd name="T1" fmla="*/ 2342110 h 45"/>
                <a:gd name="T2" fmla="*/ 12950 w 51"/>
                <a:gd name="T3" fmla="*/ 1656938 h 45"/>
                <a:gd name="T4" fmla="*/ 11755 w 51"/>
                <a:gd name="T5" fmla="*/ 1147111 h 45"/>
                <a:gd name="T6" fmla="*/ 13059 w 51"/>
                <a:gd name="T7" fmla="*/ 1 h 45"/>
                <a:gd name="T8" fmla="*/ 8987 w 51"/>
                <a:gd name="T9" fmla="*/ 0 h 45"/>
                <a:gd name="T10" fmla="*/ 4136 w 51"/>
                <a:gd name="T11" fmla="*/ 859338 h 45"/>
                <a:gd name="T12" fmla="*/ 1263 w 51"/>
                <a:gd name="T13" fmla="*/ 2481170 h 45"/>
                <a:gd name="T14" fmla="*/ 0 w 51"/>
                <a:gd name="T15" fmla="*/ 3184033 h 45"/>
                <a:gd name="T16" fmla="*/ 3092 w 51"/>
                <a:gd name="T17" fmla="*/ 3184033 h 45"/>
                <a:gd name="T18" fmla="*/ 7632 w 51"/>
                <a:gd name="T19" fmla="*/ 3189833 h 45"/>
                <a:gd name="T20" fmla="*/ 8151 w 51"/>
                <a:gd name="T21" fmla="*/ 3647202 h 45"/>
                <a:gd name="T22" fmla="*/ 9454 w 51"/>
                <a:gd name="T23" fmla="*/ 4023607 h 45"/>
                <a:gd name="T24" fmla="*/ 9749 w 51"/>
                <a:gd name="T25" fmla="*/ 234211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45"/>
                <a:gd name="T41" fmla="*/ 51 w 51"/>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45">
                  <a:moveTo>
                    <a:pt x="38" y="26"/>
                  </a:moveTo>
                  <a:lnTo>
                    <a:pt x="50" y="19"/>
                  </a:lnTo>
                  <a:lnTo>
                    <a:pt x="46" y="13"/>
                  </a:lnTo>
                  <a:lnTo>
                    <a:pt x="51" y="1"/>
                  </a:lnTo>
                  <a:lnTo>
                    <a:pt x="34" y="0"/>
                  </a:lnTo>
                  <a:lnTo>
                    <a:pt x="16" y="10"/>
                  </a:lnTo>
                  <a:lnTo>
                    <a:pt x="5" y="28"/>
                  </a:lnTo>
                  <a:lnTo>
                    <a:pt x="0" y="35"/>
                  </a:lnTo>
                  <a:lnTo>
                    <a:pt x="12" y="35"/>
                  </a:lnTo>
                  <a:lnTo>
                    <a:pt x="30" y="36"/>
                  </a:lnTo>
                  <a:lnTo>
                    <a:pt x="32" y="41"/>
                  </a:lnTo>
                  <a:lnTo>
                    <a:pt x="37" y="45"/>
                  </a:lnTo>
                  <a:lnTo>
                    <a:pt x="38" y="2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7" name="Freeform 118">
              <a:extLst>
                <a:ext uri="{FF2B5EF4-FFF2-40B4-BE49-F238E27FC236}">
                  <a16:creationId xmlns:a16="http://schemas.microsoft.com/office/drawing/2014/main" id="{9720EB80-A100-D7B1-AD8D-D1B1B5BEF25A}"/>
                </a:ext>
              </a:extLst>
            </p:cNvPr>
            <p:cNvSpPr>
              <a:spLocks/>
            </p:cNvSpPr>
            <p:nvPr/>
          </p:nvSpPr>
          <p:spPr bwMode="auto">
            <a:xfrm>
              <a:off x="4667086" y="2024541"/>
              <a:ext cx="262262" cy="194383"/>
            </a:xfrm>
            <a:custGeom>
              <a:avLst/>
              <a:gdLst>
                <a:gd name="T0" fmla="*/ 12011 w 138"/>
                <a:gd name="T1" fmla="*/ 314257 h 97"/>
                <a:gd name="T2" fmla="*/ 11297 w 138"/>
                <a:gd name="T3" fmla="*/ 0 h 97"/>
                <a:gd name="T4" fmla="*/ 7905 w 138"/>
                <a:gd name="T5" fmla="*/ 1 h 97"/>
                <a:gd name="T6" fmla="*/ 3808 w 138"/>
                <a:gd name="T7" fmla="*/ 481066 h 97"/>
                <a:gd name="T8" fmla="*/ 0 w 138"/>
                <a:gd name="T9" fmla="*/ 776971 h 97"/>
                <a:gd name="T10" fmla="*/ 1071 w 138"/>
                <a:gd name="T11" fmla="*/ 1113391 h 97"/>
                <a:gd name="T12" fmla="*/ 0 w 138"/>
                <a:gd name="T13" fmla="*/ 1151647 h 97"/>
                <a:gd name="T14" fmla="*/ 758 w 138"/>
                <a:gd name="T15" fmla="*/ 2286304 h 97"/>
                <a:gd name="T16" fmla="*/ 2137 w 138"/>
                <a:gd name="T17" fmla="*/ 3623252 h 97"/>
                <a:gd name="T18" fmla="*/ 2540 w 138"/>
                <a:gd name="T19" fmla="*/ 4694832 h 97"/>
                <a:gd name="T20" fmla="*/ 3204 w 138"/>
                <a:gd name="T21" fmla="*/ 4535364 h 97"/>
                <a:gd name="T22" fmla="*/ 6693 w 138"/>
                <a:gd name="T23" fmla="*/ 5037793 h 97"/>
                <a:gd name="T24" fmla="*/ 7905 w 138"/>
                <a:gd name="T25" fmla="*/ 5356776 h 97"/>
                <a:gd name="T26" fmla="*/ 9394 w 138"/>
                <a:gd name="T27" fmla="*/ 5356776 h 97"/>
                <a:gd name="T28" fmla="*/ 11297 w 138"/>
                <a:gd name="T29" fmla="*/ 5356776 h 97"/>
                <a:gd name="T30" fmla="*/ 14701 w 138"/>
                <a:gd name="T31" fmla="*/ 6139834 h 97"/>
                <a:gd name="T32" fmla="*/ 18004 w 138"/>
                <a:gd name="T33" fmla="*/ 6292551 h 97"/>
                <a:gd name="T34" fmla="*/ 18855 w 138"/>
                <a:gd name="T35" fmla="*/ 6499131 h 97"/>
                <a:gd name="T36" fmla="*/ 21341 w 138"/>
                <a:gd name="T37" fmla="*/ 6499131 h 97"/>
                <a:gd name="T38" fmla="*/ 25526 w 138"/>
                <a:gd name="T39" fmla="*/ 6750890 h 97"/>
                <a:gd name="T40" fmla="*/ 26119 w 138"/>
                <a:gd name="T41" fmla="*/ 6340493 h 97"/>
                <a:gd name="T42" fmla="*/ 29076 w 138"/>
                <a:gd name="T43" fmla="*/ 5165621 h 97"/>
                <a:gd name="T44" fmla="*/ 29142 w 138"/>
                <a:gd name="T45" fmla="*/ 4535364 h 97"/>
                <a:gd name="T46" fmla="*/ 27494 w 138"/>
                <a:gd name="T47" fmla="*/ 3220172 h 97"/>
                <a:gd name="T48" fmla="*/ 25526 w 138"/>
                <a:gd name="T49" fmla="*/ 2906834 h 97"/>
                <a:gd name="T50" fmla="*/ 27494 w 138"/>
                <a:gd name="T51" fmla="*/ 2107957 h 97"/>
                <a:gd name="T52" fmla="*/ 25427 w 138"/>
                <a:gd name="T53" fmla="*/ 542203 h 97"/>
                <a:gd name="T54" fmla="*/ 20159 w 138"/>
                <a:gd name="T55" fmla="*/ 335708 h 97"/>
                <a:gd name="T56" fmla="*/ 14701 w 138"/>
                <a:gd name="T57" fmla="*/ 314257 h 97"/>
                <a:gd name="T58" fmla="*/ 12011 w 138"/>
                <a:gd name="T59" fmla="*/ 314257 h 9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8"/>
                <a:gd name="T91" fmla="*/ 0 h 97"/>
                <a:gd name="T92" fmla="*/ 138 w 138"/>
                <a:gd name="T93" fmla="*/ 97 h 9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8" h="97">
                  <a:moveTo>
                    <a:pt x="57" y="4"/>
                  </a:moveTo>
                  <a:lnTo>
                    <a:pt x="54" y="0"/>
                  </a:lnTo>
                  <a:lnTo>
                    <a:pt x="37" y="1"/>
                  </a:lnTo>
                  <a:lnTo>
                    <a:pt x="18" y="7"/>
                  </a:lnTo>
                  <a:lnTo>
                    <a:pt x="0" y="11"/>
                  </a:lnTo>
                  <a:lnTo>
                    <a:pt x="5" y="16"/>
                  </a:lnTo>
                  <a:lnTo>
                    <a:pt x="0" y="17"/>
                  </a:lnTo>
                  <a:lnTo>
                    <a:pt x="3" y="33"/>
                  </a:lnTo>
                  <a:lnTo>
                    <a:pt x="10" y="52"/>
                  </a:lnTo>
                  <a:lnTo>
                    <a:pt x="12" y="67"/>
                  </a:lnTo>
                  <a:lnTo>
                    <a:pt x="15" y="65"/>
                  </a:lnTo>
                  <a:lnTo>
                    <a:pt x="32" y="72"/>
                  </a:lnTo>
                  <a:lnTo>
                    <a:pt x="37" y="77"/>
                  </a:lnTo>
                  <a:lnTo>
                    <a:pt x="44" y="77"/>
                  </a:lnTo>
                  <a:lnTo>
                    <a:pt x="54" y="77"/>
                  </a:lnTo>
                  <a:lnTo>
                    <a:pt x="70" y="88"/>
                  </a:lnTo>
                  <a:lnTo>
                    <a:pt x="86" y="90"/>
                  </a:lnTo>
                  <a:lnTo>
                    <a:pt x="89" y="93"/>
                  </a:lnTo>
                  <a:lnTo>
                    <a:pt x="101" y="93"/>
                  </a:lnTo>
                  <a:lnTo>
                    <a:pt x="122" y="97"/>
                  </a:lnTo>
                  <a:lnTo>
                    <a:pt x="124" y="91"/>
                  </a:lnTo>
                  <a:lnTo>
                    <a:pt x="137" y="74"/>
                  </a:lnTo>
                  <a:lnTo>
                    <a:pt x="138" y="65"/>
                  </a:lnTo>
                  <a:lnTo>
                    <a:pt x="131" y="46"/>
                  </a:lnTo>
                  <a:lnTo>
                    <a:pt x="122" y="42"/>
                  </a:lnTo>
                  <a:lnTo>
                    <a:pt x="131" y="30"/>
                  </a:lnTo>
                  <a:lnTo>
                    <a:pt x="121" y="8"/>
                  </a:lnTo>
                  <a:lnTo>
                    <a:pt x="96" y="5"/>
                  </a:lnTo>
                  <a:lnTo>
                    <a:pt x="70" y="4"/>
                  </a:lnTo>
                  <a:lnTo>
                    <a:pt x="57"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178" name="Freeform 119">
              <a:extLst>
                <a:ext uri="{FF2B5EF4-FFF2-40B4-BE49-F238E27FC236}">
                  <a16:creationId xmlns:a16="http://schemas.microsoft.com/office/drawing/2014/main" id="{6A989C02-E4AA-2CA9-D950-79BF1A1F88AE}"/>
                </a:ext>
              </a:extLst>
            </p:cNvPr>
            <p:cNvSpPr>
              <a:spLocks/>
            </p:cNvSpPr>
            <p:nvPr/>
          </p:nvSpPr>
          <p:spPr bwMode="auto">
            <a:xfrm>
              <a:off x="4849390" y="2249296"/>
              <a:ext cx="260662" cy="159456"/>
            </a:xfrm>
            <a:custGeom>
              <a:avLst/>
              <a:gdLst>
                <a:gd name="T0" fmla="*/ 42766 w 135"/>
                <a:gd name="T1" fmla="*/ 4276618 h 79"/>
                <a:gd name="T2" fmla="*/ 41930 w 135"/>
                <a:gd name="T3" fmla="*/ 5164051 h 79"/>
                <a:gd name="T4" fmla="*/ 32861 w 135"/>
                <a:gd name="T5" fmla="*/ 4725070 h 79"/>
                <a:gd name="T6" fmla="*/ 25214 w 135"/>
                <a:gd name="T7" fmla="*/ 5224241 h 79"/>
                <a:gd name="T8" fmla="*/ 19619 w 135"/>
                <a:gd name="T9" fmla="*/ 5076143 h 79"/>
                <a:gd name="T10" fmla="*/ 14068 w 135"/>
                <a:gd name="T11" fmla="*/ 4937184 h 79"/>
                <a:gd name="T12" fmla="*/ 13353 w 135"/>
                <a:gd name="T13" fmla="*/ 4572005 h 79"/>
                <a:gd name="T14" fmla="*/ 12499 w 135"/>
                <a:gd name="T15" fmla="*/ 4276618 h 79"/>
                <a:gd name="T16" fmla="*/ 11146 w 135"/>
                <a:gd name="T17" fmla="*/ 4097617 h 79"/>
                <a:gd name="T18" fmla="*/ 9650 w 135"/>
                <a:gd name="T19" fmla="*/ 4097617 h 79"/>
                <a:gd name="T20" fmla="*/ 7038 w 135"/>
                <a:gd name="T21" fmla="*/ 3829169 h 79"/>
                <a:gd name="T22" fmla="*/ 0 w 135"/>
                <a:gd name="T23" fmla="*/ 2455177 h 79"/>
                <a:gd name="T24" fmla="*/ 2272 w 135"/>
                <a:gd name="T25" fmla="*/ 2255102 h 79"/>
                <a:gd name="T26" fmla="*/ 6619 w 135"/>
                <a:gd name="T27" fmla="*/ 1199997 h 79"/>
                <a:gd name="T28" fmla="*/ 11651 w 135"/>
                <a:gd name="T29" fmla="*/ 315636 h 79"/>
                <a:gd name="T30" fmla="*/ 11651 w 135"/>
                <a:gd name="T31" fmla="*/ 299125 h 79"/>
                <a:gd name="T32" fmla="*/ 20509 w 135"/>
                <a:gd name="T33" fmla="*/ 451479 h 79"/>
                <a:gd name="T34" fmla="*/ 28601 w 135"/>
                <a:gd name="T35" fmla="*/ 0 h 79"/>
                <a:gd name="T36" fmla="*/ 28762 w 135"/>
                <a:gd name="T37" fmla="*/ 0 h 79"/>
                <a:gd name="T38" fmla="*/ 33019 w 135"/>
                <a:gd name="T39" fmla="*/ 645786 h 79"/>
                <a:gd name="T40" fmla="*/ 36758 w 135"/>
                <a:gd name="T41" fmla="*/ 1321269 h 79"/>
                <a:gd name="T42" fmla="*/ 38386 w 135"/>
                <a:gd name="T43" fmla="*/ 2255102 h 79"/>
                <a:gd name="T44" fmla="*/ 39677 w 135"/>
                <a:gd name="T45" fmla="*/ 3303368 h 79"/>
                <a:gd name="T46" fmla="*/ 43587 w 135"/>
                <a:gd name="T47" fmla="*/ 3303368 h 79"/>
                <a:gd name="T48" fmla="*/ 46620 w 135"/>
                <a:gd name="T49" fmla="*/ 3511834 h 79"/>
                <a:gd name="T50" fmla="*/ 46620 w 135"/>
                <a:gd name="T51" fmla="*/ 3664476 h 79"/>
                <a:gd name="T52" fmla="*/ 44382 w 135"/>
                <a:gd name="T53" fmla="*/ 3986202 h 79"/>
                <a:gd name="T54" fmla="*/ 43587 w 135"/>
                <a:gd name="T55" fmla="*/ 3866740 h 79"/>
                <a:gd name="T56" fmla="*/ 42766 w 135"/>
                <a:gd name="T57" fmla="*/ 4276618 h 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5"/>
                <a:gd name="T88" fmla="*/ 0 h 79"/>
                <a:gd name="T89" fmla="*/ 135 w 135"/>
                <a:gd name="T90" fmla="*/ 79 h 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5" h="79">
                  <a:moveTo>
                    <a:pt x="124" y="65"/>
                  </a:moveTo>
                  <a:lnTo>
                    <a:pt x="122" y="78"/>
                  </a:lnTo>
                  <a:lnTo>
                    <a:pt x="95" y="72"/>
                  </a:lnTo>
                  <a:lnTo>
                    <a:pt x="73" y="79"/>
                  </a:lnTo>
                  <a:lnTo>
                    <a:pt x="57" y="77"/>
                  </a:lnTo>
                  <a:lnTo>
                    <a:pt x="41" y="75"/>
                  </a:lnTo>
                  <a:lnTo>
                    <a:pt x="38" y="69"/>
                  </a:lnTo>
                  <a:lnTo>
                    <a:pt x="37" y="65"/>
                  </a:lnTo>
                  <a:lnTo>
                    <a:pt x="32" y="62"/>
                  </a:lnTo>
                  <a:lnTo>
                    <a:pt x="28" y="62"/>
                  </a:lnTo>
                  <a:lnTo>
                    <a:pt x="21" y="58"/>
                  </a:lnTo>
                  <a:lnTo>
                    <a:pt x="0" y="37"/>
                  </a:lnTo>
                  <a:lnTo>
                    <a:pt x="7" y="34"/>
                  </a:lnTo>
                  <a:lnTo>
                    <a:pt x="19" y="18"/>
                  </a:lnTo>
                  <a:lnTo>
                    <a:pt x="34" y="5"/>
                  </a:lnTo>
                  <a:lnTo>
                    <a:pt x="34" y="4"/>
                  </a:lnTo>
                  <a:lnTo>
                    <a:pt x="60" y="7"/>
                  </a:lnTo>
                  <a:lnTo>
                    <a:pt x="83" y="0"/>
                  </a:lnTo>
                  <a:lnTo>
                    <a:pt x="84" y="0"/>
                  </a:lnTo>
                  <a:lnTo>
                    <a:pt x="96" y="10"/>
                  </a:lnTo>
                  <a:lnTo>
                    <a:pt x="106" y="20"/>
                  </a:lnTo>
                  <a:lnTo>
                    <a:pt x="111" y="34"/>
                  </a:lnTo>
                  <a:lnTo>
                    <a:pt x="115" y="50"/>
                  </a:lnTo>
                  <a:lnTo>
                    <a:pt x="127" y="50"/>
                  </a:lnTo>
                  <a:lnTo>
                    <a:pt x="135" y="53"/>
                  </a:lnTo>
                  <a:lnTo>
                    <a:pt x="135" y="56"/>
                  </a:lnTo>
                  <a:lnTo>
                    <a:pt x="128" y="61"/>
                  </a:lnTo>
                  <a:lnTo>
                    <a:pt x="127" y="59"/>
                  </a:lnTo>
                  <a:lnTo>
                    <a:pt x="124" y="6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79" name="Freeform 120">
              <a:extLst>
                <a:ext uri="{FF2B5EF4-FFF2-40B4-BE49-F238E27FC236}">
                  <a16:creationId xmlns:a16="http://schemas.microsoft.com/office/drawing/2014/main" id="{CDFAD84A-8037-7E8F-DAC1-D0890600C839}"/>
                </a:ext>
              </a:extLst>
            </p:cNvPr>
            <p:cNvSpPr>
              <a:spLocks/>
            </p:cNvSpPr>
            <p:nvPr/>
          </p:nvSpPr>
          <p:spPr bwMode="auto">
            <a:xfrm>
              <a:off x="4625507" y="2153625"/>
              <a:ext cx="174308" cy="83523"/>
            </a:xfrm>
            <a:custGeom>
              <a:avLst/>
              <a:gdLst>
                <a:gd name="T0" fmla="*/ 20322 w 91"/>
                <a:gd name="T1" fmla="*/ 851606 h 42"/>
                <a:gd name="T2" fmla="*/ 24611 w 91"/>
                <a:gd name="T3" fmla="*/ 1520592 h 42"/>
                <a:gd name="T4" fmla="*/ 24611 w 91"/>
                <a:gd name="T5" fmla="*/ 1666094 h 42"/>
                <a:gd name="T6" fmla="*/ 23557 w 91"/>
                <a:gd name="T7" fmla="*/ 1885353 h 42"/>
                <a:gd name="T8" fmla="*/ 21964 w 91"/>
                <a:gd name="T9" fmla="*/ 2034919 h 42"/>
                <a:gd name="T10" fmla="*/ 21964 w 91"/>
                <a:gd name="T11" fmla="*/ 2087961 h 42"/>
                <a:gd name="T12" fmla="*/ 20801 w 91"/>
                <a:gd name="T13" fmla="*/ 2380134 h 42"/>
                <a:gd name="T14" fmla="*/ 19230 w 91"/>
                <a:gd name="T15" fmla="*/ 2482817 h 42"/>
                <a:gd name="T16" fmla="*/ 17889 w 91"/>
                <a:gd name="T17" fmla="*/ 2482817 h 42"/>
                <a:gd name="T18" fmla="*/ 16419 w 91"/>
                <a:gd name="T19" fmla="*/ 2482817 h 42"/>
                <a:gd name="T20" fmla="*/ 10501 w 91"/>
                <a:gd name="T21" fmla="*/ 2266634 h 42"/>
                <a:gd name="T22" fmla="*/ 8082 w 91"/>
                <a:gd name="T23" fmla="*/ 2677991 h 42"/>
                <a:gd name="T24" fmla="*/ 6511 w 91"/>
                <a:gd name="T25" fmla="*/ 2482817 h 42"/>
                <a:gd name="T26" fmla="*/ 2 w 91"/>
                <a:gd name="T27" fmla="*/ 1277047 h 42"/>
                <a:gd name="T28" fmla="*/ 0 w 91"/>
                <a:gd name="T29" fmla="*/ 893933 h 42"/>
                <a:gd name="T30" fmla="*/ 8082 w 91"/>
                <a:gd name="T31" fmla="*/ 0 h 42"/>
                <a:gd name="T32" fmla="*/ 8783 w 91"/>
                <a:gd name="T33" fmla="*/ 204471 h 42"/>
                <a:gd name="T34" fmla="*/ 9681 w 91"/>
                <a:gd name="T35" fmla="*/ 1 h 42"/>
                <a:gd name="T36" fmla="*/ 14164 w 91"/>
                <a:gd name="T37" fmla="*/ 501320 h 42"/>
                <a:gd name="T38" fmla="*/ 15619 w 91"/>
                <a:gd name="T39" fmla="*/ 851606 h 42"/>
                <a:gd name="T40" fmla="*/ 17366 w 91"/>
                <a:gd name="T41" fmla="*/ 851606 h 42"/>
                <a:gd name="T42" fmla="*/ 20322 w 91"/>
                <a:gd name="T43" fmla="*/ 851606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1"/>
                <a:gd name="T67" fmla="*/ 0 h 42"/>
                <a:gd name="T68" fmla="*/ 91 w 91"/>
                <a:gd name="T69" fmla="*/ 42 h 4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1" h="42">
                  <a:moveTo>
                    <a:pt x="75" y="13"/>
                  </a:moveTo>
                  <a:lnTo>
                    <a:pt x="91" y="24"/>
                  </a:lnTo>
                  <a:lnTo>
                    <a:pt x="91" y="26"/>
                  </a:lnTo>
                  <a:lnTo>
                    <a:pt x="87" y="30"/>
                  </a:lnTo>
                  <a:lnTo>
                    <a:pt x="82" y="32"/>
                  </a:lnTo>
                  <a:lnTo>
                    <a:pt x="82" y="33"/>
                  </a:lnTo>
                  <a:lnTo>
                    <a:pt x="78" y="37"/>
                  </a:lnTo>
                  <a:lnTo>
                    <a:pt x="71" y="39"/>
                  </a:lnTo>
                  <a:lnTo>
                    <a:pt x="66" y="39"/>
                  </a:lnTo>
                  <a:lnTo>
                    <a:pt x="61" y="39"/>
                  </a:lnTo>
                  <a:lnTo>
                    <a:pt x="39" y="36"/>
                  </a:lnTo>
                  <a:lnTo>
                    <a:pt x="30" y="42"/>
                  </a:lnTo>
                  <a:lnTo>
                    <a:pt x="23" y="39"/>
                  </a:lnTo>
                  <a:lnTo>
                    <a:pt x="2" y="20"/>
                  </a:lnTo>
                  <a:lnTo>
                    <a:pt x="0" y="14"/>
                  </a:lnTo>
                  <a:lnTo>
                    <a:pt x="30" y="0"/>
                  </a:lnTo>
                  <a:lnTo>
                    <a:pt x="33" y="3"/>
                  </a:lnTo>
                  <a:lnTo>
                    <a:pt x="36" y="1"/>
                  </a:lnTo>
                  <a:lnTo>
                    <a:pt x="53" y="8"/>
                  </a:lnTo>
                  <a:lnTo>
                    <a:pt x="58" y="13"/>
                  </a:lnTo>
                  <a:lnTo>
                    <a:pt x="65" y="13"/>
                  </a:lnTo>
                  <a:lnTo>
                    <a:pt x="75" y="1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180" name="Freeform 121">
              <a:extLst>
                <a:ext uri="{FF2B5EF4-FFF2-40B4-BE49-F238E27FC236}">
                  <a16:creationId xmlns:a16="http://schemas.microsoft.com/office/drawing/2014/main" id="{F564EB70-D824-8E10-5661-2899AF8F90B9}"/>
                </a:ext>
              </a:extLst>
            </p:cNvPr>
            <p:cNvSpPr>
              <a:spLocks/>
            </p:cNvSpPr>
            <p:nvPr/>
          </p:nvSpPr>
          <p:spPr bwMode="auto">
            <a:xfrm>
              <a:off x="4369642" y="2139956"/>
              <a:ext cx="92751" cy="60745"/>
            </a:xfrm>
            <a:custGeom>
              <a:avLst/>
              <a:gdLst>
                <a:gd name="T0" fmla="*/ 2050 w 49"/>
                <a:gd name="T1" fmla="*/ 0 h 30"/>
                <a:gd name="T2" fmla="*/ 0 w 49"/>
                <a:gd name="T3" fmla="*/ 317316 h 30"/>
                <a:gd name="T4" fmla="*/ 1044 w 49"/>
                <a:gd name="T5" fmla="*/ 692555 h 30"/>
                <a:gd name="T6" fmla="*/ 4287 w 49"/>
                <a:gd name="T7" fmla="*/ 1582691 h 30"/>
                <a:gd name="T8" fmla="*/ 5261 w 49"/>
                <a:gd name="T9" fmla="*/ 1582691 h 30"/>
                <a:gd name="T10" fmla="*/ 5640 w 49"/>
                <a:gd name="T11" fmla="*/ 1604405 h 30"/>
                <a:gd name="T12" fmla="*/ 8415 w 49"/>
                <a:gd name="T13" fmla="*/ 2127028 h 30"/>
                <a:gd name="T14" fmla="*/ 8415 w 49"/>
                <a:gd name="T15" fmla="*/ 2039370 h 30"/>
                <a:gd name="T16" fmla="*/ 9237 w 49"/>
                <a:gd name="T17" fmla="*/ 1422816 h 30"/>
                <a:gd name="T18" fmla="*/ 9237 w 49"/>
                <a:gd name="T19" fmla="*/ 780943 h 30"/>
                <a:gd name="T20" fmla="*/ 8873 w 49"/>
                <a:gd name="T21" fmla="*/ 692555 h 30"/>
                <a:gd name="T22" fmla="*/ 7902 w 49"/>
                <a:gd name="T23" fmla="*/ 454820 h 30"/>
                <a:gd name="T24" fmla="*/ 7804 w 49"/>
                <a:gd name="T25" fmla="*/ 1 h 30"/>
                <a:gd name="T26" fmla="*/ 4287 w 49"/>
                <a:gd name="T27" fmla="*/ 0 h 30"/>
                <a:gd name="T28" fmla="*/ 2050 w 49"/>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
                <a:gd name="T46" fmla="*/ 0 h 30"/>
                <a:gd name="T47" fmla="*/ 49 w 49"/>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 h="30">
                  <a:moveTo>
                    <a:pt x="11" y="0"/>
                  </a:moveTo>
                  <a:lnTo>
                    <a:pt x="0" y="4"/>
                  </a:lnTo>
                  <a:lnTo>
                    <a:pt x="6" y="10"/>
                  </a:lnTo>
                  <a:lnTo>
                    <a:pt x="23" y="22"/>
                  </a:lnTo>
                  <a:lnTo>
                    <a:pt x="29" y="22"/>
                  </a:lnTo>
                  <a:lnTo>
                    <a:pt x="30" y="23"/>
                  </a:lnTo>
                  <a:lnTo>
                    <a:pt x="45" y="30"/>
                  </a:lnTo>
                  <a:lnTo>
                    <a:pt x="45" y="29"/>
                  </a:lnTo>
                  <a:lnTo>
                    <a:pt x="49" y="20"/>
                  </a:lnTo>
                  <a:lnTo>
                    <a:pt x="49" y="11"/>
                  </a:lnTo>
                  <a:lnTo>
                    <a:pt x="48" y="10"/>
                  </a:lnTo>
                  <a:lnTo>
                    <a:pt x="43" y="6"/>
                  </a:lnTo>
                  <a:lnTo>
                    <a:pt x="41" y="1"/>
                  </a:lnTo>
                  <a:lnTo>
                    <a:pt x="23" y="0"/>
                  </a:lnTo>
                  <a:lnTo>
                    <a:pt x="11"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1" name="Freeform 122">
              <a:extLst>
                <a:ext uri="{FF2B5EF4-FFF2-40B4-BE49-F238E27FC236}">
                  <a16:creationId xmlns:a16="http://schemas.microsoft.com/office/drawing/2014/main" id="{5CAD37AB-04A1-1DC4-041F-FDE2B10800DA}"/>
                </a:ext>
              </a:extLst>
            </p:cNvPr>
            <p:cNvSpPr>
              <a:spLocks/>
            </p:cNvSpPr>
            <p:nvPr/>
          </p:nvSpPr>
          <p:spPr bwMode="auto">
            <a:xfrm>
              <a:off x="4460794" y="2018466"/>
              <a:ext cx="228681" cy="258165"/>
            </a:xfrm>
            <a:custGeom>
              <a:avLst/>
              <a:gdLst>
                <a:gd name="T0" fmla="*/ 8600 w 119"/>
                <a:gd name="T1" fmla="*/ 1398809 h 129"/>
                <a:gd name="T2" fmla="*/ 8819 w 119"/>
                <a:gd name="T3" fmla="*/ 1414160 h 129"/>
                <a:gd name="T4" fmla="*/ 8819 w 119"/>
                <a:gd name="T5" fmla="*/ 1311985 h 129"/>
                <a:gd name="T6" fmla="*/ 10598 w 119"/>
                <a:gd name="T7" fmla="*/ 1166459 h 129"/>
                <a:gd name="T8" fmla="*/ 13440 w 119"/>
                <a:gd name="T9" fmla="*/ 1398809 h 129"/>
                <a:gd name="T10" fmla="*/ 11924 w 119"/>
                <a:gd name="T11" fmla="*/ 991449 h 129"/>
                <a:gd name="T12" fmla="*/ 10598 w 119"/>
                <a:gd name="T13" fmla="*/ 592831 h 129"/>
                <a:gd name="T14" fmla="*/ 10334 w 119"/>
                <a:gd name="T15" fmla="*/ 482030 h 129"/>
                <a:gd name="T16" fmla="*/ 9360 w 119"/>
                <a:gd name="T17" fmla="*/ 0 h 129"/>
                <a:gd name="T18" fmla="*/ 12418 w 119"/>
                <a:gd name="T19" fmla="*/ 1 h 129"/>
                <a:gd name="T20" fmla="*/ 13517 w 119"/>
                <a:gd name="T21" fmla="*/ 1 h 129"/>
                <a:gd name="T22" fmla="*/ 14329 w 119"/>
                <a:gd name="T23" fmla="*/ 415626 h 129"/>
                <a:gd name="T24" fmla="*/ 18389 w 119"/>
                <a:gd name="T25" fmla="*/ 482030 h 129"/>
                <a:gd name="T26" fmla="*/ 18389 w 119"/>
                <a:gd name="T27" fmla="*/ 817789 h 129"/>
                <a:gd name="T28" fmla="*/ 20046 w 119"/>
                <a:gd name="T29" fmla="*/ 980687 h 129"/>
                <a:gd name="T30" fmla="*/ 25492 w 119"/>
                <a:gd name="T31" fmla="*/ 415626 h 129"/>
                <a:gd name="T32" fmla="*/ 24865 w 119"/>
                <a:gd name="T33" fmla="*/ 482030 h 129"/>
                <a:gd name="T34" fmla="*/ 29712 w 119"/>
                <a:gd name="T35" fmla="*/ 845588 h 129"/>
                <a:gd name="T36" fmla="*/ 31885 w 119"/>
                <a:gd name="T37" fmla="*/ 845588 h 129"/>
                <a:gd name="T38" fmla="*/ 33368 w 119"/>
                <a:gd name="T39" fmla="*/ 1166459 h 129"/>
                <a:gd name="T40" fmla="*/ 31885 w 119"/>
                <a:gd name="T41" fmla="*/ 1206110 h 129"/>
                <a:gd name="T42" fmla="*/ 32809 w 119"/>
                <a:gd name="T43" fmla="*/ 2157498 h 129"/>
                <a:gd name="T44" fmla="*/ 34785 w 119"/>
                <a:gd name="T45" fmla="*/ 3282688 h 129"/>
                <a:gd name="T46" fmla="*/ 35423 w 119"/>
                <a:gd name="T47" fmla="*/ 4243744 h 129"/>
                <a:gd name="T48" fmla="*/ 34617 w 119"/>
                <a:gd name="T49" fmla="*/ 4059219 h 129"/>
                <a:gd name="T50" fmla="*/ 25492 w 119"/>
                <a:gd name="T51" fmla="*/ 4893398 h 129"/>
                <a:gd name="T52" fmla="*/ 26352 w 119"/>
                <a:gd name="T53" fmla="*/ 5234939 h 129"/>
                <a:gd name="T54" fmla="*/ 32366 w 119"/>
                <a:gd name="T55" fmla="*/ 6392902 h 129"/>
                <a:gd name="T56" fmla="*/ 28947 w 119"/>
                <a:gd name="T57" fmla="*/ 6945729 h 129"/>
                <a:gd name="T58" fmla="*/ 29712 w 119"/>
                <a:gd name="T59" fmla="*/ 7535321 h 129"/>
                <a:gd name="T60" fmla="*/ 28419 w 119"/>
                <a:gd name="T61" fmla="*/ 7633757 h 129"/>
                <a:gd name="T62" fmla="*/ 23649 w 119"/>
                <a:gd name="T63" fmla="*/ 7633757 h 129"/>
                <a:gd name="T64" fmla="*/ 20046 w 119"/>
                <a:gd name="T65" fmla="*/ 7633757 h 129"/>
                <a:gd name="T66" fmla="*/ 18389 w 119"/>
                <a:gd name="T67" fmla="*/ 7773962 h 129"/>
                <a:gd name="T68" fmla="*/ 15186 w 119"/>
                <a:gd name="T69" fmla="*/ 7745846 h 129"/>
                <a:gd name="T70" fmla="*/ 11248 w 119"/>
                <a:gd name="T71" fmla="*/ 7535321 h 129"/>
                <a:gd name="T72" fmla="*/ 7019 w 119"/>
                <a:gd name="T73" fmla="*/ 7633757 h 129"/>
                <a:gd name="T74" fmla="*/ 8600 w 119"/>
                <a:gd name="T75" fmla="*/ 6071492 h 129"/>
                <a:gd name="T76" fmla="*/ 1978 w 119"/>
                <a:gd name="T77" fmla="*/ 5658284 h 129"/>
                <a:gd name="T78" fmla="*/ 1140 w 119"/>
                <a:gd name="T79" fmla="*/ 5647324 h 129"/>
                <a:gd name="T80" fmla="*/ 1140 w 119"/>
                <a:gd name="T81" fmla="*/ 5500141 h 129"/>
                <a:gd name="T82" fmla="*/ 1 w 119"/>
                <a:gd name="T83" fmla="*/ 4893398 h 129"/>
                <a:gd name="T84" fmla="*/ 1 w 119"/>
                <a:gd name="T85" fmla="*/ 4376703 h 129"/>
                <a:gd name="T86" fmla="*/ 0 w 119"/>
                <a:gd name="T87" fmla="*/ 4256644 h 129"/>
                <a:gd name="T88" fmla="*/ 1 w 119"/>
                <a:gd name="T89" fmla="*/ 3142258 h 129"/>
                <a:gd name="T90" fmla="*/ 4045 w 119"/>
                <a:gd name="T91" fmla="*/ 2703446 h 129"/>
                <a:gd name="T92" fmla="*/ 2801 w 119"/>
                <a:gd name="T93" fmla="*/ 2373152 h 129"/>
                <a:gd name="T94" fmla="*/ 4124 w 119"/>
                <a:gd name="T95" fmla="*/ 1663786 h 129"/>
                <a:gd name="T96" fmla="*/ 3366 w 119"/>
                <a:gd name="T97" fmla="*/ 1578329 h 129"/>
                <a:gd name="T98" fmla="*/ 4124 w 119"/>
                <a:gd name="T99" fmla="*/ 1311985 h 129"/>
                <a:gd name="T100" fmla="*/ 8600 w 119"/>
                <a:gd name="T101" fmla="*/ 1398809 h 12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9"/>
                <a:gd name="T154" fmla="*/ 0 h 129"/>
                <a:gd name="T155" fmla="*/ 119 w 119"/>
                <a:gd name="T156" fmla="*/ 129 h 12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9" h="129">
                  <a:moveTo>
                    <a:pt x="29" y="23"/>
                  </a:moveTo>
                  <a:lnTo>
                    <a:pt x="30" y="24"/>
                  </a:lnTo>
                  <a:lnTo>
                    <a:pt x="30" y="22"/>
                  </a:lnTo>
                  <a:lnTo>
                    <a:pt x="36" y="19"/>
                  </a:lnTo>
                  <a:lnTo>
                    <a:pt x="45" y="23"/>
                  </a:lnTo>
                  <a:lnTo>
                    <a:pt x="40" y="17"/>
                  </a:lnTo>
                  <a:lnTo>
                    <a:pt x="36" y="10"/>
                  </a:lnTo>
                  <a:lnTo>
                    <a:pt x="35" y="8"/>
                  </a:lnTo>
                  <a:lnTo>
                    <a:pt x="32" y="0"/>
                  </a:lnTo>
                  <a:lnTo>
                    <a:pt x="42" y="1"/>
                  </a:lnTo>
                  <a:lnTo>
                    <a:pt x="46" y="1"/>
                  </a:lnTo>
                  <a:lnTo>
                    <a:pt x="48" y="7"/>
                  </a:lnTo>
                  <a:lnTo>
                    <a:pt x="62" y="8"/>
                  </a:lnTo>
                  <a:lnTo>
                    <a:pt x="62" y="13"/>
                  </a:lnTo>
                  <a:lnTo>
                    <a:pt x="67" y="16"/>
                  </a:lnTo>
                  <a:lnTo>
                    <a:pt x="86" y="7"/>
                  </a:lnTo>
                  <a:lnTo>
                    <a:pt x="84" y="8"/>
                  </a:lnTo>
                  <a:lnTo>
                    <a:pt x="100" y="14"/>
                  </a:lnTo>
                  <a:lnTo>
                    <a:pt x="107" y="14"/>
                  </a:lnTo>
                  <a:lnTo>
                    <a:pt x="112" y="19"/>
                  </a:lnTo>
                  <a:lnTo>
                    <a:pt x="107" y="20"/>
                  </a:lnTo>
                  <a:lnTo>
                    <a:pt x="110" y="36"/>
                  </a:lnTo>
                  <a:lnTo>
                    <a:pt x="117" y="55"/>
                  </a:lnTo>
                  <a:lnTo>
                    <a:pt x="119" y="70"/>
                  </a:lnTo>
                  <a:lnTo>
                    <a:pt x="116" y="67"/>
                  </a:lnTo>
                  <a:lnTo>
                    <a:pt x="86" y="81"/>
                  </a:lnTo>
                  <a:lnTo>
                    <a:pt x="88" y="87"/>
                  </a:lnTo>
                  <a:lnTo>
                    <a:pt x="109" y="106"/>
                  </a:lnTo>
                  <a:lnTo>
                    <a:pt x="97" y="115"/>
                  </a:lnTo>
                  <a:lnTo>
                    <a:pt x="100" y="125"/>
                  </a:lnTo>
                  <a:lnTo>
                    <a:pt x="96" y="126"/>
                  </a:lnTo>
                  <a:lnTo>
                    <a:pt x="80" y="126"/>
                  </a:lnTo>
                  <a:lnTo>
                    <a:pt x="67" y="126"/>
                  </a:lnTo>
                  <a:lnTo>
                    <a:pt x="62" y="129"/>
                  </a:lnTo>
                  <a:lnTo>
                    <a:pt x="51" y="128"/>
                  </a:lnTo>
                  <a:lnTo>
                    <a:pt x="38" y="125"/>
                  </a:lnTo>
                  <a:lnTo>
                    <a:pt x="23" y="126"/>
                  </a:lnTo>
                  <a:lnTo>
                    <a:pt x="29" y="101"/>
                  </a:lnTo>
                  <a:lnTo>
                    <a:pt x="7" y="94"/>
                  </a:lnTo>
                  <a:lnTo>
                    <a:pt x="4" y="93"/>
                  </a:lnTo>
                  <a:lnTo>
                    <a:pt x="4" y="91"/>
                  </a:lnTo>
                  <a:lnTo>
                    <a:pt x="1" y="81"/>
                  </a:lnTo>
                  <a:lnTo>
                    <a:pt x="1" y="72"/>
                  </a:lnTo>
                  <a:lnTo>
                    <a:pt x="0" y="71"/>
                  </a:lnTo>
                  <a:lnTo>
                    <a:pt x="1" y="52"/>
                  </a:lnTo>
                  <a:lnTo>
                    <a:pt x="13" y="45"/>
                  </a:lnTo>
                  <a:lnTo>
                    <a:pt x="9" y="39"/>
                  </a:lnTo>
                  <a:lnTo>
                    <a:pt x="14" y="27"/>
                  </a:lnTo>
                  <a:lnTo>
                    <a:pt x="11" y="26"/>
                  </a:lnTo>
                  <a:lnTo>
                    <a:pt x="14" y="22"/>
                  </a:lnTo>
                  <a:lnTo>
                    <a:pt x="29" y="2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2" name="Freeform 123">
              <a:extLst>
                <a:ext uri="{FF2B5EF4-FFF2-40B4-BE49-F238E27FC236}">
                  <a16:creationId xmlns:a16="http://schemas.microsoft.com/office/drawing/2014/main" id="{CA7EF644-5CC1-786C-82D2-4C56D7DD98AC}"/>
                </a:ext>
              </a:extLst>
            </p:cNvPr>
            <p:cNvSpPr>
              <a:spLocks/>
            </p:cNvSpPr>
            <p:nvPr/>
          </p:nvSpPr>
          <p:spPr bwMode="auto">
            <a:xfrm>
              <a:off x="4635103" y="2030616"/>
              <a:ext cx="17590" cy="7593"/>
            </a:xfrm>
            <a:custGeom>
              <a:avLst/>
              <a:gdLst>
                <a:gd name="T0" fmla="*/ 0 w 9"/>
                <a:gd name="T1" fmla="*/ 3392 h 4"/>
                <a:gd name="T2" fmla="*/ 4385 w 9"/>
                <a:gd name="T3" fmla="*/ 3392 h 4"/>
                <a:gd name="T4" fmla="*/ 2402 w 9"/>
                <a:gd name="T5" fmla="*/ 0 h 4"/>
                <a:gd name="T6" fmla="*/ 0 w 9"/>
                <a:gd name="T7" fmla="*/ 3392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0" y="4"/>
                  </a:moveTo>
                  <a:lnTo>
                    <a:pt x="9" y="4"/>
                  </a:lnTo>
                  <a:lnTo>
                    <a:pt x="5" y="0"/>
                  </a:lnTo>
                  <a:lnTo>
                    <a:pt x="0"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3" name="Freeform 124">
              <a:extLst>
                <a:ext uri="{FF2B5EF4-FFF2-40B4-BE49-F238E27FC236}">
                  <a16:creationId xmlns:a16="http://schemas.microsoft.com/office/drawing/2014/main" id="{64B9D557-06FB-9038-DE65-B113157EC339}"/>
                </a:ext>
              </a:extLst>
            </p:cNvPr>
            <p:cNvSpPr>
              <a:spLocks/>
            </p:cNvSpPr>
            <p:nvPr/>
          </p:nvSpPr>
          <p:spPr bwMode="auto">
            <a:xfrm>
              <a:off x="4454397" y="2179440"/>
              <a:ext cx="14393" cy="25817"/>
            </a:xfrm>
            <a:custGeom>
              <a:avLst/>
              <a:gdLst>
                <a:gd name="T0" fmla="*/ 8999 w 7"/>
                <a:gd name="T1" fmla="*/ 0 h 12"/>
                <a:gd name="T2" fmla="*/ 0 w 7"/>
                <a:gd name="T3" fmla="*/ 2722842 h 12"/>
                <a:gd name="T4" fmla="*/ 0 w 7"/>
                <a:gd name="T5" fmla="*/ 2853315 h 12"/>
                <a:gd name="T6" fmla="*/ 16552 w 7"/>
                <a:gd name="T7" fmla="*/ 3411282 h 12"/>
                <a:gd name="T8" fmla="*/ 16552 w 7"/>
                <a:gd name="T9" fmla="*/ 2853315 h 12"/>
                <a:gd name="T10" fmla="*/ 8999 w 7"/>
                <a:gd name="T11" fmla="*/ 0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4" y="0"/>
                  </a:moveTo>
                  <a:lnTo>
                    <a:pt x="0" y="9"/>
                  </a:lnTo>
                  <a:lnTo>
                    <a:pt x="0" y="10"/>
                  </a:lnTo>
                  <a:lnTo>
                    <a:pt x="7" y="12"/>
                  </a:lnTo>
                  <a:lnTo>
                    <a:pt x="7" y="10"/>
                  </a:lnTo>
                  <a:lnTo>
                    <a:pt x="4"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4" name="Freeform 125">
              <a:extLst>
                <a:ext uri="{FF2B5EF4-FFF2-40B4-BE49-F238E27FC236}">
                  <a16:creationId xmlns:a16="http://schemas.microsoft.com/office/drawing/2014/main" id="{B4217937-F969-D476-6F1C-B9D2F341C514}"/>
                </a:ext>
              </a:extLst>
            </p:cNvPr>
            <p:cNvSpPr>
              <a:spLocks/>
            </p:cNvSpPr>
            <p:nvPr/>
          </p:nvSpPr>
          <p:spPr bwMode="auto">
            <a:xfrm>
              <a:off x="5009305" y="2226518"/>
              <a:ext cx="118338" cy="129082"/>
            </a:xfrm>
            <a:custGeom>
              <a:avLst/>
              <a:gdLst>
                <a:gd name="T0" fmla="*/ 3149 w 62"/>
                <a:gd name="T1" fmla="*/ 0 h 64"/>
                <a:gd name="T2" fmla="*/ 0 w 62"/>
                <a:gd name="T3" fmla="*/ 857239 h 64"/>
                <a:gd name="T4" fmla="*/ 1 w 62"/>
                <a:gd name="T5" fmla="*/ 857239 h 64"/>
                <a:gd name="T6" fmla="*/ 3149 w 62"/>
                <a:gd name="T7" fmla="*/ 1598379 h 64"/>
                <a:gd name="T8" fmla="*/ 5353 w 62"/>
                <a:gd name="T9" fmla="*/ 2411626 h 64"/>
                <a:gd name="T10" fmla="*/ 6597 w 62"/>
                <a:gd name="T11" fmla="*/ 3466712 h 64"/>
                <a:gd name="T12" fmla="*/ 7626 w 62"/>
                <a:gd name="T13" fmla="*/ 4684165 h 64"/>
                <a:gd name="T14" fmla="*/ 10697 w 62"/>
                <a:gd name="T15" fmla="*/ 4684165 h 64"/>
                <a:gd name="T16" fmla="*/ 12377 w 62"/>
                <a:gd name="T17" fmla="*/ 4902708 h 64"/>
                <a:gd name="T18" fmla="*/ 12350 w 62"/>
                <a:gd name="T19" fmla="*/ 4269006 h 64"/>
                <a:gd name="T20" fmla="*/ 14773 w 62"/>
                <a:gd name="T21" fmla="*/ 3380891 h 64"/>
                <a:gd name="T22" fmla="*/ 12350 w 62"/>
                <a:gd name="T23" fmla="*/ 2603157 h 64"/>
                <a:gd name="T24" fmla="*/ 9398 w 62"/>
                <a:gd name="T25" fmla="*/ 1810892 h 64"/>
                <a:gd name="T26" fmla="*/ 7179 w 62"/>
                <a:gd name="T27" fmla="*/ 999760 h 64"/>
                <a:gd name="T28" fmla="*/ 4223 w 62"/>
                <a:gd name="T29" fmla="*/ 162876 h 64"/>
                <a:gd name="T30" fmla="*/ 3149 w 62"/>
                <a:gd name="T31" fmla="*/ 0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64"/>
                <a:gd name="T50" fmla="*/ 62 w 62"/>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64">
                  <a:moveTo>
                    <a:pt x="13" y="0"/>
                  </a:moveTo>
                  <a:lnTo>
                    <a:pt x="0" y="11"/>
                  </a:lnTo>
                  <a:lnTo>
                    <a:pt x="1" y="11"/>
                  </a:lnTo>
                  <a:lnTo>
                    <a:pt x="13" y="21"/>
                  </a:lnTo>
                  <a:lnTo>
                    <a:pt x="23" y="31"/>
                  </a:lnTo>
                  <a:lnTo>
                    <a:pt x="28" y="45"/>
                  </a:lnTo>
                  <a:lnTo>
                    <a:pt x="32" y="61"/>
                  </a:lnTo>
                  <a:lnTo>
                    <a:pt x="44" y="61"/>
                  </a:lnTo>
                  <a:lnTo>
                    <a:pt x="52" y="64"/>
                  </a:lnTo>
                  <a:lnTo>
                    <a:pt x="51" y="56"/>
                  </a:lnTo>
                  <a:lnTo>
                    <a:pt x="62" y="44"/>
                  </a:lnTo>
                  <a:lnTo>
                    <a:pt x="51" y="34"/>
                  </a:lnTo>
                  <a:lnTo>
                    <a:pt x="39" y="24"/>
                  </a:lnTo>
                  <a:lnTo>
                    <a:pt x="29" y="13"/>
                  </a:lnTo>
                  <a:lnTo>
                    <a:pt x="17" y="2"/>
                  </a:lnTo>
                  <a:lnTo>
                    <a:pt x="1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5" name="Freeform 126">
              <a:extLst>
                <a:ext uri="{FF2B5EF4-FFF2-40B4-BE49-F238E27FC236}">
                  <a16:creationId xmlns:a16="http://schemas.microsoft.com/office/drawing/2014/main" id="{D74F7E43-25C2-ED51-2748-7AA15E7FB384}"/>
                </a:ext>
              </a:extLst>
            </p:cNvPr>
            <p:cNvSpPr>
              <a:spLocks/>
            </p:cNvSpPr>
            <p:nvPr/>
          </p:nvSpPr>
          <p:spPr bwMode="auto">
            <a:xfrm>
              <a:off x="4424013" y="1496062"/>
              <a:ext cx="553310" cy="411546"/>
            </a:xfrm>
            <a:custGeom>
              <a:avLst/>
              <a:gdLst>
                <a:gd name="T0" fmla="*/ 43922 w 289"/>
                <a:gd name="T1" fmla="*/ 1179292 h 205"/>
                <a:gd name="T2" fmla="*/ 42479 w 289"/>
                <a:gd name="T3" fmla="*/ 1229840 h 205"/>
                <a:gd name="T4" fmla="*/ 39268 w 289"/>
                <a:gd name="T5" fmla="*/ 1602149 h 205"/>
                <a:gd name="T6" fmla="*/ 37326 w 289"/>
                <a:gd name="T7" fmla="*/ 1858929 h 205"/>
                <a:gd name="T8" fmla="*/ 33500 w 289"/>
                <a:gd name="T9" fmla="*/ 2512328 h 205"/>
                <a:gd name="T10" fmla="*/ 33959 w 289"/>
                <a:gd name="T11" fmla="*/ 2720875 h 205"/>
                <a:gd name="T12" fmla="*/ 33426 w 289"/>
                <a:gd name="T13" fmla="*/ 3114107 h 205"/>
                <a:gd name="T14" fmla="*/ 28919 w 289"/>
                <a:gd name="T15" fmla="*/ 3342336 h 205"/>
                <a:gd name="T16" fmla="*/ 31567 w 289"/>
                <a:gd name="T17" fmla="*/ 3582501 h 205"/>
                <a:gd name="T18" fmla="*/ 28919 w 289"/>
                <a:gd name="T19" fmla="*/ 3744197 h 205"/>
                <a:gd name="T20" fmla="*/ 26367 w 289"/>
                <a:gd name="T21" fmla="*/ 4222605 h 205"/>
                <a:gd name="T22" fmla="*/ 23692 w 289"/>
                <a:gd name="T23" fmla="*/ 4677827 h 205"/>
                <a:gd name="T24" fmla="*/ 23692 w 289"/>
                <a:gd name="T25" fmla="*/ 4929835 h 205"/>
                <a:gd name="T26" fmla="*/ 23320 w 289"/>
                <a:gd name="T27" fmla="*/ 5734250 h 205"/>
                <a:gd name="T28" fmla="*/ 19789 w 289"/>
                <a:gd name="T29" fmla="*/ 6173714 h 205"/>
                <a:gd name="T30" fmla="*/ 18903 w 289"/>
                <a:gd name="T31" fmla="*/ 6582296 h 205"/>
                <a:gd name="T32" fmla="*/ 14914 w 289"/>
                <a:gd name="T33" fmla="*/ 7318357 h 205"/>
                <a:gd name="T34" fmla="*/ 19478 w 289"/>
                <a:gd name="T35" fmla="*/ 7033796 h 205"/>
                <a:gd name="T36" fmla="*/ 15365 w 289"/>
                <a:gd name="T37" fmla="*/ 7626245 h 205"/>
                <a:gd name="T38" fmla="*/ 11113 w 289"/>
                <a:gd name="T39" fmla="*/ 7841761 h 205"/>
                <a:gd name="T40" fmla="*/ 9480 w 289"/>
                <a:gd name="T41" fmla="*/ 8195779 h 205"/>
                <a:gd name="T42" fmla="*/ 5613 w 289"/>
                <a:gd name="T43" fmla="*/ 8287721 h 205"/>
                <a:gd name="T44" fmla="*/ 6720 w 289"/>
                <a:gd name="T45" fmla="*/ 8418139 h 205"/>
                <a:gd name="T46" fmla="*/ 6418 w 289"/>
                <a:gd name="T47" fmla="*/ 8881714 h 205"/>
                <a:gd name="T48" fmla="*/ 2609 w 289"/>
                <a:gd name="T49" fmla="*/ 8881714 h 205"/>
                <a:gd name="T50" fmla="*/ 0 w 289"/>
                <a:gd name="T51" fmla="*/ 9020787 h 205"/>
                <a:gd name="T52" fmla="*/ 0 w 289"/>
                <a:gd name="T53" fmla="*/ 9333231 h 205"/>
                <a:gd name="T54" fmla="*/ 894 w 289"/>
                <a:gd name="T55" fmla="*/ 9743791 h 205"/>
                <a:gd name="T56" fmla="*/ 6720 w 289"/>
                <a:gd name="T57" fmla="*/ 9850992 h 205"/>
                <a:gd name="T58" fmla="*/ 6720 w 289"/>
                <a:gd name="T59" fmla="*/ 10201414 h 205"/>
                <a:gd name="T60" fmla="*/ 894 w 289"/>
                <a:gd name="T61" fmla="*/ 10285192 h 205"/>
                <a:gd name="T62" fmla="*/ 1837 w 289"/>
                <a:gd name="T63" fmla="*/ 10484094 h 205"/>
                <a:gd name="T64" fmla="*/ 2609 w 289"/>
                <a:gd name="T65" fmla="*/ 10932004 h 205"/>
                <a:gd name="T66" fmla="*/ 5613 w 289"/>
                <a:gd name="T67" fmla="*/ 10678120 h 205"/>
                <a:gd name="T68" fmla="*/ 3152 w 289"/>
                <a:gd name="T69" fmla="*/ 11389684 h 205"/>
                <a:gd name="T70" fmla="*/ 1070 w 289"/>
                <a:gd name="T71" fmla="*/ 11883468 h 205"/>
                <a:gd name="T72" fmla="*/ 4478 w 289"/>
                <a:gd name="T73" fmla="*/ 11961248 h 205"/>
                <a:gd name="T74" fmla="*/ 2633 w 289"/>
                <a:gd name="T75" fmla="*/ 12784075 h 205"/>
                <a:gd name="T76" fmla="*/ 15365 w 289"/>
                <a:gd name="T77" fmla="*/ 12170073 h 205"/>
                <a:gd name="T78" fmla="*/ 19478 w 289"/>
                <a:gd name="T79" fmla="*/ 11354375 h 205"/>
                <a:gd name="T80" fmla="*/ 23692 w 289"/>
                <a:gd name="T81" fmla="*/ 11354375 h 205"/>
                <a:gd name="T82" fmla="*/ 25562 w 289"/>
                <a:gd name="T83" fmla="*/ 9743791 h 205"/>
                <a:gd name="T84" fmla="*/ 22832 w 289"/>
                <a:gd name="T85" fmla="*/ 7361310 h 205"/>
                <a:gd name="T86" fmla="*/ 27095 w 289"/>
                <a:gd name="T87" fmla="*/ 6361520 h 205"/>
                <a:gd name="T88" fmla="*/ 31567 w 289"/>
                <a:gd name="T89" fmla="*/ 4677827 h 205"/>
                <a:gd name="T90" fmla="*/ 39181 w 289"/>
                <a:gd name="T91" fmla="*/ 2838535 h 205"/>
                <a:gd name="T92" fmla="*/ 44172 w 289"/>
                <a:gd name="T93" fmla="*/ 1986006 h 205"/>
                <a:gd name="T94" fmla="*/ 51168 w 289"/>
                <a:gd name="T95" fmla="*/ 2202877 h 205"/>
                <a:gd name="T96" fmla="*/ 60740 w 289"/>
                <a:gd name="T97" fmla="*/ 2202877 h 205"/>
                <a:gd name="T98" fmla="*/ 71354 w 289"/>
                <a:gd name="T99" fmla="*/ 1336070 h 205"/>
                <a:gd name="T100" fmla="*/ 76647 w 289"/>
                <a:gd name="T101" fmla="*/ 1479420 h 205"/>
                <a:gd name="T102" fmla="*/ 72897 w 289"/>
                <a:gd name="T103" fmla="*/ 1229840 h 205"/>
                <a:gd name="T104" fmla="*/ 73342 w 289"/>
                <a:gd name="T105" fmla="*/ 421218 h 205"/>
                <a:gd name="T106" fmla="*/ 67585 w 289"/>
                <a:gd name="T107" fmla="*/ 860468 h 205"/>
                <a:gd name="T108" fmla="*/ 67238 w 289"/>
                <a:gd name="T109" fmla="*/ 421218 h 205"/>
                <a:gd name="T110" fmla="*/ 62877 w 289"/>
                <a:gd name="T111" fmla="*/ 636680 h 205"/>
                <a:gd name="T112" fmla="*/ 59599 w 289"/>
                <a:gd name="T113" fmla="*/ 311669 h 205"/>
                <a:gd name="T114" fmla="*/ 56285 w 289"/>
                <a:gd name="T115" fmla="*/ 421218 h 205"/>
                <a:gd name="T116" fmla="*/ 50857 w 289"/>
                <a:gd name="T117" fmla="*/ 860468 h 205"/>
                <a:gd name="T118" fmla="*/ 49500 w 289"/>
                <a:gd name="T119" fmla="*/ 1229840 h 20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9"/>
                <a:gd name="T181" fmla="*/ 0 h 205"/>
                <a:gd name="T182" fmla="*/ 289 w 289"/>
                <a:gd name="T183" fmla="*/ 205 h 20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9" h="205">
                  <a:moveTo>
                    <a:pt x="170" y="22"/>
                  </a:moveTo>
                  <a:lnTo>
                    <a:pt x="166" y="26"/>
                  </a:lnTo>
                  <a:lnTo>
                    <a:pt x="166" y="18"/>
                  </a:lnTo>
                  <a:lnTo>
                    <a:pt x="164" y="22"/>
                  </a:lnTo>
                  <a:lnTo>
                    <a:pt x="161" y="23"/>
                  </a:lnTo>
                  <a:lnTo>
                    <a:pt x="160" y="19"/>
                  </a:lnTo>
                  <a:lnTo>
                    <a:pt x="155" y="22"/>
                  </a:lnTo>
                  <a:lnTo>
                    <a:pt x="157" y="26"/>
                  </a:lnTo>
                  <a:lnTo>
                    <a:pt x="148" y="25"/>
                  </a:lnTo>
                  <a:lnTo>
                    <a:pt x="150" y="26"/>
                  </a:lnTo>
                  <a:lnTo>
                    <a:pt x="144" y="25"/>
                  </a:lnTo>
                  <a:lnTo>
                    <a:pt x="141" y="29"/>
                  </a:lnTo>
                  <a:lnTo>
                    <a:pt x="141" y="35"/>
                  </a:lnTo>
                  <a:lnTo>
                    <a:pt x="139" y="36"/>
                  </a:lnTo>
                  <a:lnTo>
                    <a:pt x="126" y="39"/>
                  </a:lnTo>
                  <a:lnTo>
                    <a:pt x="139" y="41"/>
                  </a:lnTo>
                  <a:lnTo>
                    <a:pt x="138" y="44"/>
                  </a:lnTo>
                  <a:lnTo>
                    <a:pt x="129" y="42"/>
                  </a:lnTo>
                  <a:lnTo>
                    <a:pt x="128" y="44"/>
                  </a:lnTo>
                  <a:lnTo>
                    <a:pt x="125" y="47"/>
                  </a:lnTo>
                  <a:lnTo>
                    <a:pt x="125" y="48"/>
                  </a:lnTo>
                  <a:lnTo>
                    <a:pt x="121" y="45"/>
                  </a:lnTo>
                  <a:lnTo>
                    <a:pt x="118" y="47"/>
                  </a:lnTo>
                  <a:lnTo>
                    <a:pt x="109" y="52"/>
                  </a:lnTo>
                  <a:lnTo>
                    <a:pt x="121" y="51"/>
                  </a:lnTo>
                  <a:lnTo>
                    <a:pt x="116" y="52"/>
                  </a:lnTo>
                  <a:lnTo>
                    <a:pt x="119" y="55"/>
                  </a:lnTo>
                  <a:lnTo>
                    <a:pt x="118" y="55"/>
                  </a:lnTo>
                  <a:lnTo>
                    <a:pt x="110" y="55"/>
                  </a:lnTo>
                  <a:lnTo>
                    <a:pt x="109" y="58"/>
                  </a:lnTo>
                  <a:lnTo>
                    <a:pt x="119" y="61"/>
                  </a:lnTo>
                  <a:lnTo>
                    <a:pt x="107" y="61"/>
                  </a:lnTo>
                  <a:lnTo>
                    <a:pt x="99" y="66"/>
                  </a:lnTo>
                  <a:lnTo>
                    <a:pt x="93" y="70"/>
                  </a:lnTo>
                  <a:lnTo>
                    <a:pt x="94" y="70"/>
                  </a:lnTo>
                  <a:lnTo>
                    <a:pt x="90" y="73"/>
                  </a:lnTo>
                  <a:lnTo>
                    <a:pt x="93" y="73"/>
                  </a:lnTo>
                  <a:lnTo>
                    <a:pt x="100" y="74"/>
                  </a:lnTo>
                  <a:lnTo>
                    <a:pt x="90" y="77"/>
                  </a:lnTo>
                  <a:lnTo>
                    <a:pt x="86" y="82"/>
                  </a:lnTo>
                  <a:lnTo>
                    <a:pt x="87" y="86"/>
                  </a:lnTo>
                  <a:lnTo>
                    <a:pt x="87" y="89"/>
                  </a:lnTo>
                  <a:lnTo>
                    <a:pt x="90" y="90"/>
                  </a:lnTo>
                  <a:lnTo>
                    <a:pt x="75" y="95"/>
                  </a:lnTo>
                  <a:lnTo>
                    <a:pt x="75" y="96"/>
                  </a:lnTo>
                  <a:lnTo>
                    <a:pt x="80" y="95"/>
                  </a:lnTo>
                  <a:lnTo>
                    <a:pt x="77" y="99"/>
                  </a:lnTo>
                  <a:lnTo>
                    <a:pt x="71" y="102"/>
                  </a:lnTo>
                  <a:lnTo>
                    <a:pt x="67" y="103"/>
                  </a:lnTo>
                  <a:lnTo>
                    <a:pt x="59" y="109"/>
                  </a:lnTo>
                  <a:lnTo>
                    <a:pt x="57" y="113"/>
                  </a:lnTo>
                  <a:lnTo>
                    <a:pt x="61" y="116"/>
                  </a:lnTo>
                  <a:lnTo>
                    <a:pt x="68" y="112"/>
                  </a:lnTo>
                  <a:lnTo>
                    <a:pt x="73" y="109"/>
                  </a:lnTo>
                  <a:lnTo>
                    <a:pt x="73" y="113"/>
                  </a:lnTo>
                  <a:lnTo>
                    <a:pt x="62" y="118"/>
                  </a:lnTo>
                  <a:lnTo>
                    <a:pt x="58" y="118"/>
                  </a:lnTo>
                  <a:lnTo>
                    <a:pt x="49" y="116"/>
                  </a:lnTo>
                  <a:lnTo>
                    <a:pt x="48" y="118"/>
                  </a:lnTo>
                  <a:lnTo>
                    <a:pt x="42" y="122"/>
                  </a:lnTo>
                  <a:lnTo>
                    <a:pt x="38" y="125"/>
                  </a:lnTo>
                  <a:lnTo>
                    <a:pt x="39" y="127"/>
                  </a:lnTo>
                  <a:lnTo>
                    <a:pt x="36" y="127"/>
                  </a:lnTo>
                  <a:lnTo>
                    <a:pt x="39" y="129"/>
                  </a:lnTo>
                  <a:lnTo>
                    <a:pt x="23" y="125"/>
                  </a:lnTo>
                  <a:lnTo>
                    <a:pt x="22" y="129"/>
                  </a:lnTo>
                  <a:lnTo>
                    <a:pt x="28" y="129"/>
                  </a:lnTo>
                  <a:lnTo>
                    <a:pt x="32" y="129"/>
                  </a:lnTo>
                  <a:lnTo>
                    <a:pt x="26" y="131"/>
                  </a:lnTo>
                  <a:lnTo>
                    <a:pt x="16" y="134"/>
                  </a:lnTo>
                  <a:lnTo>
                    <a:pt x="25" y="137"/>
                  </a:lnTo>
                  <a:lnTo>
                    <a:pt x="23" y="138"/>
                  </a:lnTo>
                  <a:lnTo>
                    <a:pt x="16" y="135"/>
                  </a:lnTo>
                  <a:lnTo>
                    <a:pt x="16" y="137"/>
                  </a:lnTo>
                  <a:lnTo>
                    <a:pt x="9" y="138"/>
                  </a:lnTo>
                  <a:lnTo>
                    <a:pt x="12" y="140"/>
                  </a:lnTo>
                  <a:lnTo>
                    <a:pt x="4" y="140"/>
                  </a:lnTo>
                  <a:lnTo>
                    <a:pt x="0" y="140"/>
                  </a:lnTo>
                  <a:lnTo>
                    <a:pt x="0" y="143"/>
                  </a:lnTo>
                  <a:lnTo>
                    <a:pt x="17" y="144"/>
                  </a:lnTo>
                  <a:lnTo>
                    <a:pt x="0" y="145"/>
                  </a:lnTo>
                  <a:lnTo>
                    <a:pt x="6" y="150"/>
                  </a:lnTo>
                  <a:lnTo>
                    <a:pt x="1" y="151"/>
                  </a:lnTo>
                  <a:lnTo>
                    <a:pt x="3" y="151"/>
                  </a:lnTo>
                  <a:lnTo>
                    <a:pt x="0" y="156"/>
                  </a:lnTo>
                  <a:lnTo>
                    <a:pt x="19" y="153"/>
                  </a:lnTo>
                  <a:lnTo>
                    <a:pt x="26" y="153"/>
                  </a:lnTo>
                  <a:lnTo>
                    <a:pt x="28" y="151"/>
                  </a:lnTo>
                  <a:lnTo>
                    <a:pt x="29" y="156"/>
                  </a:lnTo>
                  <a:lnTo>
                    <a:pt x="26" y="159"/>
                  </a:lnTo>
                  <a:lnTo>
                    <a:pt x="16" y="157"/>
                  </a:lnTo>
                  <a:lnTo>
                    <a:pt x="0" y="159"/>
                  </a:lnTo>
                  <a:lnTo>
                    <a:pt x="3" y="160"/>
                  </a:lnTo>
                  <a:lnTo>
                    <a:pt x="3" y="161"/>
                  </a:lnTo>
                  <a:lnTo>
                    <a:pt x="0" y="163"/>
                  </a:lnTo>
                  <a:lnTo>
                    <a:pt x="7" y="163"/>
                  </a:lnTo>
                  <a:lnTo>
                    <a:pt x="6" y="167"/>
                  </a:lnTo>
                  <a:lnTo>
                    <a:pt x="1" y="170"/>
                  </a:lnTo>
                  <a:lnTo>
                    <a:pt x="9" y="170"/>
                  </a:lnTo>
                  <a:lnTo>
                    <a:pt x="10" y="173"/>
                  </a:lnTo>
                  <a:lnTo>
                    <a:pt x="16" y="167"/>
                  </a:lnTo>
                  <a:lnTo>
                    <a:pt x="22" y="166"/>
                  </a:lnTo>
                  <a:lnTo>
                    <a:pt x="19" y="172"/>
                  </a:lnTo>
                  <a:lnTo>
                    <a:pt x="17" y="167"/>
                  </a:lnTo>
                  <a:lnTo>
                    <a:pt x="12" y="177"/>
                  </a:lnTo>
                  <a:lnTo>
                    <a:pt x="13" y="177"/>
                  </a:lnTo>
                  <a:lnTo>
                    <a:pt x="6" y="180"/>
                  </a:lnTo>
                  <a:lnTo>
                    <a:pt x="4" y="185"/>
                  </a:lnTo>
                  <a:lnTo>
                    <a:pt x="12" y="183"/>
                  </a:lnTo>
                  <a:lnTo>
                    <a:pt x="16" y="182"/>
                  </a:lnTo>
                  <a:lnTo>
                    <a:pt x="16" y="186"/>
                  </a:lnTo>
                  <a:lnTo>
                    <a:pt x="14" y="190"/>
                  </a:lnTo>
                  <a:lnTo>
                    <a:pt x="9" y="190"/>
                  </a:lnTo>
                  <a:lnTo>
                    <a:pt x="10" y="199"/>
                  </a:lnTo>
                  <a:lnTo>
                    <a:pt x="20" y="204"/>
                  </a:lnTo>
                  <a:lnTo>
                    <a:pt x="38" y="205"/>
                  </a:lnTo>
                  <a:lnTo>
                    <a:pt x="58" y="189"/>
                  </a:lnTo>
                  <a:lnTo>
                    <a:pt x="68" y="188"/>
                  </a:lnTo>
                  <a:lnTo>
                    <a:pt x="68" y="179"/>
                  </a:lnTo>
                  <a:lnTo>
                    <a:pt x="73" y="176"/>
                  </a:lnTo>
                  <a:lnTo>
                    <a:pt x="75" y="188"/>
                  </a:lnTo>
                  <a:lnTo>
                    <a:pt x="83" y="190"/>
                  </a:lnTo>
                  <a:lnTo>
                    <a:pt x="90" y="176"/>
                  </a:lnTo>
                  <a:lnTo>
                    <a:pt x="91" y="161"/>
                  </a:lnTo>
                  <a:lnTo>
                    <a:pt x="91" y="157"/>
                  </a:lnTo>
                  <a:lnTo>
                    <a:pt x="96" y="151"/>
                  </a:lnTo>
                  <a:lnTo>
                    <a:pt x="87" y="145"/>
                  </a:lnTo>
                  <a:lnTo>
                    <a:pt x="86" y="129"/>
                  </a:lnTo>
                  <a:lnTo>
                    <a:pt x="86" y="115"/>
                  </a:lnTo>
                  <a:lnTo>
                    <a:pt x="97" y="108"/>
                  </a:lnTo>
                  <a:lnTo>
                    <a:pt x="107" y="106"/>
                  </a:lnTo>
                  <a:lnTo>
                    <a:pt x="102" y="99"/>
                  </a:lnTo>
                  <a:lnTo>
                    <a:pt x="110" y="80"/>
                  </a:lnTo>
                  <a:lnTo>
                    <a:pt x="109" y="76"/>
                  </a:lnTo>
                  <a:lnTo>
                    <a:pt x="119" y="73"/>
                  </a:lnTo>
                  <a:lnTo>
                    <a:pt x="125" y="64"/>
                  </a:lnTo>
                  <a:lnTo>
                    <a:pt x="131" y="48"/>
                  </a:lnTo>
                  <a:lnTo>
                    <a:pt x="147" y="44"/>
                  </a:lnTo>
                  <a:lnTo>
                    <a:pt x="148" y="38"/>
                  </a:lnTo>
                  <a:lnTo>
                    <a:pt x="168" y="39"/>
                  </a:lnTo>
                  <a:lnTo>
                    <a:pt x="167" y="31"/>
                  </a:lnTo>
                  <a:lnTo>
                    <a:pt x="173" y="31"/>
                  </a:lnTo>
                  <a:lnTo>
                    <a:pt x="180" y="26"/>
                  </a:lnTo>
                  <a:lnTo>
                    <a:pt x="193" y="34"/>
                  </a:lnTo>
                  <a:lnTo>
                    <a:pt x="208" y="36"/>
                  </a:lnTo>
                  <a:lnTo>
                    <a:pt x="222" y="36"/>
                  </a:lnTo>
                  <a:lnTo>
                    <a:pt x="229" y="34"/>
                  </a:lnTo>
                  <a:lnTo>
                    <a:pt x="232" y="22"/>
                  </a:lnTo>
                  <a:lnTo>
                    <a:pt x="250" y="16"/>
                  </a:lnTo>
                  <a:lnTo>
                    <a:pt x="269" y="21"/>
                  </a:lnTo>
                  <a:lnTo>
                    <a:pt x="269" y="31"/>
                  </a:lnTo>
                  <a:lnTo>
                    <a:pt x="280" y="23"/>
                  </a:lnTo>
                  <a:lnTo>
                    <a:pt x="289" y="23"/>
                  </a:lnTo>
                  <a:lnTo>
                    <a:pt x="289" y="19"/>
                  </a:lnTo>
                  <a:lnTo>
                    <a:pt x="282" y="19"/>
                  </a:lnTo>
                  <a:lnTo>
                    <a:pt x="275" y="19"/>
                  </a:lnTo>
                  <a:lnTo>
                    <a:pt x="266" y="15"/>
                  </a:lnTo>
                  <a:lnTo>
                    <a:pt x="289" y="12"/>
                  </a:lnTo>
                  <a:lnTo>
                    <a:pt x="277" y="6"/>
                  </a:lnTo>
                  <a:lnTo>
                    <a:pt x="266" y="5"/>
                  </a:lnTo>
                  <a:lnTo>
                    <a:pt x="257" y="6"/>
                  </a:lnTo>
                  <a:lnTo>
                    <a:pt x="256" y="13"/>
                  </a:lnTo>
                  <a:lnTo>
                    <a:pt x="254" y="9"/>
                  </a:lnTo>
                  <a:lnTo>
                    <a:pt x="254" y="6"/>
                  </a:lnTo>
                  <a:lnTo>
                    <a:pt x="253" y="6"/>
                  </a:lnTo>
                  <a:lnTo>
                    <a:pt x="251" y="0"/>
                  </a:lnTo>
                  <a:lnTo>
                    <a:pt x="244" y="3"/>
                  </a:lnTo>
                  <a:lnTo>
                    <a:pt x="237" y="10"/>
                  </a:lnTo>
                  <a:lnTo>
                    <a:pt x="232" y="3"/>
                  </a:lnTo>
                  <a:lnTo>
                    <a:pt x="219" y="15"/>
                  </a:lnTo>
                  <a:lnTo>
                    <a:pt x="225" y="5"/>
                  </a:lnTo>
                  <a:lnTo>
                    <a:pt x="222" y="5"/>
                  </a:lnTo>
                  <a:lnTo>
                    <a:pt x="213" y="3"/>
                  </a:lnTo>
                  <a:lnTo>
                    <a:pt x="212" y="6"/>
                  </a:lnTo>
                  <a:lnTo>
                    <a:pt x="199" y="15"/>
                  </a:lnTo>
                  <a:lnTo>
                    <a:pt x="192" y="15"/>
                  </a:lnTo>
                  <a:lnTo>
                    <a:pt x="192" y="13"/>
                  </a:lnTo>
                  <a:lnTo>
                    <a:pt x="180" y="13"/>
                  </a:lnTo>
                  <a:lnTo>
                    <a:pt x="187" y="16"/>
                  </a:lnTo>
                  <a:lnTo>
                    <a:pt x="186" y="19"/>
                  </a:lnTo>
                  <a:lnTo>
                    <a:pt x="179" y="18"/>
                  </a:lnTo>
                  <a:lnTo>
                    <a:pt x="170" y="2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6" name="Freeform 127">
              <a:extLst>
                <a:ext uri="{FF2B5EF4-FFF2-40B4-BE49-F238E27FC236}">
                  <a16:creationId xmlns:a16="http://schemas.microsoft.com/office/drawing/2014/main" id="{6C924610-C5B3-B13E-0031-E64C46AD24B2}"/>
                </a:ext>
              </a:extLst>
            </p:cNvPr>
            <p:cNvSpPr>
              <a:spLocks/>
            </p:cNvSpPr>
            <p:nvPr/>
          </p:nvSpPr>
          <p:spPr bwMode="auto">
            <a:xfrm>
              <a:off x="4639899" y="1559844"/>
              <a:ext cx="27186" cy="19742"/>
            </a:xfrm>
            <a:custGeom>
              <a:avLst/>
              <a:gdLst>
                <a:gd name="T0" fmla="*/ 2957 w 14"/>
                <a:gd name="T1" fmla="*/ 0 h 9"/>
                <a:gd name="T2" fmla="*/ 1360 w 14"/>
                <a:gd name="T3" fmla="*/ 6019081 h 9"/>
                <a:gd name="T4" fmla="*/ 0 w 14"/>
                <a:gd name="T5" fmla="*/ 8027183 h 9"/>
                <a:gd name="T6" fmla="*/ 2435 w 14"/>
                <a:gd name="T7" fmla="*/ 6019081 h 9"/>
                <a:gd name="T8" fmla="*/ 3591 w 14"/>
                <a:gd name="T9" fmla="*/ 8027183 h 9"/>
                <a:gd name="T10" fmla="*/ 6027 w 14"/>
                <a:gd name="T11" fmla="*/ 2947387 h 9"/>
                <a:gd name="T12" fmla="*/ 3591 w 14"/>
                <a:gd name="T13" fmla="*/ 3317359 h 9"/>
                <a:gd name="T14" fmla="*/ 2957 w 14"/>
                <a:gd name="T15" fmla="*/ 0 h 9"/>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9"/>
                <a:gd name="T26" fmla="*/ 14 w 14"/>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9">
                  <a:moveTo>
                    <a:pt x="7" y="0"/>
                  </a:moveTo>
                  <a:lnTo>
                    <a:pt x="3" y="7"/>
                  </a:lnTo>
                  <a:lnTo>
                    <a:pt x="0" y="9"/>
                  </a:lnTo>
                  <a:lnTo>
                    <a:pt x="6" y="7"/>
                  </a:lnTo>
                  <a:lnTo>
                    <a:pt x="9" y="9"/>
                  </a:lnTo>
                  <a:lnTo>
                    <a:pt x="14" y="3"/>
                  </a:lnTo>
                  <a:lnTo>
                    <a:pt x="9" y="4"/>
                  </a:lnTo>
                  <a:lnTo>
                    <a:pt x="7"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7" name="Freeform 128">
              <a:extLst>
                <a:ext uri="{FF2B5EF4-FFF2-40B4-BE49-F238E27FC236}">
                  <a16:creationId xmlns:a16="http://schemas.microsoft.com/office/drawing/2014/main" id="{6E958F58-D628-F943-62AD-56FED755303C}"/>
                </a:ext>
              </a:extLst>
            </p:cNvPr>
            <p:cNvSpPr>
              <a:spLocks/>
            </p:cNvSpPr>
            <p:nvPr/>
          </p:nvSpPr>
          <p:spPr bwMode="auto">
            <a:xfrm>
              <a:off x="4755039" y="1529472"/>
              <a:ext cx="291047" cy="321947"/>
            </a:xfrm>
            <a:custGeom>
              <a:avLst/>
              <a:gdLst>
                <a:gd name="T0" fmla="*/ 41758 w 151"/>
                <a:gd name="T1" fmla="*/ 6619889 h 160"/>
                <a:gd name="T2" fmla="*/ 39915 w 151"/>
                <a:gd name="T3" fmla="*/ 6136694 h 160"/>
                <a:gd name="T4" fmla="*/ 39915 w 151"/>
                <a:gd name="T5" fmla="*/ 5136055 h 160"/>
                <a:gd name="T6" fmla="*/ 34645 w 151"/>
                <a:gd name="T7" fmla="*/ 3670061 h 160"/>
                <a:gd name="T8" fmla="*/ 37580 w 151"/>
                <a:gd name="T9" fmla="*/ 2951815 h 160"/>
                <a:gd name="T10" fmla="*/ 31768 w 151"/>
                <a:gd name="T11" fmla="val 15611824"/>
                <a:gd name="T12" fmla="*/ 31608 w 151"/>
                <a:gd name="T13" fmla="*/ 1369807 h 160"/>
                <a:gd name="T14" fmla="*/ 31608 w 151"/>
                <a:gd name="T15" fmla="*/ 1193684 h 160"/>
                <a:gd name="T16" fmla="*/ 31608 w 151"/>
                <a:gd name="T17" fmla="*/ 363068 h 160"/>
                <a:gd name="T18" fmla="*/ 25076 w 151"/>
                <a:gd name="T19" fmla="*/ 0 h 160"/>
                <a:gd name="T20" fmla="*/ 19328 w 151"/>
                <a:gd name="T21" fmla="*/ 483816 h 160"/>
                <a:gd name="T22" fmla="*/ 18151 w 151"/>
                <a:gd name="T23" fmla="*/ 1369807 h 160"/>
                <a:gd name="T24" fmla="*/ 16036 w 151"/>
                <a:gd name="T25" fmla="*/ 1550314 h 160"/>
                <a:gd name="T26" fmla="*/ 11371 w 151"/>
                <a:gd name="T27" fmla="*/ 1550314 h 160"/>
                <a:gd name="T28" fmla="*/ 6494 w 151"/>
                <a:gd name="T29" fmla="*/ 1369807 h 160"/>
                <a:gd name="T30" fmla="*/ 2118 w 151"/>
                <a:gd name="T31" fmla="*/ 750246 h 160"/>
                <a:gd name="T32" fmla="*/ 0 w 151"/>
                <a:gd name="T33" fmla="*/ 1193684 h 160"/>
                <a:gd name="T34" fmla="*/ 10801 w 151"/>
                <a:gd name="T35" fmla="*/ 2146183 h 160"/>
                <a:gd name="T36" fmla="*/ 14513 w 151"/>
                <a:gd name="T37" fmla="*/ 3862445 h 160"/>
                <a:gd name="T38" fmla="*/ 16519 w 151"/>
                <a:gd name="T39" fmla="*/ 4902708 h 160"/>
                <a:gd name="T40" fmla="*/ 18151 w 151"/>
                <a:gd name="T41" fmla="*/ 4902708 h 160"/>
                <a:gd name="T42" fmla="*/ 20147 w 151"/>
                <a:gd name="T43" fmla="*/ 5136055 h 160"/>
                <a:gd name="T44" fmla="*/ 21083 w 151"/>
                <a:gd name="T45" fmla="*/ 6099647 h 160"/>
                <a:gd name="T46" fmla="*/ 14513 w 151"/>
                <a:gd name="T47" fmla="*/ 7327035 h 160"/>
                <a:gd name="T48" fmla="*/ 11848 w 151"/>
                <a:gd name="T49" fmla="*/ 7923546 h 160"/>
                <a:gd name="T50" fmla="*/ 8288 w 151"/>
                <a:gd name="T51" fmla="*/ 8301654 h 160"/>
                <a:gd name="T52" fmla="*/ 9434 w 151"/>
                <a:gd name="T53" fmla="*/ 9782652 h 160"/>
                <a:gd name="T54" fmla="*/ 10719 w 151"/>
                <a:gd name="T55" fmla="*/ 11287990 h 160"/>
                <a:gd name="T56" fmla="*/ 14976 w 151"/>
                <a:gd name="T57" fmla="*/ 11613348 h 160"/>
                <a:gd name="T58" fmla="*/ 14976 w 151"/>
                <a:gd name="T59" fmla="*/ 11827599 h 160"/>
                <a:gd name="T60" fmla="*/ 17212 w 151"/>
                <a:gd name="T61" fmla="*/ 11766706 h 160"/>
                <a:gd name="T62" fmla="*/ 18151 w 151"/>
                <a:gd name="T63" fmla="*/ 12310797 h 160"/>
                <a:gd name="T64" fmla="*/ 19328 w 151"/>
                <a:gd name="T65" fmla="*/ 12086651 h 160"/>
                <a:gd name="T66" fmla="*/ 29975 w 151"/>
                <a:gd name="T67" fmla="*/ 11613348 h 160"/>
                <a:gd name="T68" fmla="*/ 31768 w 151"/>
                <a:gd name="T69" fmla="*/ 11390093 h 160"/>
                <a:gd name="T70" fmla="*/ 36916 w 151"/>
                <a:gd name="T71" fmla="*/ 11390093 h 160"/>
                <a:gd name="T72" fmla="*/ 40029 w 151"/>
                <a:gd name="T73" fmla="*/ 10740067 h 160"/>
                <a:gd name="T74" fmla="*/ 43044 w 151"/>
                <a:gd name="T75" fmla="*/ 9879344 h 160"/>
                <a:gd name="T76" fmla="*/ 46170 w 151"/>
                <a:gd name="T77" fmla="*/ 9164263 h 160"/>
                <a:gd name="T78" fmla="*/ 49167 w 151"/>
                <a:gd name="T79" fmla="*/ 8564032 h 160"/>
                <a:gd name="T80" fmla="*/ 42019 w 151"/>
                <a:gd name="T81" fmla="*/ 7442886 h 160"/>
                <a:gd name="T82" fmla="*/ 43908 w 151"/>
                <a:gd name="T83" fmla="*/ 7163632 h 160"/>
                <a:gd name="T84" fmla="*/ 41758 w 151"/>
                <a:gd name="T85" fmla="*/ 6619889 h 1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1"/>
                <a:gd name="T130" fmla="*/ 0 h 160"/>
                <a:gd name="T131" fmla="*/ 151 w 151"/>
                <a:gd name="T132" fmla="*/ 160 h 1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1" h="160">
                  <a:moveTo>
                    <a:pt x="128" y="86"/>
                  </a:moveTo>
                  <a:lnTo>
                    <a:pt x="122" y="80"/>
                  </a:lnTo>
                  <a:lnTo>
                    <a:pt x="122" y="67"/>
                  </a:lnTo>
                  <a:lnTo>
                    <a:pt x="106" y="48"/>
                  </a:lnTo>
                  <a:lnTo>
                    <a:pt x="115" y="38"/>
                  </a:lnTo>
                  <a:lnTo>
                    <a:pt x="97" y="28"/>
                  </a:lnTo>
                  <a:lnTo>
                    <a:pt x="96" y="18"/>
                  </a:lnTo>
                  <a:lnTo>
                    <a:pt x="96" y="15"/>
                  </a:lnTo>
                  <a:lnTo>
                    <a:pt x="96" y="5"/>
                  </a:lnTo>
                  <a:lnTo>
                    <a:pt x="77" y="0"/>
                  </a:lnTo>
                  <a:lnTo>
                    <a:pt x="59" y="6"/>
                  </a:lnTo>
                  <a:lnTo>
                    <a:pt x="56" y="18"/>
                  </a:lnTo>
                  <a:lnTo>
                    <a:pt x="49" y="20"/>
                  </a:lnTo>
                  <a:lnTo>
                    <a:pt x="35" y="20"/>
                  </a:lnTo>
                  <a:lnTo>
                    <a:pt x="20" y="18"/>
                  </a:lnTo>
                  <a:lnTo>
                    <a:pt x="7" y="10"/>
                  </a:lnTo>
                  <a:lnTo>
                    <a:pt x="0" y="15"/>
                  </a:lnTo>
                  <a:lnTo>
                    <a:pt x="33" y="28"/>
                  </a:lnTo>
                  <a:lnTo>
                    <a:pt x="45" y="50"/>
                  </a:lnTo>
                  <a:lnTo>
                    <a:pt x="51" y="64"/>
                  </a:lnTo>
                  <a:lnTo>
                    <a:pt x="56" y="64"/>
                  </a:lnTo>
                  <a:lnTo>
                    <a:pt x="62" y="67"/>
                  </a:lnTo>
                  <a:lnTo>
                    <a:pt x="65" y="79"/>
                  </a:lnTo>
                  <a:lnTo>
                    <a:pt x="45" y="95"/>
                  </a:lnTo>
                  <a:lnTo>
                    <a:pt x="36" y="103"/>
                  </a:lnTo>
                  <a:lnTo>
                    <a:pt x="26" y="108"/>
                  </a:lnTo>
                  <a:lnTo>
                    <a:pt x="29" y="127"/>
                  </a:lnTo>
                  <a:lnTo>
                    <a:pt x="32" y="147"/>
                  </a:lnTo>
                  <a:lnTo>
                    <a:pt x="46" y="151"/>
                  </a:lnTo>
                  <a:lnTo>
                    <a:pt x="46" y="154"/>
                  </a:lnTo>
                  <a:lnTo>
                    <a:pt x="52" y="153"/>
                  </a:lnTo>
                  <a:lnTo>
                    <a:pt x="56" y="160"/>
                  </a:lnTo>
                  <a:lnTo>
                    <a:pt x="59" y="157"/>
                  </a:lnTo>
                  <a:lnTo>
                    <a:pt x="91" y="151"/>
                  </a:lnTo>
                  <a:lnTo>
                    <a:pt x="97" y="148"/>
                  </a:lnTo>
                  <a:lnTo>
                    <a:pt x="113" y="148"/>
                  </a:lnTo>
                  <a:lnTo>
                    <a:pt x="123" y="140"/>
                  </a:lnTo>
                  <a:lnTo>
                    <a:pt x="132" y="129"/>
                  </a:lnTo>
                  <a:lnTo>
                    <a:pt x="142" y="119"/>
                  </a:lnTo>
                  <a:lnTo>
                    <a:pt x="151" y="111"/>
                  </a:lnTo>
                  <a:lnTo>
                    <a:pt x="129" y="97"/>
                  </a:lnTo>
                  <a:lnTo>
                    <a:pt x="135" y="93"/>
                  </a:lnTo>
                  <a:lnTo>
                    <a:pt x="128" y="8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8" name="Freeform 129">
              <a:extLst>
                <a:ext uri="{FF2B5EF4-FFF2-40B4-BE49-F238E27FC236}">
                  <a16:creationId xmlns:a16="http://schemas.microsoft.com/office/drawing/2014/main" id="{9048743F-F81F-5D04-1FBE-31990558FCEB}"/>
                </a:ext>
              </a:extLst>
            </p:cNvPr>
            <p:cNvSpPr>
              <a:spLocks/>
            </p:cNvSpPr>
            <p:nvPr/>
          </p:nvSpPr>
          <p:spPr bwMode="auto">
            <a:xfrm>
              <a:off x="4553545" y="2282706"/>
              <a:ext cx="6396" cy="6074"/>
            </a:xfrm>
            <a:custGeom>
              <a:avLst/>
              <a:gdLst>
                <a:gd name="T0" fmla="*/ 15503 w 3"/>
                <a:gd name="T1" fmla="*/ 0 h 3"/>
                <a:gd name="T2" fmla="*/ 0 w 3"/>
                <a:gd name="T3" fmla="*/ 20671 h 3"/>
                <a:gd name="T4" fmla="*/ 20671 w 3"/>
                <a:gd name="T5" fmla="*/ 20671 h 3"/>
                <a:gd name="T6" fmla="*/ 15503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0"/>
                  </a:moveTo>
                  <a:lnTo>
                    <a:pt x="0" y="3"/>
                  </a:lnTo>
                  <a:lnTo>
                    <a:pt x="3" y="3"/>
                  </a:lnTo>
                  <a:lnTo>
                    <a:pt x="2"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89" name="Freeform 130">
              <a:extLst>
                <a:ext uri="{FF2B5EF4-FFF2-40B4-BE49-F238E27FC236}">
                  <a16:creationId xmlns:a16="http://schemas.microsoft.com/office/drawing/2014/main" id="{788F5BA4-8121-FEE0-6A92-7EE214B31757}"/>
                </a:ext>
              </a:extLst>
            </p:cNvPr>
            <p:cNvSpPr>
              <a:spLocks/>
            </p:cNvSpPr>
            <p:nvPr/>
          </p:nvSpPr>
          <p:spPr bwMode="auto">
            <a:xfrm>
              <a:off x="4558343" y="2224999"/>
              <a:ext cx="204692" cy="85042"/>
            </a:xfrm>
            <a:custGeom>
              <a:avLst/>
              <a:gdLst>
                <a:gd name="T0" fmla="*/ 12444 w 106"/>
                <a:gd name="T1" fmla="*/ 3685257 h 42"/>
                <a:gd name="T2" fmla="*/ 7067 w 106"/>
                <a:gd name="T3" fmla="*/ 3791095 h 42"/>
                <a:gd name="T4" fmla="*/ 4548 w 106"/>
                <a:gd name="T5" fmla="*/ 3791095 h 42"/>
                <a:gd name="T6" fmla="*/ 4548 w 106"/>
                <a:gd name="T7" fmla="*/ 3685257 h 42"/>
                <a:gd name="T8" fmla="*/ 1 w 106"/>
                <a:gd name="T9" fmla="*/ 3361399 h 42"/>
                <a:gd name="T10" fmla="*/ 0 w 106"/>
                <a:gd name="T11" fmla="*/ 3361399 h 42"/>
                <a:gd name="T12" fmla="*/ 0 w 106"/>
                <a:gd name="T13" fmla="*/ 3068559 h 42"/>
                <a:gd name="T14" fmla="*/ 0 w 106"/>
                <a:gd name="T15" fmla="*/ 2610262 h 42"/>
                <a:gd name="T16" fmla="*/ 3323 w 106"/>
                <a:gd name="T17" fmla="*/ 2749412 h 42"/>
                <a:gd name="T18" fmla="*/ 3766 w 106"/>
                <a:gd name="T19" fmla="*/ 2749412 h 42"/>
                <a:gd name="T20" fmla="*/ 5492 w 106"/>
                <a:gd name="T21" fmla="*/ 2421199 h 42"/>
                <a:gd name="T22" fmla="*/ 10197 w 106"/>
                <a:gd name="T23" fmla="*/ 2421199 h 42"/>
                <a:gd name="T24" fmla="*/ 15472 w 106"/>
                <a:gd name="T25" fmla="*/ 2421199 h 42"/>
                <a:gd name="T26" fmla="*/ 16961 w 106"/>
                <a:gd name="T27" fmla="*/ 2314407 h 42"/>
                <a:gd name="T28" fmla="*/ 16146 w 106"/>
                <a:gd name="T29" fmla="*/ 1237437 h 42"/>
                <a:gd name="T30" fmla="*/ 20226 w 106"/>
                <a:gd name="T31" fmla="*/ 319624 h 42"/>
                <a:gd name="T32" fmla="*/ 22561 w 106"/>
                <a:gd name="T33" fmla="*/ 674218 h 42"/>
                <a:gd name="T34" fmla="*/ 25322 w 106"/>
                <a:gd name="T35" fmla="*/ 0 h 42"/>
                <a:gd name="T36" fmla="*/ 33215 w 106"/>
                <a:gd name="T37" fmla="*/ 319624 h 42"/>
                <a:gd name="T38" fmla="*/ 36870 w 106"/>
                <a:gd name="T39" fmla="*/ 1667055 h 42"/>
                <a:gd name="T40" fmla="*/ 34587 w 106"/>
                <a:gd name="T41" fmla="*/ 2314407 h 42"/>
                <a:gd name="T42" fmla="*/ 33518 w 106"/>
                <a:gd name="T43" fmla="*/ 2421199 h 42"/>
                <a:gd name="T44" fmla="*/ 32897 w 106"/>
                <a:gd name="T45" fmla="*/ 3685257 h 42"/>
                <a:gd name="T46" fmla="*/ 32068 w 106"/>
                <a:gd name="T47" fmla="*/ 3791095 h 42"/>
                <a:gd name="T48" fmla="*/ 22561 w 106"/>
                <a:gd name="T49" fmla="*/ 4456715 h 42"/>
                <a:gd name="T50" fmla="*/ 20481 w 106"/>
                <a:gd name="T51" fmla="*/ 4456715 h 42"/>
                <a:gd name="T52" fmla="*/ 12444 w 106"/>
                <a:gd name="T53" fmla="*/ 3685257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6"/>
                <a:gd name="T82" fmla="*/ 0 h 42"/>
                <a:gd name="T83" fmla="*/ 106 w 106"/>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6" h="42">
                  <a:moveTo>
                    <a:pt x="36" y="35"/>
                  </a:moveTo>
                  <a:lnTo>
                    <a:pt x="21" y="36"/>
                  </a:lnTo>
                  <a:lnTo>
                    <a:pt x="13" y="36"/>
                  </a:lnTo>
                  <a:lnTo>
                    <a:pt x="13" y="35"/>
                  </a:lnTo>
                  <a:lnTo>
                    <a:pt x="1" y="32"/>
                  </a:lnTo>
                  <a:lnTo>
                    <a:pt x="0" y="32"/>
                  </a:lnTo>
                  <a:lnTo>
                    <a:pt x="0" y="29"/>
                  </a:lnTo>
                  <a:lnTo>
                    <a:pt x="0" y="25"/>
                  </a:lnTo>
                  <a:lnTo>
                    <a:pt x="10" y="26"/>
                  </a:lnTo>
                  <a:lnTo>
                    <a:pt x="11" y="26"/>
                  </a:lnTo>
                  <a:lnTo>
                    <a:pt x="16" y="23"/>
                  </a:lnTo>
                  <a:lnTo>
                    <a:pt x="29" y="23"/>
                  </a:lnTo>
                  <a:lnTo>
                    <a:pt x="45" y="23"/>
                  </a:lnTo>
                  <a:lnTo>
                    <a:pt x="49" y="22"/>
                  </a:lnTo>
                  <a:lnTo>
                    <a:pt x="46" y="12"/>
                  </a:lnTo>
                  <a:lnTo>
                    <a:pt x="58" y="3"/>
                  </a:lnTo>
                  <a:lnTo>
                    <a:pt x="65" y="6"/>
                  </a:lnTo>
                  <a:lnTo>
                    <a:pt x="74" y="0"/>
                  </a:lnTo>
                  <a:lnTo>
                    <a:pt x="96" y="3"/>
                  </a:lnTo>
                  <a:lnTo>
                    <a:pt x="106" y="16"/>
                  </a:lnTo>
                  <a:lnTo>
                    <a:pt x="100" y="22"/>
                  </a:lnTo>
                  <a:lnTo>
                    <a:pt x="98" y="23"/>
                  </a:lnTo>
                  <a:lnTo>
                    <a:pt x="94" y="35"/>
                  </a:lnTo>
                  <a:lnTo>
                    <a:pt x="93" y="36"/>
                  </a:lnTo>
                  <a:lnTo>
                    <a:pt x="65" y="42"/>
                  </a:lnTo>
                  <a:lnTo>
                    <a:pt x="59" y="42"/>
                  </a:lnTo>
                  <a:lnTo>
                    <a:pt x="36" y="3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0" name="Freeform 131">
              <a:extLst>
                <a:ext uri="{FF2B5EF4-FFF2-40B4-BE49-F238E27FC236}">
                  <a16:creationId xmlns:a16="http://schemas.microsoft.com/office/drawing/2014/main" id="{7FD6D709-DD18-EE50-B4EF-F8C41B3A47F1}"/>
                </a:ext>
              </a:extLst>
            </p:cNvPr>
            <p:cNvSpPr>
              <a:spLocks/>
            </p:cNvSpPr>
            <p:nvPr/>
          </p:nvSpPr>
          <p:spPr bwMode="auto">
            <a:xfrm>
              <a:off x="4731052" y="2355600"/>
              <a:ext cx="108743" cy="94155"/>
            </a:xfrm>
            <a:custGeom>
              <a:avLst/>
              <a:gdLst>
                <a:gd name="T0" fmla="*/ 21090 w 56"/>
                <a:gd name="T1" fmla="*/ 317509 h 48"/>
                <a:gd name="T2" fmla="*/ 21090 w 56"/>
                <a:gd name="T3" fmla="*/ 449804 h 48"/>
                <a:gd name="T4" fmla="*/ 21090 w 56"/>
                <a:gd name="T5" fmla="*/ 576953 h 48"/>
                <a:gd name="T6" fmla="*/ 19580 w 56"/>
                <a:gd name="T7" fmla="*/ 695005 h 48"/>
                <a:gd name="T8" fmla="*/ 19580 w 56"/>
                <a:gd name="T9" fmla="*/ 817350 h 48"/>
                <a:gd name="T10" fmla="*/ 21090 w 56"/>
                <a:gd name="T11" fmla="*/ 822527 h 48"/>
                <a:gd name="T12" fmla="*/ 23176 w 56"/>
                <a:gd name="T13" fmla="*/ 1073673 h 48"/>
                <a:gd name="T14" fmla="*/ 21113 w 56"/>
                <a:gd name="T15" fmla="*/ 1157912 h 48"/>
                <a:gd name="T16" fmla="*/ 22604 w 56"/>
                <a:gd name="T17" fmla="*/ 1278869 h 48"/>
                <a:gd name="T18" fmla="*/ 22604 w 56"/>
                <a:gd name="T19" fmla="*/ 1455322 h 48"/>
                <a:gd name="T20" fmla="*/ 19580 w 56"/>
                <a:gd name="T21" fmla="*/ 1567845 h 48"/>
                <a:gd name="T22" fmla="*/ 21090 w 56"/>
                <a:gd name="T23" fmla="*/ 1742091 h 48"/>
                <a:gd name="T24" fmla="*/ 20355 w 56"/>
                <a:gd name="T25" fmla="*/ 1745229 h 48"/>
                <a:gd name="T26" fmla="*/ 19086 w 56"/>
                <a:gd name="T27" fmla="*/ 1742091 h 48"/>
                <a:gd name="T28" fmla="*/ 17387 w 56"/>
                <a:gd name="T29" fmla="*/ 1900015 h 48"/>
                <a:gd name="T30" fmla="*/ 16763 w 56"/>
                <a:gd name="T31" fmla="*/ 1989976 h 48"/>
                <a:gd name="T32" fmla="*/ 18615 w 56"/>
                <a:gd name="T33" fmla="*/ 2236180 h 48"/>
                <a:gd name="T34" fmla="*/ 17368 w 56"/>
                <a:gd name="T35" fmla="*/ 2338587 h 48"/>
                <a:gd name="T36" fmla="*/ 15718 w 56"/>
                <a:gd name="T37" fmla="*/ 2236180 h 48"/>
                <a:gd name="T38" fmla="*/ 13805 w 56"/>
                <a:gd name="T39" fmla="*/ 2099599 h 48"/>
                <a:gd name="T40" fmla="*/ 12167 w 56"/>
                <a:gd name="T41" fmla="*/ 1989976 h 48"/>
                <a:gd name="T42" fmla="*/ 12167 w 56"/>
                <a:gd name="T43" fmla="*/ 1900015 h 48"/>
                <a:gd name="T44" fmla="*/ 9711 w 56"/>
                <a:gd name="T45" fmla="*/ 1742091 h 48"/>
                <a:gd name="T46" fmla="*/ 9477 w 56"/>
                <a:gd name="T47" fmla="*/ 1567845 h 48"/>
                <a:gd name="T48" fmla="*/ 7997 w 56"/>
                <a:gd name="T49" fmla="*/ 1455322 h 48"/>
                <a:gd name="T50" fmla="*/ 3546 w 56"/>
                <a:gd name="T51" fmla="*/ 984590 h 48"/>
                <a:gd name="T52" fmla="*/ 3546 w 56"/>
                <a:gd name="T53" fmla="*/ 925350 h 48"/>
                <a:gd name="T54" fmla="*/ 2435 w 56"/>
                <a:gd name="T55" fmla="*/ 925350 h 48"/>
                <a:gd name="T56" fmla="*/ 1651 w 56"/>
                <a:gd name="T57" fmla="*/ 490592 h 48"/>
                <a:gd name="T58" fmla="*/ 0 w 56"/>
                <a:gd name="T59" fmla="*/ 449804 h 48"/>
                <a:gd name="T60" fmla="*/ 0 w 56"/>
                <a:gd name="T61" fmla="*/ 1 h 48"/>
                <a:gd name="T62" fmla="*/ 1360 w 56"/>
                <a:gd name="T63" fmla="*/ 0 h 48"/>
                <a:gd name="T64" fmla="*/ 2957 w 56"/>
                <a:gd name="T65" fmla="*/ 224124 h 48"/>
                <a:gd name="T66" fmla="*/ 4306 w 56"/>
                <a:gd name="T67" fmla="*/ 0 h 48"/>
                <a:gd name="T68" fmla="*/ 6428 w 56"/>
                <a:gd name="T69" fmla="*/ 0 h 48"/>
                <a:gd name="T70" fmla="*/ 7805 w 56"/>
                <a:gd name="T71" fmla="*/ 1 h 48"/>
                <a:gd name="T72" fmla="*/ 11792 w 56"/>
                <a:gd name="T73" fmla="*/ 158205 h 48"/>
                <a:gd name="T74" fmla="*/ 12167 w 56"/>
                <a:gd name="T75" fmla="*/ 1 h 48"/>
                <a:gd name="T76" fmla="*/ 13805 w 56"/>
                <a:gd name="T77" fmla="*/ 158205 h 48"/>
                <a:gd name="T78" fmla="*/ 14319 w 56"/>
                <a:gd name="T79" fmla="*/ 1 h 48"/>
                <a:gd name="T80" fmla="*/ 15718 w 56"/>
                <a:gd name="T81" fmla="*/ 158205 h 48"/>
                <a:gd name="T82" fmla="*/ 16763 w 56"/>
                <a:gd name="T83" fmla="*/ 158205 h 48"/>
                <a:gd name="T84" fmla="*/ 17387 w 56"/>
                <a:gd name="T85" fmla="*/ 317509 h 48"/>
                <a:gd name="T86" fmla="*/ 19086 w 56"/>
                <a:gd name="T87" fmla="*/ 317509 h 48"/>
                <a:gd name="T88" fmla="*/ 21090 w 56"/>
                <a:gd name="T89" fmla="*/ 317509 h 4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6"/>
                <a:gd name="T136" fmla="*/ 0 h 48"/>
                <a:gd name="T137" fmla="*/ 56 w 56"/>
                <a:gd name="T138" fmla="*/ 48 h 4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6" h="48">
                  <a:moveTo>
                    <a:pt x="51" y="6"/>
                  </a:moveTo>
                  <a:lnTo>
                    <a:pt x="51" y="9"/>
                  </a:lnTo>
                  <a:lnTo>
                    <a:pt x="51" y="11"/>
                  </a:lnTo>
                  <a:lnTo>
                    <a:pt x="48" y="14"/>
                  </a:lnTo>
                  <a:lnTo>
                    <a:pt x="48" y="16"/>
                  </a:lnTo>
                  <a:lnTo>
                    <a:pt x="51" y="17"/>
                  </a:lnTo>
                  <a:lnTo>
                    <a:pt x="56" y="22"/>
                  </a:lnTo>
                  <a:lnTo>
                    <a:pt x="52" y="23"/>
                  </a:lnTo>
                  <a:lnTo>
                    <a:pt x="55" y="26"/>
                  </a:lnTo>
                  <a:lnTo>
                    <a:pt x="55" y="30"/>
                  </a:lnTo>
                  <a:lnTo>
                    <a:pt x="48" y="32"/>
                  </a:lnTo>
                  <a:lnTo>
                    <a:pt x="51" y="35"/>
                  </a:lnTo>
                  <a:lnTo>
                    <a:pt x="49" y="36"/>
                  </a:lnTo>
                  <a:lnTo>
                    <a:pt x="46" y="35"/>
                  </a:lnTo>
                  <a:lnTo>
                    <a:pt x="43" y="39"/>
                  </a:lnTo>
                  <a:lnTo>
                    <a:pt x="40" y="41"/>
                  </a:lnTo>
                  <a:lnTo>
                    <a:pt x="45" y="46"/>
                  </a:lnTo>
                  <a:lnTo>
                    <a:pt x="42" y="48"/>
                  </a:lnTo>
                  <a:lnTo>
                    <a:pt x="38" y="46"/>
                  </a:lnTo>
                  <a:lnTo>
                    <a:pt x="33" y="43"/>
                  </a:lnTo>
                  <a:lnTo>
                    <a:pt x="30" y="41"/>
                  </a:lnTo>
                  <a:lnTo>
                    <a:pt x="30" y="39"/>
                  </a:lnTo>
                  <a:lnTo>
                    <a:pt x="24" y="35"/>
                  </a:lnTo>
                  <a:lnTo>
                    <a:pt x="23" y="32"/>
                  </a:lnTo>
                  <a:lnTo>
                    <a:pt x="20" y="30"/>
                  </a:lnTo>
                  <a:lnTo>
                    <a:pt x="8" y="20"/>
                  </a:lnTo>
                  <a:lnTo>
                    <a:pt x="8" y="19"/>
                  </a:lnTo>
                  <a:lnTo>
                    <a:pt x="6" y="19"/>
                  </a:lnTo>
                  <a:lnTo>
                    <a:pt x="4" y="10"/>
                  </a:lnTo>
                  <a:lnTo>
                    <a:pt x="0" y="9"/>
                  </a:lnTo>
                  <a:lnTo>
                    <a:pt x="0" y="1"/>
                  </a:lnTo>
                  <a:lnTo>
                    <a:pt x="3" y="0"/>
                  </a:lnTo>
                  <a:lnTo>
                    <a:pt x="7" y="4"/>
                  </a:lnTo>
                  <a:lnTo>
                    <a:pt x="10" y="0"/>
                  </a:lnTo>
                  <a:lnTo>
                    <a:pt x="16" y="0"/>
                  </a:lnTo>
                  <a:lnTo>
                    <a:pt x="19" y="1"/>
                  </a:lnTo>
                  <a:lnTo>
                    <a:pt x="29" y="3"/>
                  </a:lnTo>
                  <a:lnTo>
                    <a:pt x="30" y="1"/>
                  </a:lnTo>
                  <a:lnTo>
                    <a:pt x="33" y="3"/>
                  </a:lnTo>
                  <a:lnTo>
                    <a:pt x="35" y="1"/>
                  </a:lnTo>
                  <a:lnTo>
                    <a:pt x="38" y="3"/>
                  </a:lnTo>
                  <a:lnTo>
                    <a:pt x="40" y="3"/>
                  </a:lnTo>
                  <a:lnTo>
                    <a:pt x="43" y="6"/>
                  </a:lnTo>
                  <a:lnTo>
                    <a:pt x="46" y="6"/>
                  </a:lnTo>
                  <a:lnTo>
                    <a:pt x="51" y="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1" name="Freeform 132">
              <a:extLst>
                <a:ext uri="{FF2B5EF4-FFF2-40B4-BE49-F238E27FC236}">
                  <a16:creationId xmlns:a16="http://schemas.microsoft.com/office/drawing/2014/main" id="{CF20C002-EAD0-D8FB-A3E9-C3288AF6B8C2}"/>
                </a:ext>
              </a:extLst>
            </p:cNvPr>
            <p:cNvSpPr>
              <a:spLocks/>
            </p:cNvSpPr>
            <p:nvPr/>
          </p:nvSpPr>
          <p:spPr bwMode="auto">
            <a:xfrm>
              <a:off x="4671883" y="2307004"/>
              <a:ext cx="158318" cy="130601"/>
            </a:xfrm>
            <a:custGeom>
              <a:avLst/>
              <a:gdLst>
                <a:gd name="T0" fmla="*/ 18258 w 83"/>
                <a:gd name="T1" fmla="*/ 3103692 h 64"/>
                <a:gd name="T2" fmla="*/ 19602 w 83"/>
                <a:gd name="T3" fmla="*/ 2601019 h 64"/>
                <a:gd name="T4" fmla="*/ 18258 w 83"/>
                <a:gd name="T5" fmla="*/ 2267613 h 64"/>
                <a:gd name="T6" fmla="*/ 18669 w 83"/>
                <a:gd name="T7" fmla="*/ 1931943 h 64"/>
                <a:gd name="T8" fmla="*/ 17386 w 83"/>
                <a:gd name="T9" fmla="*/ 1158980 h 64"/>
                <a:gd name="T10" fmla="*/ 9289 w 83"/>
                <a:gd name="T11" fmla="*/ 0 h 64"/>
                <a:gd name="T12" fmla="*/ 8608 w 83"/>
                <a:gd name="T13" fmla="*/ 1 h 64"/>
                <a:gd name="T14" fmla="*/ 7526 w 83"/>
                <a:gd name="T15" fmla="*/ 322945 h 64"/>
                <a:gd name="T16" fmla="*/ 6051 w 83"/>
                <a:gd name="T17" fmla="*/ 535834 h 64"/>
                <a:gd name="T18" fmla="*/ 6529 w 83"/>
                <a:gd name="T19" fmla="*/ 1131452 h 64"/>
                <a:gd name="T20" fmla="*/ 6051 w 83"/>
                <a:gd name="T21" fmla="*/ 1439924 h 64"/>
                <a:gd name="T22" fmla="*/ 5073 w 83"/>
                <a:gd name="T23" fmla="*/ 1823583 h 64"/>
                <a:gd name="T24" fmla="*/ 5061 w 83"/>
                <a:gd name="T25" fmla="*/ 2135874 h 64"/>
                <a:gd name="T26" fmla="*/ 3718 w 83"/>
                <a:gd name="T27" fmla="*/ 1931943 h 64"/>
                <a:gd name="T28" fmla="*/ 3117 w 83"/>
                <a:gd name="T29" fmla="*/ 1684143 h 64"/>
                <a:gd name="T30" fmla="*/ 1215 w 83"/>
                <a:gd name="T31" fmla="*/ 1931943 h 64"/>
                <a:gd name="T32" fmla="*/ 854 w 83"/>
                <a:gd name="T33" fmla="*/ 2447270 h 64"/>
                <a:gd name="T34" fmla="*/ 2458 w 83"/>
                <a:gd name="T35" fmla="*/ 2601019 h 64"/>
                <a:gd name="T36" fmla="*/ 6037 w 83"/>
                <a:gd name="T37" fmla="*/ 4943036 h 64"/>
                <a:gd name="T38" fmla="*/ 13521 w 83"/>
                <a:gd name="T39" fmla="*/ 6872258 h 64"/>
                <a:gd name="T40" fmla="*/ 14576 w 83"/>
                <a:gd name="T41" fmla="*/ 6872258 h 64"/>
                <a:gd name="T42" fmla="*/ 13122 w 83"/>
                <a:gd name="T43" fmla="*/ 6192614 h 64"/>
                <a:gd name="T44" fmla="*/ 12220 w 83"/>
                <a:gd name="T45" fmla="*/ 5708202 h 64"/>
                <a:gd name="T46" fmla="*/ 9289 w 83"/>
                <a:gd name="T47" fmla="*/ 4510052 h 64"/>
                <a:gd name="T48" fmla="*/ 8442 w 83"/>
                <a:gd name="T49" fmla="*/ 3556189 h 64"/>
                <a:gd name="T50" fmla="*/ 7217 w 83"/>
                <a:gd name="T51" fmla="*/ 2601019 h 64"/>
                <a:gd name="T52" fmla="*/ 8977 w 83"/>
                <a:gd name="T53" fmla="*/ 2923042 h 64"/>
                <a:gd name="T54" fmla="*/ 11080 w 83"/>
                <a:gd name="T55" fmla="*/ 2447270 h 64"/>
                <a:gd name="T56" fmla="*/ 14325 w 83"/>
                <a:gd name="T57" fmla="*/ 2807354 h 64"/>
                <a:gd name="T58" fmla="*/ 15234 w 83"/>
                <a:gd name="T59" fmla="*/ 2807354 h 64"/>
                <a:gd name="T60" fmla="*/ 16353 w 83"/>
                <a:gd name="T61" fmla="*/ 2807354 h 64"/>
                <a:gd name="T62" fmla="*/ 17423 w 83"/>
                <a:gd name="T63" fmla="*/ 3103692 h 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
                <a:gd name="T97" fmla="*/ 0 h 64"/>
                <a:gd name="T98" fmla="*/ 83 w 83"/>
                <a:gd name="T99" fmla="*/ 64 h 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 h="64">
                  <a:moveTo>
                    <a:pt x="74" y="29"/>
                  </a:moveTo>
                  <a:lnTo>
                    <a:pt x="77" y="29"/>
                  </a:lnTo>
                  <a:lnTo>
                    <a:pt x="79" y="24"/>
                  </a:lnTo>
                  <a:lnTo>
                    <a:pt x="83" y="24"/>
                  </a:lnTo>
                  <a:lnTo>
                    <a:pt x="83" y="23"/>
                  </a:lnTo>
                  <a:lnTo>
                    <a:pt x="77" y="21"/>
                  </a:lnTo>
                  <a:lnTo>
                    <a:pt x="76" y="20"/>
                  </a:lnTo>
                  <a:lnTo>
                    <a:pt x="79" y="18"/>
                  </a:lnTo>
                  <a:lnTo>
                    <a:pt x="76" y="18"/>
                  </a:lnTo>
                  <a:lnTo>
                    <a:pt x="73" y="11"/>
                  </a:lnTo>
                  <a:lnTo>
                    <a:pt x="51" y="10"/>
                  </a:lnTo>
                  <a:lnTo>
                    <a:pt x="39" y="0"/>
                  </a:lnTo>
                  <a:lnTo>
                    <a:pt x="38" y="1"/>
                  </a:lnTo>
                  <a:lnTo>
                    <a:pt x="37" y="1"/>
                  </a:lnTo>
                  <a:lnTo>
                    <a:pt x="37" y="3"/>
                  </a:lnTo>
                  <a:lnTo>
                    <a:pt x="32" y="3"/>
                  </a:lnTo>
                  <a:lnTo>
                    <a:pt x="31" y="4"/>
                  </a:lnTo>
                  <a:lnTo>
                    <a:pt x="26" y="5"/>
                  </a:lnTo>
                  <a:lnTo>
                    <a:pt x="28" y="8"/>
                  </a:lnTo>
                  <a:lnTo>
                    <a:pt x="28" y="10"/>
                  </a:lnTo>
                  <a:lnTo>
                    <a:pt x="29" y="13"/>
                  </a:lnTo>
                  <a:lnTo>
                    <a:pt x="26" y="13"/>
                  </a:lnTo>
                  <a:lnTo>
                    <a:pt x="22" y="14"/>
                  </a:lnTo>
                  <a:lnTo>
                    <a:pt x="22" y="17"/>
                  </a:lnTo>
                  <a:lnTo>
                    <a:pt x="23" y="18"/>
                  </a:lnTo>
                  <a:lnTo>
                    <a:pt x="21" y="20"/>
                  </a:lnTo>
                  <a:lnTo>
                    <a:pt x="18" y="17"/>
                  </a:lnTo>
                  <a:lnTo>
                    <a:pt x="16" y="18"/>
                  </a:lnTo>
                  <a:lnTo>
                    <a:pt x="15" y="17"/>
                  </a:lnTo>
                  <a:lnTo>
                    <a:pt x="13" y="16"/>
                  </a:lnTo>
                  <a:lnTo>
                    <a:pt x="10" y="20"/>
                  </a:lnTo>
                  <a:lnTo>
                    <a:pt x="5" y="18"/>
                  </a:lnTo>
                  <a:lnTo>
                    <a:pt x="0" y="17"/>
                  </a:lnTo>
                  <a:lnTo>
                    <a:pt x="3" y="23"/>
                  </a:lnTo>
                  <a:lnTo>
                    <a:pt x="7" y="29"/>
                  </a:lnTo>
                  <a:lnTo>
                    <a:pt x="10" y="24"/>
                  </a:lnTo>
                  <a:lnTo>
                    <a:pt x="22" y="42"/>
                  </a:lnTo>
                  <a:lnTo>
                    <a:pt x="25" y="46"/>
                  </a:lnTo>
                  <a:lnTo>
                    <a:pt x="39" y="55"/>
                  </a:lnTo>
                  <a:lnTo>
                    <a:pt x="57" y="64"/>
                  </a:lnTo>
                  <a:lnTo>
                    <a:pt x="60" y="64"/>
                  </a:lnTo>
                  <a:lnTo>
                    <a:pt x="61" y="64"/>
                  </a:lnTo>
                  <a:lnTo>
                    <a:pt x="61" y="62"/>
                  </a:lnTo>
                  <a:lnTo>
                    <a:pt x="55" y="58"/>
                  </a:lnTo>
                  <a:lnTo>
                    <a:pt x="54" y="55"/>
                  </a:lnTo>
                  <a:lnTo>
                    <a:pt x="51" y="53"/>
                  </a:lnTo>
                  <a:lnTo>
                    <a:pt x="39" y="43"/>
                  </a:lnTo>
                  <a:lnTo>
                    <a:pt x="39" y="42"/>
                  </a:lnTo>
                  <a:lnTo>
                    <a:pt x="37" y="42"/>
                  </a:lnTo>
                  <a:lnTo>
                    <a:pt x="35" y="33"/>
                  </a:lnTo>
                  <a:lnTo>
                    <a:pt x="31" y="32"/>
                  </a:lnTo>
                  <a:lnTo>
                    <a:pt x="31" y="24"/>
                  </a:lnTo>
                  <a:lnTo>
                    <a:pt x="34" y="23"/>
                  </a:lnTo>
                  <a:lnTo>
                    <a:pt x="38" y="27"/>
                  </a:lnTo>
                  <a:lnTo>
                    <a:pt x="41" y="23"/>
                  </a:lnTo>
                  <a:lnTo>
                    <a:pt x="47" y="23"/>
                  </a:lnTo>
                  <a:lnTo>
                    <a:pt x="50" y="24"/>
                  </a:lnTo>
                  <a:lnTo>
                    <a:pt x="60" y="26"/>
                  </a:lnTo>
                  <a:lnTo>
                    <a:pt x="61" y="24"/>
                  </a:lnTo>
                  <a:lnTo>
                    <a:pt x="64" y="26"/>
                  </a:lnTo>
                  <a:lnTo>
                    <a:pt x="66" y="24"/>
                  </a:lnTo>
                  <a:lnTo>
                    <a:pt x="69" y="26"/>
                  </a:lnTo>
                  <a:lnTo>
                    <a:pt x="71" y="26"/>
                  </a:lnTo>
                  <a:lnTo>
                    <a:pt x="74" y="2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2" name="Freeform 133">
              <a:extLst>
                <a:ext uri="{FF2B5EF4-FFF2-40B4-BE49-F238E27FC236}">
                  <a16:creationId xmlns:a16="http://schemas.microsoft.com/office/drawing/2014/main" id="{65213158-4FE9-567C-6D53-EAAD801BD8D1}"/>
                </a:ext>
              </a:extLst>
            </p:cNvPr>
            <p:cNvSpPr>
              <a:spLocks/>
            </p:cNvSpPr>
            <p:nvPr/>
          </p:nvSpPr>
          <p:spPr bwMode="auto">
            <a:xfrm>
              <a:off x="4767833" y="2437605"/>
              <a:ext cx="44776" cy="15186"/>
            </a:xfrm>
            <a:custGeom>
              <a:avLst/>
              <a:gdLst>
                <a:gd name="T0" fmla="*/ 9406 w 23"/>
                <a:gd name="T1" fmla="*/ 158097 h 8"/>
                <a:gd name="T2" fmla="*/ 10135 w 23"/>
                <a:gd name="T3" fmla="*/ 138869 h 8"/>
                <a:gd name="T4" fmla="*/ 8325 w 23"/>
                <a:gd name="T5" fmla="*/ 100996 h 8"/>
                <a:gd name="T6" fmla="*/ 6346 w 23"/>
                <a:gd name="T7" fmla="*/ 44230 h 8"/>
                <a:gd name="T8" fmla="*/ 4614 w 23"/>
                <a:gd name="T9" fmla="*/ 0 h 8"/>
                <a:gd name="T10" fmla="*/ 4504 w 23"/>
                <a:gd name="T11" fmla="*/ 1 h 8"/>
                <a:gd name="T12" fmla="*/ 0 w 23"/>
                <a:gd name="T13" fmla="*/ 0 h 8"/>
                <a:gd name="T14" fmla="*/ 9406 w 23"/>
                <a:gd name="T15" fmla="*/ 158097 h 8"/>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8"/>
                <a:gd name="T26" fmla="*/ 23 w 2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8">
                  <a:moveTo>
                    <a:pt x="21" y="8"/>
                  </a:moveTo>
                  <a:lnTo>
                    <a:pt x="23" y="7"/>
                  </a:lnTo>
                  <a:lnTo>
                    <a:pt x="19" y="5"/>
                  </a:lnTo>
                  <a:lnTo>
                    <a:pt x="14" y="2"/>
                  </a:lnTo>
                  <a:lnTo>
                    <a:pt x="11" y="0"/>
                  </a:lnTo>
                  <a:lnTo>
                    <a:pt x="10" y="1"/>
                  </a:lnTo>
                  <a:lnTo>
                    <a:pt x="0" y="0"/>
                  </a:lnTo>
                  <a:lnTo>
                    <a:pt x="21" y="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3" name="Freeform 134">
              <a:extLst>
                <a:ext uri="{FF2B5EF4-FFF2-40B4-BE49-F238E27FC236}">
                  <a16:creationId xmlns:a16="http://schemas.microsoft.com/office/drawing/2014/main" id="{AF7AC1E4-76D3-C37C-F4A0-88A0706F592B}"/>
                </a:ext>
              </a:extLst>
            </p:cNvPr>
            <p:cNvSpPr>
              <a:spLocks/>
            </p:cNvSpPr>
            <p:nvPr/>
          </p:nvSpPr>
          <p:spPr bwMode="auto">
            <a:xfrm>
              <a:off x="4172945" y="2149068"/>
              <a:ext cx="343820" cy="303724"/>
            </a:xfrm>
            <a:custGeom>
              <a:avLst/>
              <a:gdLst>
                <a:gd name="T0" fmla="*/ 51284 w 179"/>
                <a:gd name="T1" fmla="*/ 9222137 h 151"/>
                <a:gd name="T2" fmla="*/ 51284 w 179"/>
                <a:gd name="T3" fmla="*/ 9736119 h 151"/>
                <a:gd name="T4" fmla="*/ 50629 w 179"/>
                <a:gd name="T5" fmla="*/ 9736119 h 151"/>
                <a:gd name="T6" fmla="*/ 50629 w 179"/>
                <a:gd name="T7" fmla="*/ 9810560 h 151"/>
                <a:gd name="T8" fmla="*/ 46463 w 179"/>
                <a:gd name="T9" fmla="*/ 10785381 h 151"/>
                <a:gd name="T10" fmla="*/ 41209 w 179"/>
                <a:gd name="T11" fmla="*/ 10216876 h 151"/>
                <a:gd name="T12" fmla="*/ 39675 w 179"/>
                <a:gd name="T13" fmla="*/ 10055773 h 151"/>
                <a:gd name="T14" fmla="*/ 38683 w 179"/>
                <a:gd name="T15" fmla="*/ 10216876 h 151"/>
                <a:gd name="T16" fmla="*/ 35290 w 179"/>
                <a:gd name="T17" fmla="*/ 10216876 h 151"/>
                <a:gd name="T18" fmla="*/ 33032 w 179"/>
                <a:gd name="T19" fmla="*/ 10785381 h 151"/>
                <a:gd name="T20" fmla="*/ 33099 w 179"/>
                <a:gd name="T21" fmla="*/ 11498342 h 151"/>
                <a:gd name="T22" fmla="*/ 27037 w 179"/>
                <a:gd name="T23" fmla="*/ 11498342 h 151"/>
                <a:gd name="T24" fmla="*/ 27501 w 179"/>
                <a:gd name="T25" fmla="*/ 11289367 h 151"/>
                <a:gd name="T26" fmla="*/ 26212 w 179"/>
                <a:gd name="T27" fmla="*/ 11289367 h 151"/>
                <a:gd name="T28" fmla="*/ 14542 w 179"/>
                <a:gd name="T29" fmla="*/ 10656199 h 151"/>
                <a:gd name="T30" fmla="*/ 12107 w 179"/>
                <a:gd name="T31" fmla="*/ 10291541 h 151"/>
                <a:gd name="T32" fmla="*/ 13450 w 179"/>
                <a:gd name="T33" fmla="*/ 9697617 h 151"/>
                <a:gd name="T34" fmla="*/ 14542 w 179"/>
                <a:gd name="T35" fmla="*/ 8511372 h 151"/>
                <a:gd name="T36" fmla="*/ 14925 w 179"/>
                <a:gd name="T37" fmla="*/ 7362991 h 151"/>
                <a:gd name="T38" fmla="*/ 16955 w 179"/>
                <a:gd name="T39" fmla="*/ 8042727 h 151"/>
                <a:gd name="T40" fmla="*/ 14925 w 179"/>
                <a:gd name="T41" fmla="*/ 6997339 h 151"/>
                <a:gd name="T42" fmla="*/ 14925 w 179"/>
                <a:gd name="T43" fmla="*/ 6651185 h 151"/>
                <a:gd name="T44" fmla="*/ 12990 w 179"/>
                <a:gd name="T45" fmla="*/ 6260476 h 151"/>
                <a:gd name="T46" fmla="*/ 11196 w 179"/>
                <a:gd name="T47" fmla="*/ 5346419 h 151"/>
                <a:gd name="T48" fmla="*/ 11198 w 179"/>
                <a:gd name="T49" fmla="*/ 5093880 h 151"/>
                <a:gd name="T50" fmla="*/ 9321 w 179"/>
                <a:gd name="T51" fmla="*/ 4869117 h 151"/>
                <a:gd name="T52" fmla="*/ 6984 w 179"/>
                <a:gd name="T53" fmla="*/ 4646852 h 151"/>
                <a:gd name="T54" fmla="*/ 3357 w 179"/>
                <a:gd name="T55" fmla="*/ 4356368 h 151"/>
                <a:gd name="T56" fmla="*/ 1343 w 179"/>
                <a:gd name="T57" fmla="*/ 4121301 h 151"/>
                <a:gd name="T58" fmla="*/ 1613 w 179"/>
                <a:gd name="T59" fmla="*/ 3803837 h 151"/>
                <a:gd name="T60" fmla="*/ 1937 w 179"/>
                <a:gd name="T61" fmla="*/ 3641809 h 151"/>
                <a:gd name="T62" fmla="*/ 0 w 179"/>
                <a:gd name="T63" fmla="*/ 3641809 h 151"/>
                <a:gd name="T64" fmla="*/ 5196 w 179"/>
                <a:gd name="T65" fmla="*/ 3125941 h 151"/>
                <a:gd name="T66" fmla="*/ 8389 w 179"/>
                <a:gd name="T67" fmla="*/ 3183617 h 151"/>
                <a:gd name="T68" fmla="*/ 13240 w 179"/>
                <a:gd name="T69" fmla="*/ 3183617 h 151"/>
                <a:gd name="T70" fmla="*/ 12107 w 179"/>
                <a:gd name="T71" fmla="*/ 1954369 h 151"/>
                <a:gd name="T72" fmla="*/ 13450 w 179"/>
                <a:gd name="T73" fmla="*/ 1927572 h 151"/>
                <a:gd name="T74" fmla="*/ 14925 w 179"/>
                <a:gd name="T75" fmla="*/ 2215328 h 151"/>
                <a:gd name="T76" fmla="*/ 21532 w 179"/>
                <a:gd name="T77" fmla="*/ 2109401 h 151"/>
                <a:gd name="T78" fmla="*/ 19941 w 179"/>
                <a:gd name="T79" fmla="*/ 2109401 h 151"/>
                <a:gd name="T80" fmla="*/ 25269 w 179"/>
                <a:gd name="T81" fmla="*/ 1359953 h 151"/>
                <a:gd name="T82" fmla="*/ 26212 w 179"/>
                <a:gd name="T83" fmla="*/ 481362 h 151"/>
                <a:gd name="T84" fmla="*/ 30253 w 179"/>
                <a:gd name="T85" fmla="*/ 0 h 151"/>
                <a:gd name="T86" fmla="*/ 31636 w 179"/>
                <a:gd name="T87" fmla="*/ 481362 h 151"/>
                <a:gd name="T88" fmla="*/ 36455 w 179"/>
                <a:gd name="T89" fmla="*/ 1359953 h 151"/>
                <a:gd name="T90" fmla="*/ 38448 w 179"/>
                <a:gd name="T91" fmla="*/ 1359953 h 151"/>
                <a:gd name="T92" fmla="*/ 38683 w 179"/>
                <a:gd name="T93" fmla="val 3435412"/>
                <a:gd name="T94" fmla="*/ 43225 w 179"/>
                <a:gd name="T95" fmla="*/ 1954369 h 151"/>
                <a:gd name="T96" fmla="*/ 45279 w 179"/>
                <a:gd name="T97" fmla="*/ 2109401 h 151"/>
                <a:gd name="T98" fmla="*/ 46181 w 179"/>
                <a:gd name="T99" fmla="*/ 2215328 h 151"/>
                <a:gd name="T100" fmla="*/ 52447 w 179"/>
                <a:gd name="T101" fmla="*/ 2770087 h 151"/>
                <a:gd name="T102" fmla="*/ 50629 w 179"/>
                <a:gd name="T103" fmla="*/ 4646852 h 151"/>
                <a:gd name="T104" fmla="*/ 49569 w 179"/>
                <a:gd name="T105" fmla="*/ 4869117 h 151"/>
                <a:gd name="T106" fmla="*/ 48507 w 179"/>
                <a:gd name="T107" fmla="*/ 5062779 h 151"/>
                <a:gd name="T108" fmla="*/ 44814 w 179"/>
                <a:gd name="T109" fmla="*/ 6417251 h 151"/>
                <a:gd name="T110" fmla="*/ 46463 w 179"/>
                <a:gd name="T111" fmla="*/ 6260476 h 151"/>
                <a:gd name="T112" fmla="*/ 48507 w 179"/>
                <a:gd name="T113" fmla="*/ 6826705 h 151"/>
                <a:gd name="T114" fmla="*/ 48507 w 179"/>
                <a:gd name="T115" fmla="*/ 7362991 h 151"/>
                <a:gd name="T116" fmla="*/ 48189 w 179"/>
                <a:gd name="T117" fmla="*/ 8001155 h 151"/>
                <a:gd name="T118" fmla="*/ 48189 w 179"/>
                <a:gd name="T119" fmla="*/ 8335610 h 151"/>
                <a:gd name="T120" fmla="*/ 48189 w 179"/>
                <a:gd name="T121" fmla="*/ 8756567 h 151"/>
                <a:gd name="T122" fmla="*/ 51284 w 179"/>
                <a:gd name="T123" fmla="*/ 9222137 h 1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9"/>
                <a:gd name="T187" fmla="*/ 0 h 151"/>
                <a:gd name="T188" fmla="*/ 179 w 179"/>
                <a:gd name="T189" fmla="*/ 151 h 15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9" h="151">
                  <a:moveTo>
                    <a:pt x="175" y="121"/>
                  </a:moveTo>
                  <a:lnTo>
                    <a:pt x="175" y="128"/>
                  </a:lnTo>
                  <a:lnTo>
                    <a:pt x="173" y="128"/>
                  </a:lnTo>
                  <a:lnTo>
                    <a:pt x="173" y="129"/>
                  </a:lnTo>
                  <a:lnTo>
                    <a:pt x="159" y="141"/>
                  </a:lnTo>
                  <a:lnTo>
                    <a:pt x="140" y="134"/>
                  </a:lnTo>
                  <a:lnTo>
                    <a:pt x="135" y="132"/>
                  </a:lnTo>
                  <a:lnTo>
                    <a:pt x="132" y="134"/>
                  </a:lnTo>
                  <a:lnTo>
                    <a:pt x="121" y="134"/>
                  </a:lnTo>
                  <a:lnTo>
                    <a:pt x="112" y="141"/>
                  </a:lnTo>
                  <a:lnTo>
                    <a:pt x="113" y="151"/>
                  </a:lnTo>
                  <a:lnTo>
                    <a:pt x="92" y="151"/>
                  </a:lnTo>
                  <a:lnTo>
                    <a:pt x="93" y="148"/>
                  </a:lnTo>
                  <a:lnTo>
                    <a:pt x="89" y="148"/>
                  </a:lnTo>
                  <a:lnTo>
                    <a:pt x="50" y="140"/>
                  </a:lnTo>
                  <a:lnTo>
                    <a:pt x="42" y="135"/>
                  </a:lnTo>
                  <a:lnTo>
                    <a:pt x="47" y="127"/>
                  </a:lnTo>
                  <a:lnTo>
                    <a:pt x="50" y="112"/>
                  </a:lnTo>
                  <a:lnTo>
                    <a:pt x="51" y="97"/>
                  </a:lnTo>
                  <a:lnTo>
                    <a:pt x="58" y="106"/>
                  </a:lnTo>
                  <a:lnTo>
                    <a:pt x="51" y="92"/>
                  </a:lnTo>
                  <a:lnTo>
                    <a:pt x="51" y="87"/>
                  </a:lnTo>
                  <a:lnTo>
                    <a:pt x="44" y="82"/>
                  </a:lnTo>
                  <a:lnTo>
                    <a:pt x="38" y="70"/>
                  </a:lnTo>
                  <a:lnTo>
                    <a:pt x="39" y="67"/>
                  </a:lnTo>
                  <a:lnTo>
                    <a:pt x="32" y="64"/>
                  </a:lnTo>
                  <a:lnTo>
                    <a:pt x="23" y="61"/>
                  </a:lnTo>
                  <a:lnTo>
                    <a:pt x="12" y="57"/>
                  </a:lnTo>
                  <a:lnTo>
                    <a:pt x="5" y="54"/>
                  </a:lnTo>
                  <a:lnTo>
                    <a:pt x="6" y="50"/>
                  </a:lnTo>
                  <a:lnTo>
                    <a:pt x="7" y="48"/>
                  </a:lnTo>
                  <a:lnTo>
                    <a:pt x="0" y="48"/>
                  </a:lnTo>
                  <a:lnTo>
                    <a:pt x="18" y="41"/>
                  </a:lnTo>
                  <a:lnTo>
                    <a:pt x="28" y="42"/>
                  </a:lnTo>
                  <a:lnTo>
                    <a:pt x="45" y="42"/>
                  </a:lnTo>
                  <a:lnTo>
                    <a:pt x="42" y="26"/>
                  </a:lnTo>
                  <a:lnTo>
                    <a:pt x="47" y="25"/>
                  </a:lnTo>
                  <a:lnTo>
                    <a:pt x="51" y="29"/>
                  </a:lnTo>
                  <a:lnTo>
                    <a:pt x="73" y="28"/>
                  </a:lnTo>
                  <a:lnTo>
                    <a:pt x="68" y="28"/>
                  </a:lnTo>
                  <a:lnTo>
                    <a:pt x="87" y="18"/>
                  </a:lnTo>
                  <a:lnTo>
                    <a:pt x="89" y="6"/>
                  </a:lnTo>
                  <a:lnTo>
                    <a:pt x="102" y="0"/>
                  </a:lnTo>
                  <a:lnTo>
                    <a:pt x="108" y="6"/>
                  </a:lnTo>
                  <a:lnTo>
                    <a:pt x="125" y="18"/>
                  </a:lnTo>
                  <a:lnTo>
                    <a:pt x="131" y="18"/>
                  </a:lnTo>
                  <a:lnTo>
                    <a:pt x="132" y="19"/>
                  </a:lnTo>
                  <a:lnTo>
                    <a:pt x="147" y="26"/>
                  </a:lnTo>
                  <a:lnTo>
                    <a:pt x="154" y="28"/>
                  </a:lnTo>
                  <a:lnTo>
                    <a:pt x="157" y="29"/>
                  </a:lnTo>
                  <a:lnTo>
                    <a:pt x="179" y="36"/>
                  </a:lnTo>
                  <a:lnTo>
                    <a:pt x="173" y="61"/>
                  </a:lnTo>
                  <a:lnTo>
                    <a:pt x="169" y="64"/>
                  </a:lnTo>
                  <a:lnTo>
                    <a:pt x="166" y="66"/>
                  </a:lnTo>
                  <a:lnTo>
                    <a:pt x="153" y="84"/>
                  </a:lnTo>
                  <a:lnTo>
                    <a:pt x="159" y="82"/>
                  </a:lnTo>
                  <a:lnTo>
                    <a:pt x="166" y="90"/>
                  </a:lnTo>
                  <a:lnTo>
                    <a:pt x="166" y="97"/>
                  </a:lnTo>
                  <a:lnTo>
                    <a:pt x="164" y="105"/>
                  </a:lnTo>
                  <a:lnTo>
                    <a:pt x="164" y="109"/>
                  </a:lnTo>
                  <a:lnTo>
                    <a:pt x="164" y="115"/>
                  </a:lnTo>
                  <a:lnTo>
                    <a:pt x="175" y="12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4" name="Freeform 135">
              <a:extLst>
                <a:ext uri="{FF2B5EF4-FFF2-40B4-BE49-F238E27FC236}">
                  <a16:creationId xmlns:a16="http://schemas.microsoft.com/office/drawing/2014/main" id="{26699575-CC87-7C23-6097-058EEA4DEE8D}"/>
                </a:ext>
              </a:extLst>
            </p:cNvPr>
            <p:cNvSpPr>
              <a:spLocks/>
            </p:cNvSpPr>
            <p:nvPr/>
          </p:nvSpPr>
          <p:spPr bwMode="auto">
            <a:xfrm>
              <a:off x="4542351" y="2439124"/>
              <a:ext cx="23987" cy="48596"/>
            </a:xfrm>
            <a:custGeom>
              <a:avLst/>
              <a:gdLst>
                <a:gd name="T0" fmla="*/ 760 w 13"/>
                <a:gd name="T1" fmla="*/ 853961 h 25"/>
                <a:gd name="T2" fmla="*/ 3 w 13"/>
                <a:gd name="T3" fmla="*/ 676796 h 25"/>
                <a:gd name="T4" fmla="*/ 0 w 13"/>
                <a:gd name="T5" fmla="*/ 345304 h 25"/>
                <a:gd name="T6" fmla="*/ 760 w 13"/>
                <a:gd name="T7" fmla="*/ 0 h 25"/>
                <a:gd name="T8" fmla="*/ 1101 w 13"/>
                <a:gd name="T9" fmla="*/ 424689 h 25"/>
                <a:gd name="T10" fmla="*/ 760 w 13"/>
                <a:gd name="T11" fmla="*/ 853961 h 25"/>
                <a:gd name="T12" fmla="*/ 0 60000 65536"/>
                <a:gd name="T13" fmla="*/ 0 60000 65536"/>
                <a:gd name="T14" fmla="*/ 0 60000 65536"/>
                <a:gd name="T15" fmla="*/ 0 60000 65536"/>
                <a:gd name="T16" fmla="*/ 0 60000 65536"/>
                <a:gd name="T17" fmla="*/ 0 60000 65536"/>
                <a:gd name="T18" fmla="*/ 0 w 13"/>
                <a:gd name="T19" fmla="*/ 0 h 25"/>
                <a:gd name="T20" fmla="*/ 13 w 1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3" h="25">
                  <a:moveTo>
                    <a:pt x="9" y="25"/>
                  </a:moveTo>
                  <a:lnTo>
                    <a:pt x="3" y="20"/>
                  </a:lnTo>
                  <a:lnTo>
                    <a:pt x="0" y="10"/>
                  </a:lnTo>
                  <a:lnTo>
                    <a:pt x="9" y="0"/>
                  </a:lnTo>
                  <a:lnTo>
                    <a:pt x="13" y="12"/>
                  </a:lnTo>
                  <a:lnTo>
                    <a:pt x="9" y="2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5" name="Freeform 136">
              <a:extLst>
                <a:ext uri="{FF2B5EF4-FFF2-40B4-BE49-F238E27FC236}">
                  <a16:creationId xmlns:a16="http://schemas.microsoft.com/office/drawing/2014/main" id="{11540C19-B551-84FA-32F2-10DC21F34899}"/>
                </a:ext>
              </a:extLst>
            </p:cNvPr>
            <p:cNvSpPr>
              <a:spLocks/>
            </p:cNvSpPr>
            <p:nvPr/>
          </p:nvSpPr>
          <p:spPr bwMode="auto">
            <a:xfrm>
              <a:off x="4737448" y="2243222"/>
              <a:ext cx="177506" cy="86561"/>
            </a:xfrm>
            <a:custGeom>
              <a:avLst/>
              <a:gdLst>
                <a:gd name="T0" fmla="*/ 9398 w 93"/>
                <a:gd name="T1" fmla="*/ 3614098 h 43"/>
                <a:gd name="T2" fmla="*/ 4223 w 93"/>
                <a:gd name="T3" fmla="*/ 3581423 h 43"/>
                <a:gd name="T4" fmla="*/ 1223 w 93"/>
                <a:gd name="T5" fmla="*/ 2682594 h 43"/>
                <a:gd name="T6" fmla="*/ 0 w 93"/>
                <a:gd name="T7" fmla="*/ 2483891 h 43"/>
                <a:gd name="T8" fmla="*/ 0 w 93"/>
                <a:gd name="T9" fmla="*/ 2293686 h 43"/>
                <a:gd name="T10" fmla="*/ 1 w 93"/>
                <a:gd name="T11" fmla="*/ 2150453 h 43"/>
                <a:gd name="T12" fmla="*/ 1223 w 93"/>
                <a:gd name="T13" fmla="*/ 1194775 h 43"/>
                <a:gd name="T14" fmla="*/ 1743 w 93"/>
                <a:gd name="T15" fmla="*/ 1103284 h 43"/>
                <a:gd name="T16" fmla="*/ 3149 w 93"/>
                <a:gd name="T17" fmla="*/ 574698 h 43"/>
                <a:gd name="T18" fmla="*/ 4223 w 93"/>
                <a:gd name="T19" fmla="*/ 703815 h 43"/>
                <a:gd name="T20" fmla="*/ 8568 w 93"/>
                <a:gd name="T21" fmla="*/ 703815 h 43"/>
                <a:gd name="T22" fmla="*/ 13388 w 93"/>
                <a:gd name="T23" fmla="*/ 0 h 43"/>
                <a:gd name="T24" fmla="*/ 19552 w 93"/>
                <a:gd name="T25" fmla="*/ 0 h 43"/>
                <a:gd name="T26" fmla="*/ 22465 w 93"/>
                <a:gd name="T27" fmla="*/ 703815 h 43"/>
                <a:gd name="T28" fmla="*/ 18822 w 93"/>
                <a:gd name="T29" fmla="*/ 1738415 h 43"/>
                <a:gd name="T30" fmla="*/ 15943 w 93"/>
                <a:gd name="T31" fmla="*/ 3100652 h 43"/>
                <a:gd name="T32" fmla="*/ 14136 w 93"/>
                <a:gd name="T33" fmla="*/ 3406292 h 43"/>
                <a:gd name="T34" fmla="*/ 9398 w 93"/>
                <a:gd name="T35" fmla="*/ 361409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3"/>
                <a:gd name="T55" fmla="*/ 0 h 43"/>
                <a:gd name="T56" fmla="*/ 93 w 9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3" h="43">
                  <a:moveTo>
                    <a:pt x="39" y="43"/>
                  </a:moveTo>
                  <a:lnTo>
                    <a:pt x="17" y="42"/>
                  </a:lnTo>
                  <a:lnTo>
                    <a:pt x="5" y="32"/>
                  </a:lnTo>
                  <a:lnTo>
                    <a:pt x="0" y="29"/>
                  </a:lnTo>
                  <a:lnTo>
                    <a:pt x="0" y="27"/>
                  </a:lnTo>
                  <a:lnTo>
                    <a:pt x="1" y="26"/>
                  </a:lnTo>
                  <a:lnTo>
                    <a:pt x="5" y="14"/>
                  </a:lnTo>
                  <a:lnTo>
                    <a:pt x="7" y="13"/>
                  </a:lnTo>
                  <a:lnTo>
                    <a:pt x="13" y="7"/>
                  </a:lnTo>
                  <a:lnTo>
                    <a:pt x="17" y="8"/>
                  </a:lnTo>
                  <a:lnTo>
                    <a:pt x="35" y="8"/>
                  </a:lnTo>
                  <a:lnTo>
                    <a:pt x="56" y="0"/>
                  </a:lnTo>
                  <a:lnTo>
                    <a:pt x="81" y="0"/>
                  </a:lnTo>
                  <a:lnTo>
                    <a:pt x="93" y="8"/>
                  </a:lnTo>
                  <a:lnTo>
                    <a:pt x="78" y="21"/>
                  </a:lnTo>
                  <a:lnTo>
                    <a:pt x="66" y="37"/>
                  </a:lnTo>
                  <a:lnTo>
                    <a:pt x="59" y="40"/>
                  </a:lnTo>
                  <a:lnTo>
                    <a:pt x="39" y="4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6" name="Freeform 137">
              <a:extLst>
                <a:ext uri="{FF2B5EF4-FFF2-40B4-BE49-F238E27FC236}">
                  <a16:creationId xmlns:a16="http://schemas.microsoft.com/office/drawing/2014/main" id="{91EFC50E-4C01-CB8B-562A-284C6F671942}"/>
                </a:ext>
              </a:extLst>
            </p:cNvPr>
            <p:cNvSpPr>
              <a:spLocks/>
            </p:cNvSpPr>
            <p:nvPr/>
          </p:nvSpPr>
          <p:spPr bwMode="auto">
            <a:xfrm>
              <a:off x="4651094" y="2478608"/>
              <a:ext cx="1599" cy="4555"/>
            </a:xfrm>
            <a:custGeom>
              <a:avLst/>
              <a:gdLst>
                <a:gd name="T0" fmla="*/ 0 w 1"/>
                <a:gd name="T1" fmla="*/ 2147483647 h 2"/>
                <a:gd name="T2" fmla="*/ 0 w 1"/>
                <a:gd name="T3" fmla="*/ 0 h 2"/>
                <a:gd name="T4" fmla="*/ 0 w 1"/>
                <a:gd name="T5" fmla="*/ 2147483647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lnTo>
                    <a:pt x="0" y="0"/>
                  </a:lnTo>
                  <a:lnTo>
                    <a:pt x="0"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7" name="Freeform 139">
              <a:extLst>
                <a:ext uri="{FF2B5EF4-FFF2-40B4-BE49-F238E27FC236}">
                  <a16:creationId xmlns:a16="http://schemas.microsoft.com/office/drawing/2014/main" id="{1B9DDE03-D4F1-53EF-15B7-48836200BD74}"/>
                </a:ext>
              </a:extLst>
            </p:cNvPr>
            <p:cNvSpPr>
              <a:spLocks/>
            </p:cNvSpPr>
            <p:nvPr/>
          </p:nvSpPr>
          <p:spPr bwMode="auto">
            <a:xfrm>
              <a:off x="5415492" y="1329014"/>
              <a:ext cx="263861" cy="103266"/>
            </a:xfrm>
            <a:custGeom>
              <a:avLst/>
              <a:gdLst>
                <a:gd name="T0" fmla="*/ 43792 w 137"/>
                <a:gd name="T1" fmla="*/ 215237 h 51"/>
                <a:gd name="T2" fmla="*/ 39999 w 137"/>
                <a:gd name="T3" fmla="*/ 749279 h 51"/>
                <a:gd name="T4" fmla="*/ 30945 w 137"/>
                <a:gd name="T5" fmla="*/ 1219957 h 51"/>
                <a:gd name="T6" fmla="*/ 20814 w 137"/>
                <a:gd name="T7" fmla="*/ 1709195 h 51"/>
                <a:gd name="T8" fmla="*/ 18513 w 137"/>
                <a:gd name="T9" fmla="*/ 1851111 h 51"/>
                <a:gd name="T10" fmla="*/ 20320 w 137"/>
                <a:gd name="T11" fmla="*/ 1871002 h 51"/>
                <a:gd name="T12" fmla="*/ 19044 w 137"/>
                <a:gd name="T13" fmla="*/ 2072188 h 51"/>
                <a:gd name="T14" fmla="*/ 17191 w 137"/>
                <a:gd name="T15" fmla="*/ 2160804 h 51"/>
                <a:gd name="T16" fmla="*/ 17282 w 137"/>
                <a:gd name="T17" fmla="*/ 2357375 h 51"/>
                <a:gd name="T18" fmla="*/ 14085 w 137"/>
                <a:gd name="T19" fmla="*/ 2160804 h 51"/>
                <a:gd name="T20" fmla="*/ 15214 w 137"/>
                <a:gd name="T21" fmla="*/ 2524847 h 51"/>
                <a:gd name="T22" fmla="*/ 13359 w 137"/>
                <a:gd name="T23" fmla="*/ 2678101 h 51"/>
                <a:gd name="T24" fmla="*/ 14274 w 137"/>
                <a:gd name="T25" fmla="*/ 3035967 h 51"/>
                <a:gd name="T26" fmla="*/ 9841 w 137"/>
                <a:gd name="T27" fmla="*/ 2828127 h 51"/>
                <a:gd name="T28" fmla="*/ 14274 w 137"/>
                <a:gd name="T29" fmla="*/ 3145244 h 51"/>
                <a:gd name="T30" fmla="*/ 11914 w 137"/>
                <a:gd name="T31" fmla="*/ 3145244 h 51"/>
                <a:gd name="T32" fmla="*/ 12632 w 137"/>
                <a:gd name="T33" fmla="*/ 3425541 h 51"/>
                <a:gd name="T34" fmla="*/ 2960 w 137"/>
                <a:gd name="T35" fmla="*/ 3269164 h 51"/>
                <a:gd name="T36" fmla="*/ 4677 w 137"/>
                <a:gd name="T37" fmla="*/ 3035967 h 51"/>
                <a:gd name="T38" fmla="*/ 0 w 137"/>
                <a:gd name="T39" fmla="*/ 2966073 h 51"/>
                <a:gd name="T40" fmla="*/ 4294 w 137"/>
                <a:gd name="T41" fmla="*/ 2524847 h 51"/>
                <a:gd name="T42" fmla="*/ 5633 w 137"/>
                <a:gd name="T43" fmla="*/ 2524847 h 51"/>
                <a:gd name="T44" fmla="*/ 4294 w 137"/>
                <a:gd name="T45" fmla="*/ 2357375 h 51"/>
                <a:gd name="T46" fmla="*/ 5172 w 137"/>
                <a:gd name="T47" fmla="*/ 2160804 h 51"/>
                <a:gd name="T48" fmla="*/ 7502 w 137"/>
                <a:gd name="T49" fmla="*/ 1975815 h 51"/>
                <a:gd name="T50" fmla="*/ 6229 w 137"/>
                <a:gd name="T51" fmla="*/ 1871002 h 51"/>
                <a:gd name="T52" fmla="*/ 6349 w 137"/>
                <a:gd name="T53" fmla="*/ 1851111 h 51"/>
                <a:gd name="T54" fmla="*/ 4294 w 137"/>
                <a:gd name="T55" fmla="*/ 1709195 h 51"/>
                <a:gd name="T56" fmla="*/ 6784 w 137"/>
                <a:gd name="T57" fmla="*/ 1447693 h 51"/>
                <a:gd name="T58" fmla="*/ 9210 w 137"/>
                <a:gd name="T59" fmla="*/ 1428736 h 51"/>
                <a:gd name="T60" fmla="*/ 17191 w 137"/>
                <a:gd name="T61" fmla="*/ 903498 h 51"/>
                <a:gd name="T62" fmla="*/ 18513 w 137"/>
                <a:gd name="T63" fmla="*/ 749279 h 51"/>
                <a:gd name="T64" fmla="*/ 33270 w 137"/>
                <a:gd name="T65" fmla="*/ 328839 h 51"/>
                <a:gd name="T66" fmla="*/ 39402 w 137"/>
                <a:gd name="T67" fmla="*/ 0 h 51"/>
                <a:gd name="T68" fmla="*/ 43792 w 137"/>
                <a:gd name="T69" fmla="*/ 215237 h 5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7"/>
                <a:gd name="T106" fmla="*/ 0 h 51"/>
                <a:gd name="T107" fmla="*/ 137 w 137"/>
                <a:gd name="T108" fmla="*/ 51 h 5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7" h="51">
                  <a:moveTo>
                    <a:pt x="137" y="3"/>
                  </a:moveTo>
                  <a:lnTo>
                    <a:pt x="125" y="11"/>
                  </a:lnTo>
                  <a:lnTo>
                    <a:pt x="96" y="18"/>
                  </a:lnTo>
                  <a:lnTo>
                    <a:pt x="66" y="25"/>
                  </a:lnTo>
                  <a:lnTo>
                    <a:pt x="58" y="27"/>
                  </a:lnTo>
                  <a:lnTo>
                    <a:pt x="63" y="28"/>
                  </a:lnTo>
                  <a:lnTo>
                    <a:pt x="60" y="31"/>
                  </a:lnTo>
                  <a:lnTo>
                    <a:pt x="54" y="32"/>
                  </a:lnTo>
                  <a:lnTo>
                    <a:pt x="55" y="35"/>
                  </a:lnTo>
                  <a:lnTo>
                    <a:pt x="44" y="32"/>
                  </a:lnTo>
                  <a:lnTo>
                    <a:pt x="47" y="38"/>
                  </a:lnTo>
                  <a:lnTo>
                    <a:pt x="42" y="40"/>
                  </a:lnTo>
                  <a:lnTo>
                    <a:pt x="45" y="45"/>
                  </a:lnTo>
                  <a:lnTo>
                    <a:pt x="31" y="42"/>
                  </a:lnTo>
                  <a:lnTo>
                    <a:pt x="45" y="47"/>
                  </a:lnTo>
                  <a:lnTo>
                    <a:pt x="38" y="47"/>
                  </a:lnTo>
                  <a:lnTo>
                    <a:pt x="39" y="51"/>
                  </a:lnTo>
                  <a:lnTo>
                    <a:pt x="9" y="48"/>
                  </a:lnTo>
                  <a:lnTo>
                    <a:pt x="15" y="45"/>
                  </a:lnTo>
                  <a:lnTo>
                    <a:pt x="0" y="44"/>
                  </a:lnTo>
                  <a:lnTo>
                    <a:pt x="13" y="38"/>
                  </a:lnTo>
                  <a:lnTo>
                    <a:pt x="18" y="38"/>
                  </a:lnTo>
                  <a:lnTo>
                    <a:pt x="13" y="35"/>
                  </a:lnTo>
                  <a:lnTo>
                    <a:pt x="16" y="32"/>
                  </a:lnTo>
                  <a:lnTo>
                    <a:pt x="23" y="29"/>
                  </a:lnTo>
                  <a:lnTo>
                    <a:pt x="19" y="28"/>
                  </a:lnTo>
                  <a:lnTo>
                    <a:pt x="20" y="27"/>
                  </a:lnTo>
                  <a:lnTo>
                    <a:pt x="13" y="25"/>
                  </a:lnTo>
                  <a:lnTo>
                    <a:pt x="22" y="22"/>
                  </a:lnTo>
                  <a:lnTo>
                    <a:pt x="29" y="21"/>
                  </a:lnTo>
                  <a:lnTo>
                    <a:pt x="54" y="13"/>
                  </a:lnTo>
                  <a:lnTo>
                    <a:pt x="58" y="11"/>
                  </a:lnTo>
                  <a:lnTo>
                    <a:pt x="105" y="5"/>
                  </a:lnTo>
                  <a:lnTo>
                    <a:pt x="124" y="0"/>
                  </a:lnTo>
                  <a:lnTo>
                    <a:pt x="137" y="3"/>
                  </a:lnTo>
                  <a:close/>
                </a:path>
              </a:pathLst>
            </a:custGeom>
            <a:solidFill>
              <a:srgbClr val="8B8D8D">
                <a:lumMod val="40000"/>
                <a:lumOff val="60000"/>
              </a:srgbClr>
            </a:solidFill>
            <a:ln w="1651">
              <a:solidFill>
                <a:schemeClr val="bg1"/>
              </a:solidFill>
              <a:prstDash val="solid"/>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8" name="Freeform 140">
              <a:extLst>
                <a:ext uri="{FF2B5EF4-FFF2-40B4-BE49-F238E27FC236}">
                  <a16:creationId xmlns:a16="http://schemas.microsoft.com/office/drawing/2014/main" id="{FE2F673D-B030-777A-1D13-E98C544B18CE}"/>
                </a:ext>
              </a:extLst>
            </p:cNvPr>
            <p:cNvSpPr>
              <a:spLocks/>
            </p:cNvSpPr>
            <p:nvPr/>
          </p:nvSpPr>
          <p:spPr bwMode="auto">
            <a:xfrm>
              <a:off x="5396303" y="1432280"/>
              <a:ext cx="155118" cy="78968"/>
            </a:xfrm>
            <a:custGeom>
              <a:avLst/>
              <a:gdLst>
                <a:gd name="T0" fmla="*/ 31518 w 80"/>
                <a:gd name="T1" fmla="*/ 2838859 h 39"/>
                <a:gd name="T2" fmla="*/ 19060 w 80"/>
                <a:gd name="T3" fmla="*/ 1885569 h 39"/>
                <a:gd name="T4" fmla="*/ 16332 w 80"/>
                <a:gd name="T5" fmla="*/ 727324 h 39"/>
                <a:gd name="T6" fmla="*/ 16348 w 80"/>
                <a:gd name="T7" fmla="*/ 506529 h 39"/>
                <a:gd name="T8" fmla="*/ 17264 w 80"/>
                <a:gd name="T9" fmla="*/ 472168 h 39"/>
                <a:gd name="T10" fmla="*/ 17807 w 80"/>
                <a:gd name="T11" fmla="*/ 159487 h 39"/>
                <a:gd name="T12" fmla="*/ 6232 w 80"/>
                <a:gd name="T13" fmla="*/ 0 h 39"/>
                <a:gd name="T14" fmla="*/ 4850 w 80"/>
                <a:gd name="T15" fmla="*/ 352761 h 39"/>
                <a:gd name="T16" fmla="*/ 2721 w 80"/>
                <a:gd name="T17" fmla="*/ 677985 h 39"/>
                <a:gd name="T18" fmla="*/ 4850 w 80"/>
                <a:gd name="T19" fmla="*/ 855798 h 39"/>
                <a:gd name="T20" fmla="*/ 2289 w 80"/>
                <a:gd name="T21" fmla="*/ 1327025 h 39"/>
                <a:gd name="T22" fmla="*/ 0 w 80"/>
                <a:gd name="T23" fmla="*/ 1556780 h 39"/>
                <a:gd name="T24" fmla="*/ 3496 w 80"/>
                <a:gd name="T25" fmla="*/ 1905472 h 39"/>
                <a:gd name="T26" fmla="*/ 6588 w 80"/>
                <a:gd name="T27" fmla="*/ 1905472 h 39"/>
                <a:gd name="T28" fmla="*/ 9685 w 80"/>
                <a:gd name="T29" fmla="*/ 1905472 h 39"/>
                <a:gd name="T30" fmla="*/ 11743 w 80"/>
                <a:gd name="T31" fmla="*/ 2057785 h 39"/>
                <a:gd name="T32" fmla="*/ 13483 w 80"/>
                <a:gd name="T33" fmla="*/ 2372858 h 39"/>
                <a:gd name="T34" fmla="*/ 12711 w 80"/>
                <a:gd name="T35" fmla="*/ 2533619 h 39"/>
                <a:gd name="T36" fmla="*/ 17807 w 80"/>
                <a:gd name="T37" fmla="*/ 2736062 h 39"/>
                <a:gd name="T38" fmla="*/ 21083 w 80"/>
                <a:gd name="T39" fmla="*/ 2838859 h 39"/>
                <a:gd name="T40" fmla="*/ 25381 w 80"/>
                <a:gd name="T41" fmla="*/ 2838859 h 39"/>
                <a:gd name="T42" fmla="*/ 29113 w 80"/>
                <a:gd name="T43" fmla="*/ 2882130 h 39"/>
                <a:gd name="T44" fmla="*/ 31518 w 80"/>
                <a:gd name="T45" fmla="*/ 2838859 h 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39"/>
                <a:gd name="T71" fmla="*/ 80 w 80"/>
                <a:gd name="T72" fmla="*/ 39 h 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39">
                  <a:moveTo>
                    <a:pt x="80" y="38"/>
                  </a:moveTo>
                  <a:lnTo>
                    <a:pt x="49" y="25"/>
                  </a:lnTo>
                  <a:lnTo>
                    <a:pt x="41" y="10"/>
                  </a:lnTo>
                  <a:lnTo>
                    <a:pt x="42" y="7"/>
                  </a:lnTo>
                  <a:lnTo>
                    <a:pt x="44" y="6"/>
                  </a:lnTo>
                  <a:lnTo>
                    <a:pt x="45" y="2"/>
                  </a:lnTo>
                  <a:lnTo>
                    <a:pt x="16" y="0"/>
                  </a:lnTo>
                  <a:lnTo>
                    <a:pt x="12" y="5"/>
                  </a:lnTo>
                  <a:lnTo>
                    <a:pt x="7" y="9"/>
                  </a:lnTo>
                  <a:lnTo>
                    <a:pt x="12" y="12"/>
                  </a:lnTo>
                  <a:lnTo>
                    <a:pt x="6" y="18"/>
                  </a:lnTo>
                  <a:lnTo>
                    <a:pt x="0" y="21"/>
                  </a:lnTo>
                  <a:lnTo>
                    <a:pt x="9" y="26"/>
                  </a:lnTo>
                  <a:lnTo>
                    <a:pt x="17" y="26"/>
                  </a:lnTo>
                  <a:lnTo>
                    <a:pt x="25" y="26"/>
                  </a:lnTo>
                  <a:lnTo>
                    <a:pt x="30" y="28"/>
                  </a:lnTo>
                  <a:lnTo>
                    <a:pt x="35" y="32"/>
                  </a:lnTo>
                  <a:lnTo>
                    <a:pt x="33" y="34"/>
                  </a:lnTo>
                  <a:lnTo>
                    <a:pt x="45" y="37"/>
                  </a:lnTo>
                  <a:lnTo>
                    <a:pt x="54" y="38"/>
                  </a:lnTo>
                  <a:lnTo>
                    <a:pt x="64" y="38"/>
                  </a:lnTo>
                  <a:lnTo>
                    <a:pt x="74" y="39"/>
                  </a:lnTo>
                  <a:lnTo>
                    <a:pt x="80" y="3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199" name="Freeform 141">
              <a:extLst>
                <a:ext uri="{FF2B5EF4-FFF2-40B4-BE49-F238E27FC236}">
                  <a16:creationId xmlns:a16="http://schemas.microsoft.com/office/drawing/2014/main" id="{15F7F3A0-3A83-24F5-80CD-B89D0F840F2B}"/>
                </a:ext>
              </a:extLst>
            </p:cNvPr>
            <p:cNvSpPr>
              <a:spLocks/>
            </p:cNvSpPr>
            <p:nvPr/>
          </p:nvSpPr>
          <p:spPr bwMode="auto">
            <a:xfrm>
              <a:off x="6082342" y="1243971"/>
              <a:ext cx="134330" cy="36447"/>
            </a:xfrm>
            <a:custGeom>
              <a:avLst/>
              <a:gdLst>
                <a:gd name="T0" fmla="*/ 17308 w 70"/>
                <a:gd name="T1" fmla="*/ 411872 h 18"/>
                <a:gd name="T2" fmla="*/ 11864 w 70"/>
                <a:gd name="T3" fmla="*/ 263513 h 18"/>
                <a:gd name="T4" fmla="*/ 9887 w 70"/>
                <a:gd name="T5" fmla="*/ 411872 h 18"/>
                <a:gd name="T6" fmla="*/ 8239 w 70"/>
                <a:gd name="T7" fmla="*/ 0 h 18"/>
                <a:gd name="T8" fmla="*/ 2 w 70"/>
                <a:gd name="T9" fmla="*/ 263513 h 18"/>
                <a:gd name="T10" fmla="*/ 0 w 70"/>
                <a:gd name="T11" fmla="*/ 794154 h 18"/>
                <a:gd name="T12" fmla="*/ 2687 w 70"/>
                <a:gd name="T13" fmla="*/ 794154 h 18"/>
                <a:gd name="T14" fmla="*/ 6092 w 70"/>
                <a:gd name="T15" fmla="*/ 1346915 h 18"/>
                <a:gd name="T16" fmla="*/ 19958 w 70"/>
                <a:gd name="T17" fmla="*/ 1621461 h 18"/>
                <a:gd name="T18" fmla="*/ 18786 w 70"/>
                <a:gd name="T19" fmla="*/ 1147111 h 18"/>
                <a:gd name="T20" fmla="*/ 17308 w 70"/>
                <a:gd name="T21" fmla="*/ 41187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18"/>
                <a:gd name="T35" fmla="*/ 70 w 70"/>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18">
                  <a:moveTo>
                    <a:pt x="61" y="5"/>
                  </a:moveTo>
                  <a:lnTo>
                    <a:pt x="42" y="3"/>
                  </a:lnTo>
                  <a:lnTo>
                    <a:pt x="35" y="5"/>
                  </a:lnTo>
                  <a:lnTo>
                    <a:pt x="29" y="0"/>
                  </a:lnTo>
                  <a:lnTo>
                    <a:pt x="2" y="3"/>
                  </a:lnTo>
                  <a:lnTo>
                    <a:pt x="0" y="9"/>
                  </a:lnTo>
                  <a:lnTo>
                    <a:pt x="9" y="9"/>
                  </a:lnTo>
                  <a:lnTo>
                    <a:pt x="22" y="15"/>
                  </a:lnTo>
                  <a:lnTo>
                    <a:pt x="70" y="18"/>
                  </a:lnTo>
                  <a:lnTo>
                    <a:pt x="66" y="13"/>
                  </a:lnTo>
                  <a:lnTo>
                    <a:pt x="61" y="5"/>
                  </a:lnTo>
                  <a:close/>
                </a:path>
              </a:pathLst>
            </a:custGeom>
            <a:solidFill>
              <a:srgbClr val="8B8D8D">
                <a:lumMod val="40000"/>
                <a:lumOff val="60000"/>
              </a:srgbClr>
            </a:solidFill>
            <a:ln w="1588">
              <a:solidFill>
                <a:schemeClr val="bg1"/>
              </a:solidFill>
              <a:prstDash val="solid"/>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0" name="Freeform 142">
              <a:extLst>
                <a:ext uri="{FF2B5EF4-FFF2-40B4-BE49-F238E27FC236}">
                  <a16:creationId xmlns:a16="http://schemas.microsoft.com/office/drawing/2014/main" id="{FA35AFBB-19E4-9857-D42F-F87176B4C969}"/>
                </a:ext>
              </a:extLst>
            </p:cNvPr>
            <p:cNvSpPr>
              <a:spLocks/>
            </p:cNvSpPr>
            <p:nvPr/>
          </p:nvSpPr>
          <p:spPr bwMode="auto">
            <a:xfrm>
              <a:off x="6024773" y="1224230"/>
              <a:ext cx="105545" cy="19741"/>
            </a:xfrm>
            <a:custGeom>
              <a:avLst/>
              <a:gdLst>
                <a:gd name="T0" fmla="*/ 15655 w 55"/>
                <a:gd name="T1" fmla="*/ 131390 h 10"/>
                <a:gd name="T2" fmla="*/ 8509 w 55"/>
                <a:gd name="T3" fmla="*/ 0 h 10"/>
                <a:gd name="T4" fmla="*/ 1 w 55"/>
                <a:gd name="T5" fmla="*/ 93850 h 10"/>
                <a:gd name="T6" fmla="*/ 2687 w 55"/>
                <a:gd name="T7" fmla="*/ 131390 h 10"/>
                <a:gd name="T8" fmla="*/ 2687 w 55"/>
                <a:gd name="T9" fmla="*/ 246646 h 10"/>
                <a:gd name="T10" fmla="*/ 0 w 55"/>
                <a:gd name="T11" fmla="*/ 311210 h 10"/>
                <a:gd name="T12" fmla="*/ 4643 w 55"/>
                <a:gd name="T13" fmla="*/ 311210 h 10"/>
                <a:gd name="T14" fmla="*/ 3224 w 55"/>
                <a:gd name="T15" fmla="*/ 345304 h 10"/>
                <a:gd name="T16" fmla="*/ 15655 w 55"/>
                <a:gd name="T17" fmla="*/ 345304 h 10"/>
                <a:gd name="T18" fmla="*/ 13865 w 55"/>
                <a:gd name="T19" fmla="*/ 246646 h 10"/>
                <a:gd name="T20" fmla="*/ 15655 w 55"/>
                <a:gd name="T21" fmla="*/ 13139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10"/>
                <a:gd name="T35" fmla="*/ 55 w 55"/>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10">
                  <a:moveTo>
                    <a:pt x="55" y="4"/>
                  </a:moveTo>
                  <a:lnTo>
                    <a:pt x="30" y="0"/>
                  </a:lnTo>
                  <a:lnTo>
                    <a:pt x="1" y="3"/>
                  </a:lnTo>
                  <a:lnTo>
                    <a:pt x="9" y="4"/>
                  </a:lnTo>
                  <a:lnTo>
                    <a:pt x="9" y="7"/>
                  </a:lnTo>
                  <a:lnTo>
                    <a:pt x="0" y="9"/>
                  </a:lnTo>
                  <a:lnTo>
                    <a:pt x="16" y="9"/>
                  </a:lnTo>
                  <a:lnTo>
                    <a:pt x="11" y="10"/>
                  </a:lnTo>
                  <a:lnTo>
                    <a:pt x="55" y="10"/>
                  </a:lnTo>
                  <a:lnTo>
                    <a:pt x="49" y="7"/>
                  </a:lnTo>
                  <a:lnTo>
                    <a:pt x="55" y="4"/>
                  </a:lnTo>
                  <a:close/>
                </a:path>
              </a:pathLst>
            </a:custGeom>
            <a:solidFill>
              <a:srgbClr val="8B8D8D">
                <a:lumMod val="40000"/>
                <a:lumOff val="60000"/>
              </a:srgbClr>
            </a:solidFill>
            <a:ln w="1588">
              <a:solidFill>
                <a:schemeClr val="bg1"/>
              </a:solidFill>
              <a:prstDash val="solid"/>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1" name="Freeform 143">
              <a:extLst>
                <a:ext uri="{FF2B5EF4-FFF2-40B4-BE49-F238E27FC236}">
                  <a16:creationId xmlns:a16="http://schemas.microsoft.com/office/drawing/2014/main" id="{E52FAE46-A0D7-0C21-2660-E7E32C267ABE}"/>
                </a:ext>
              </a:extLst>
            </p:cNvPr>
            <p:cNvSpPr>
              <a:spLocks/>
            </p:cNvSpPr>
            <p:nvPr/>
          </p:nvSpPr>
          <p:spPr bwMode="auto">
            <a:xfrm>
              <a:off x="4817406" y="2018466"/>
              <a:ext cx="55970" cy="19742"/>
            </a:xfrm>
            <a:custGeom>
              <a:avLst/>
              <a:gdLst>
                <a:gd name="T0" fmla="*/ 2725 w 29"/>
                <a:gd name="T1" fmla="*/ 0 h 10"/>
                <a:gd name="T2" fmla="*/ 2725 w 29"/>
                <a:gd name="T3" fmla="*/ 93850 h 10"/>
                <a:gd name="T4" fmla="*/ 1 w 29"/>
                <a:gd name="T5" fmla="*/ 1 h 10"/>
                <a:gd name="T6" fmla="*/ 0 w 29"/>
                <a:gd name="T7" fmla="*/ 131390 h 10"/>
                <a:gd name="T8" fmla="*/ 1064 w 29"/>
                <a:gd name="T9" fmla="*/ 131390 h 10"/>
                <a:gd name="T10" fmla="*/ 1 w 29"/>
                <a:gd name="T11" fmla="*/ 131390 h 10"/>
                <a:gd name="T12" fmla="*/ 0 w 29"/>
                <a:gd name="T13" fmla="*/ 257524 h 10"/>
                <a:gd name="T14" fmla="*/ 2258 w 29"/>
                <a:gd name="T15" fmla="*/ 257524 h 10"/>
                <a:gd name="T16" fmla="*/ 10026 w 29"/>
                <a:gd name="T17" fmla="*/ 345304 h 10"/>
                <a:gd name="T18" fmla="*/ 10026 w 29"/>
                <a:gd name="T19" fmla="*/ 93850 h 10"/>
                <a:gd name="T20" fmla="*/ 5781 w 29"/>
                <a:gd name="T21" fmla="*/ 1 h 10"/>
                <a:gd name="T22" fmla="*/ 2725 w 29"/>
                <a:gd name="T23" fmla="*/ 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10"/>
                <a:gd name="T38" fmla="*/ 29 w 29"/>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10">
                  <a:moveTo>
                    <a:pt x="8" y="0"/>
                  </a:moveTo>
                  <a:lnTo>
                    <a:pt x="8" y="3"/>
                  </a:lnTo>
                  <a:lnTo>
                    <a:pt x="1" y="1"/>
                  </a:lnTo>
                  <a:lnTo>
                    <a:pt x="0" y="4"/>
                  </a:lnTo>
                  <a:lnTo>
                    <a:pt x="3" y="4"/>
                  </a:lnTo>
                  <a:lnTo>
                    <a:pt x="1" y="4"/>
                  </a:lnTo>
                  <a:lnTo>
                    <a:pt x="0" y="8"/>
                  </a:lnTo>
                  <a:lnTo>
                    <a:pt x="7" y="8"/>
                  </a:lnTo>
                  <a:lnTo>
                    <a:pt x="29" y="10"/>
                  </a:lnTo>
                  <a:lnTo>
                    <a:pt x="29" y="3"/>
                  </a:lnTo>
                  <a:lnTo>
                    <a:pt x="17" y="1"/>
                  </a:lnTo>
                  <a:lnTo>
                    <a:pt x="8"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2" name="Freeform 144">
              <a:extLst>
                <a:ext uri="{FF2B5EF4-FFF2-40B4-BE49-F238E27FC236}">
                  <a16:creationId xmlns:a16="http://schemas.microsoft.com/office/drawing/2014/main" id="{EB75B3AB-1CAE-B0DE-74A3-E60712FA34ED}"/>
                </a:ext>
              </a:extLst>
            </p:cNvPr>
            <p:cNvSpPr>
              <a:spLocks/>
            </p:cNvSpPr>
            <p:nvPr/>
          </p:nvSpPr>
          <p:spPr bwMode="auto">
            <a:xfrm>
              <a:off x="5365918" y="1543139"/>
              <a:ext cx="44776" cy="24297"/>
            </a:xfrm>
            <a:custGeom>
              <a:avLst/>
              <a:gdLst>
                <a:gd name="T0" fmla="*/ 10135 w 23"/>
                <a:gd name="T1" fmla="*/ 317509 h 12"/>
                <a:gd name="T2" fmla="*/ 2557 w 23"/>
                <a:gd name="T3" fmla="*/ 580607 h 12"/>
                <a:gd name="T4" fmla="*/ 0 w 23"/>
                <a:gd name="T5" fmla="*/ 244447 h 12"/>
                <a:gd name="T6" fmla="*/ 2557 w 23"/>
                <a:gd name="T7" fmla="*/ 0 h 12"/>
                <a:gd name="T8" fmla="*/ 10135 w 23"/>
                <a:gd name="T9" fmla="*/ 317509 h 12"/>
                <a:gd name="T10" fmla="*/ 0 60000 65536"/>
                <a:gd name="T11" fmla="*/ 0 60000 65536"/>
                <a:gd name="T12" fmla="*/ 0 60000 65536"/>
                <a:gd name="T13" fmla="*/ 0 60000 65536"/>
                <a:gd name="T14" fmla="*/ 0 60000 65536"/>
                <a:gd name="T15" fmla="*/ 0 w 23"/>
                <a:gd name="T16" fmla="*/ 0 h 12"/>
                <a:gd name="T17" fmla="*/ 23 w 23"/>
                <a:gd name="T18" fmla="*/ 12 h 12"/>
              </a:gdLst>
              <a:ahLst/>
              <a:cxnLst>
                <a:cxn ang="T10">
                  <a:pos x="T0" y="T1"/>
                </a:cxn>
                <a:cxn ang="T11">
                  <a:pos x="T2" y="T3"/>
                </a:cxn>
                <a:cxn ang="T12">
                  <a:pos x="T4" y="T5"/>
                </a:cxn>
                <a:cxn ang="T13">
                  <a:pos x="T6" y="T7"/>
                </a:cxn>
                <a:cxn ang="T14">
                  <a:pos x="T8" y="T9"/>
                </a:cxn>
              </a:cxnLst>
              <a:rect l="T15" t="T16" r="T17" b="T18"/>
              <a:pathLst>
                <a:path w="23" h="12">
                  <a:moveTo>
                    <a:pt x="23" y="6"/>
                  </a:moveTo>
                  <a:lnTo>
                    <a:pt x="6" y="12"/>
                  </a:lnTo>
                  <a:lnTo>
                    <a:pt x="0" y="5"/>
                  </a:lnTo>
                  <a:lnTo>
                    <a:pt x="6" y="0"/>
                  </a:lnTo>
                  <a:lnTo>
                    <a:pt x="23" y="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3" name="Freeform 146">
              <a:extLst>
                <a:ext uri="{FF2B5EF4-FFF2-40B4-BE49-F238E27FC236}">
                  <a16:creationId xmlns:a16="http://schemas.microsoft.com/office/drawing/2014/main" id="{E61597AF-64BE-27AA-C860-BC0C60D31A7C}"/>
                </a:ext>
              </a:extLst>
            </p:cNvPr>
            <p:cNvSpPr>
              <a:spLocks/>
            </p:cNvSpPr>
            <p:nvPr/>
          </p:nvSpPr>
          <p:spPr bwMode="auto">
            <a:xfrm>
              <a:off x="5570611" y="1515805"/>
              <a:ext cx="59169" cy="18223"/>
            </a:xfrm>
            <a:custGeom>
              <a:avLst/>
              <a:gdLst>
                <a:gd name="T0" fmla="*/ 20216 w 30"/>
                <a:gd name="T1" fmla="*/ 794154 h 9"/>
                <a:gd name="T2" fmla="*/ 2092 w 30"/>
                <a:gd name="T3" fmla="*/ 0 h 9"/>
                <a:gd name="T4" fmla="*/ 0 w 30"/>
                <a:gd name="T5" fmla="*/ 182432 h 9"/>
                <a:gd name="T6" fmla="*/ 11937 w 30"/>
                <a:gd name="T7" fmla="*/ 794154 h 9"/>
                <a:gd name="T8" fmla="*/ 20216 w 30"/>
                <a:gd name="T9" fmla="*/ 794154 h 9"/>
                <a:gd name="T10" fmla="*/ 0 60000 65536"/>
                <a:gd name="T11" fmla="*/ 0 60000 65536"/>
                <a:gd name="T12" fmla="*/ 0 60000 65536"/>
                <a:gd name="T13" fmla="*/ 0 60000 65536"/>
                <a:gd name="T14" fmla="*/ 0 60000 65536"/>
                <a:gd name="T15" fmla="*/ 0 w 30"/>
                <a:gd name="T16" fmla="*/ 0 h 9"/>
                <a:gd name="T17" fmla="*/ 30 w 30"/>
                <a:gd name="T18" fmla="*/ 9 h 9"/>
              </a:gdLst>
              <a:ahLst/>
              <a:cxnLst>
                <a:cxn ang="T10">
                  <a:pos x="T0" y="T1"/>
                </a:cxn>
                <a:cxn ang="T11">
                  <a:pos x="T2" y="T3"/>
                </a:cxn>
                <a:cxn ang="T12">
                  <a:pos x="T4" y="T5"/>
                </a:cxn>
                <a:cxn ang="T13">
                  <a:pos x="T6" y="T7"/>
                </a:cxn>
                <a:cxn ang="T14">
                  <a:pos x="T8" y="T9"/>
                </a:cxn>
              </a:cxnLst>
              <a:rect l="T15" t="T16" r="T17" b="T18"/>
              <a:pathLst>
                <a:path w="30" h="9">
                  <a:moveTo>
                    <a:pt x="30" y="9"/>
                  </a:moveTo>
                  <a:lnTo>
                    <a:pt x="3" y="0"/>
                  </a:lnTo>
                  <a:lnTo>
                    <a:pt x="0" y="2"/>
                  </a:lnTo>
                  <a:lnTo>
                    <a:pt x="18" y="9"/>
                  </a:lnTo>
                  <a:lnTo>
                    <a:pt x="30" y="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4" name="Freeform 147">
              <a:extLst>
                <a:ext uri="{FF2B5EF4-FFF2-40B4-BE49-F238E27FC236}">
                  <a16:creationId xmlns:a16="http://schemas.microsoft.com/office/drawing/2014/main" id="{24F39B5F-5A63-957D-A4D8-958B47C25B0E}"/>
                </a:ext>
              </a:extLst>
            </p:cNvPr>
            <p:cNvSpPr>
              <a:spLocks/>
            </p:cNvSpPr>
            <p:nvPr/>
          </p:nvSpPr>
          <p:spPr bwMode="auto">
            <a:xfrm>
              <a:off x="4844592" y="1895459"/>
              <a:ext cx="30384" cy="16704"/>
            </a:xfrm>
            <a:custGeom>
              <a:avLst/>
              <a:gdLst>
                <a:gd name="T0" fmla="*/ 3305 w 16"/>
                <a:gd name="T1" fmla="*/ 311073 h 8"/>
                <a:gd name="T2" fmla="*/ 2 w 16"/>
                <a:gd name="T3" fmla="*/ 2261947 h 8"/>
                <a:gd name="T4" fmla="*/ 0 w 16"/>
                <a:gd name="T5" fmla="*/ 699913 h 8"/>
                <a:gd name="T6" fmla="*/ 2649 w 16"/>
                <a:gd name="T7" fmla="*/ 0 h 8"/>
                <a:gd name="T8" fmla="*/ 3305 w 16"/>
                <a:gd name="T9" fmla="*/ 311073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16" y="1"/>
                  </a:moveTo>
                  <a:lnTo>
                    <a:pt x="2" y="8"/>
                  </a:lnTo>
                  <a:lnTo>
                    <a:pt x="0" y="3"/>
                  </a:lnTo>
                  <a:lnTo>
                    <a:pt x="13" y="0"/>
                  </a:lnTo>
                  <a:lnTo>
                    <a:pt x="16"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5" name="Freeform 148">
              <a:extLst>
                <a:ext uri="{FF2B5EF4-FFF2-40B4-BE49-F238E27FC236}">
                  <a16:creationId xmlns:a16="http://schemas.microsoft.com/office/drawing/2014/main" id="{56EC9385-2B88-3967-8A28-29B574B572E4}"/>
                </a:ext>
              </a:extLst>
            </p:cNvPr>
            <p:cNvSpPr>
              <a:spLocks/>
            </p:cNvSpPr>
            <p:nvPr/>
          </p:nvSpPr>
          <p:spPr bwMode="auto">
            <a:xfrm>
              <a:off x="5767307" y="1424687"/>
              <a:ext cx="36780" cy="13667"/>
            </a:xfrm>
            <a:custGeom>
              <a:avLst/>
              <a:gdLst>
                <a:gd name="T0" fmla="*/ 7310 w 19"/>
                <a:gd name="T1" fmla="*/ 1516126 h 6"/>
                <a:gd name="T2" fmla="*/ 0 w 19"/>
                <a:gd name="T3" fmla="*/ 1815228 h 6"/>
                <a:gd name="T4" fmla="*/ 1244 w 19"/>
                <a:gd name="T5" fmla="*/ 0 h 6"/>
                <a:gd name="T6" fmla="*/ 4740 w 19"/>
                <a:gd name="T7" fmla="*/ 1010751 h 6"/>
                <a:gd name="T8" fmla="*/ 7310 w 19"/>
                <a:gd name="T9" fmla="*/ 1516126 h 6"/>
                <a:gd name="T10" fmla="*/ 0 60000 65536"/>
                <a:gd name="T11" fmla="*/ 0 60000 65536"/>
                <a:gd name="T12" fmla="*/ 0 60000 65536"/>
                <a:gd name="T13" fmla="*/ 0 60000 65536"/>
                <a:gd name="T14" fmla="*/ 0 60000 65536"/>
                <a:gd name="T15" fmla="*/ 0 w 19"/>
                <a:gd name="T16" fmla="*/ 0 h 6"/>
                <a:gd name="T17" fmla="*/ 19 w 19"/>
                <a:gd name="T18" fmla="*/ 6 h 6"/>
              </a:gdLst>
              <a:ahLst/>
              <a:cxnLst>
                <a:cxn ang="T10">
                  <a:pos x="T0" y="T1"/>
                </a:cxn>
                <a:cxn ang="T11">
                  <a:pos x="T2" y="T3"/>
                </a:cxn>
                <a:cxn ang="T12">
                  <a:pos x="T4" y="T5"/>
                </a:cxn>
                <a:cxn ang="T13">
                  <a:pos x="T6" y="T7"/>
                </a:cxn>
                <a:cxn ang="T14">
                  <a:pos x="T8" y="T9"/>
                </a:cxn>
              </a:cxnLst>
              <a:rect l="T15" t="T16" r="T17" b="T18"/>
              <a:pathLst>
                <a:path w="19" h="6">
                  <a:moveTo>
                    <a:pt x="19" y="5"/>
                  </a:moveTo>
                  <a:lnTo>
                    <a:pt x="0" y="6"/>
                  </a:lnTo>
                  <a:lnTo>
                    <a:pt x="3" y="0"/>
                  </a:lnTo>
                  <a:lnTo>
                    <a:pt x="12" y="3"/>
                  </a:lnTo>
                  <a:lnTo>
                    <a:pt x="19" y="5"/>
                  </a:lnTo>
                  <a:close/>
                </a:path>
              </a:pathLst>
            </a:custGeom>
            <a:solidFill>
              <a:srgbClr val="8B8D8D">
                <a:lumMod val="40000"/>
                <a:lumOff val="60000"/>
              </a:srgbClr>
            </a:solidFill>
            <a:ln w="1588">
              <a:solidFill>
                <a:schemeClr val="bg1"/>
              </a:solidFill>
              <a:prstDash val="solid"/>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6" name="Freeform 149">
              <a:extLst>
                <a:ext uri="{FF2B5EF4-FFF2-40B4-BE49-F238E27FC236}">
                  <a16:creationId xmlns:a16="http://schemas.microsoft.com/office/drawing/2014/main" id="{502A4554-48AA-DFA6-11E6-7C85F18AFBE8}"/>
                </a:ext>
              </a:extLst>
            </p:cNvPr>
            <p:cNvSpPr>
              <a:spLocks/>
            </p:cNvSpPr>
            <p:nvPr/>
          </p:nvSpPr>
          <p:spPr bwMode="auto">
            <a:xfrm>
              <a:off x="6079144" y="2650212"/>
              <a:ext cx="446166" cy="473809"/>
            </a:xfrm>
            <a:custGeom>
              <a:avLst/>
              <a:gdLst>
                <a:gd name="T0" fmla="*/ 31165 w 232"/>
                <a:gd name="T1" fmla="*/ 14798261 h 236"/>
                <a:gd name="T2" fmla="*/ 35346 w 232"/>
                <a:gd name="T3" fmla="*/ 15878096 h 236"/>
                <a:gd name="T4" fmla="*/ 41160 w 232"/>
                <a:gd name="T5" fmla="*/ 15988673 h 236"/>
                <a:gd name="T6" fmla="*/ 45072 w 232"/>
                <a:gd name="T7" fmla="*/ 15646274 h 236"/>
                <a:gd name="T8" fmla="*/ 51118 w 232"/>
                <a:gd name="T9" fmla="*/ 15511120 h 236"/>
                <a:gd name="T10" fmla="*/ 46687 w 232"/>
                <a:gd name="T11" fmla="*/ 13937037 h 236"/>
                <a:gd name="T12" fmla="*/ 42349 w 232"/>
                <a:gd name="T13" fmla="*/ 12629963 h 236"/>
                <a:gd name="T14" fmla="*/ 46687 w 232"/>
                <a:gd name="T15" fmla="*/ 11272248 h 236"/>
                <a:gd name="T16" fmla="*/ 54530 w 232"/>
                <a:gd name="T17" fmla="*/ 10152323 h 236"/>
                <a:gd name="T18" fmla="*/ 59829 w 232"/>
                <a:gd name="T19" fmla="*/ 8216294 h 236"/>
                <a:gd name="T20" fmla="*/ 60430 w 232"/>
                <a:gd name="T21" fmla="*/ 6445816 h 236"/>
                <a:gd name="T22" fmla="*/ 61592 w 232"/>
                <a:gd name="T23" fmla="*/ 5556127 h 236"/>
                <a:gd name="T24" fmla="*/ 57733 w 232"/>
                <a:gd name="T25" fmla="*/ 4868203 h 236"/>
                <a:gd name="T26" fmla="*/ 56558 w 232"/>
                <a:gd name="T27" fmla="*/ 3846621 h 236"/>
                <a:gd name="T28" fmla="*/ 54530 w 232"/>
                <a:gd name="T29" fmla="*/ 2867045 h 236"/>
                <a:gd name="T30" fmla="*/ 66557 w 232"/>
                <a:gd name="T31" fmla="*/ 2685807 h 236"/>
                <a:gd name="T32" fmla="*/ 64589 w 232"/>
                <a:gd name="T33" fmla="*/ 1450033 h 236"/>
                <a:gd name="T34" fmla="*/ 59526 w 232"/>
                <a:gd name="T35" fmla="*/ 311205 h 236"/>
                <a:gd name="T36" fmla="*/ 48007 w 232"/>
                <a:gd name="T37" fmla="*/ 151718 h 236"/>
                <a:gd name="T38" fmla="*/ 40870 w 232"/>
                <a:gd name="T39" fmla="*/ 1236115 h 236"/>
                <a:gd name="T40" fmla="*/ 41448 w 232"/>
                <a:gd name="T41" fmla="*/ 3179970 h 236"/>
                <a:gd name="T42" fmla="*/ 37184 w 232"/>
                <a:gd name="T43" fmla="*/ 3773808 h 236"/>
                <a:gd name="T44" fmla="*/ 36076 w 232"/>
                <a:gd name="T45" fmla="*/ 5113264 h 236"/>
                <a:gd name="T46" fmla="*/ 31165 w 232"/>
                <a:gd name="T47" fmla="*/ 6445816 h 236"/>
                <a:gd name="T48" fmla="*/ 25142 w 232"/>
                <a:gd name="T49" fmla="*/ 7282830 h 236"/>
                <a:gd name="T50" fmla="*/ 24749 w 232"/>
                <a:gd name="T51" fmla="*/ 8737782 h 236"/>
                <a:gd name="T52" fmla="*/ 14765 w 232"/>
                <a:gd name="T53" fmla="*/ 9231720 h 236"/>
                <a:gd name="T54" fmla="*/ 3524 w 232"/>
                <a:gd name="T55" fmla="*/ 9060744 h 236"/>
                <a:gd name="T56" fmla="*/ 2930 w 232"/>
                <a:gd name="T57" fmla="*/ 9510272 h 236"/>
                <a:gd name="T58" fmla="*/ 10210 w 232"/>
                <a:gd name="T59" fmla="*/ 10830253 h 236"/>
                <a:gd name="T60" fmla="*/ 12821 w 232"/>
                <a:gd name="T61" fmla="*/ 12208184 h 236"/>
                <a:gd name="T62" fmla="*/ 8865 w 232"/>
                <a:gd name="T63" fmla="*/ 13086927 h 236"/>
                <a:gd name="T64" fmla="*/ 7124 w 232"/>
                <a:gd name="T65" fmla="*/ 14540189 h 236"/>
                <a:gd name="T66" fmla="*/ 15418 w 232"/>
                <a:gd name="T67" fmla="*/ 14405803 h 236"/>
                <a:gd name="T68" fmla="*/ 24295 w 232"/>
                <a:gd name="T69" fmla="*/ 14301527 h 2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2"/>
                <a:gd name="T106" fmla="*/ 0 h 236"/>
                <a:gd name="T107" fmla="*/ 232 w 232"/>
                <a:gd name="T108" fmla="*/ 236 h 2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2" h="236">
                  <a:moveTo>
                    <a:pt x="94" y="207"/>
                  </a:moveTo>
                  <a:lnTo>
                    <a:pt x="102" y="216"/>
                  </a:lnTo>
                  <a:lnTo>
                    <a:pt x="106" y="219"/>
                  </a:lnTo>
                  <a:lnTo>
                    <a:pt x="116" y="232"/>
                  </a:lnTo>
                  <a:lnTo>
                    <a:pt x="126" y="236"/>
                  </a:lnTo>
                  <a:lnTo>
                    <a:pt x="135" y="233"/>
                  </a:lnTo>
                  <a:lnTo>
                    <a:pt x="134" y="228"/>
                  </a:lnTo>
                  <a:lnTo>
                    <a:pt x="148" y="228"/>
                  </a:lnTo>
                  <a:lnTo>
                    <a:pt x="163" y="225"/>
                  </a:lnTo>
                  <a:lnTo>
                    <a:pt x="168" y="226"/>
                  </a:lnTo>
                  <a:lnTo>
                    <a:pt x="161" y="203"/>
                  </a:lnTo>
                  <a:lnTo>
                    <a:pt x="154" y="203"/>
                  </a:lnTo>
                  <a:lnTo>
                    <a:pt x="151" y="190"/>
                  </a:lnTo>
                  <a:lnTo>
                    <a:pt x="139" y="184"/>
                  </a:lnTo>
                  <a:lnTo>
                    <a:pt x="148" y="162"/>
                  </a:lnTo>
                  <a:lnTo>
                    <a:pt x="154" y="164"/>
                  </a:lnTo>
                  <a:lnTo>
                    <a:pt x="168" y="164"/>
                  </a:lnTo>
                  <a:lnTo>
                    <a:pt x="179" y="148"/>
                  </a:lnTo>
                  <a:lnTo>
                    <a:pt x="189" y="133"/>
                  </a:lnTo>
                  <a:lnTo>
                    <a:pt x="196" y="120"/>
                  </a:lnTo>
                  <a:lnTo>
                    <a:pt x="202" y="107"/>
                  </a:lnTo>
                  <a:lnTo>
                    <a:pt x="199" y="94"/>
                  </a:lnTo>
                  <a:lnTo>
                    <a:pt x="209" y="87"/>
                  </a:lnTo>
                  <a:lnTo>
                    <a:pt x="203" y="81"/>
                  </a:lnTo>
                  <a:lnTo>
                    <a:pt x="196" y="75"/>
                  </a:lnTo>
                  <a:lnTo>
                    <a:pt x="190" y="71"/>
                  </a:lnTo>
                  <a:lnTo>
                    <a:pt x="186" y="61"/>
                  </a:lnTo>
                  <a:lnTo>
                    <a:pt x="186" y="56"/>
                  </a:lnTo>
                  <a:lnTo>
                    <a:pt x="179" y="48"/>
                  </a:lnTo>
                  <a:lnTo>
                    <a:pt x="179" y="42"/>
                  </a:lnTo>
                  <a:lnTo>
                    <a:pt x="202" y="45"/>
                  </a:lnTo>
                  <a:lnTo>
                    <a:pt x="219" y="39"/>
                  </a:lnTo>
                  <a:lnTo>
                    <a:pt x="232" y="27"/>
                  </a:lnTo>
                  <a:lnTo>
                    <a:pt x="212" y="21"/>
                  </a:lnTo>
                  <a:lnTo>
                    <a:pt x="202" y="16"/>
                  </a:lnTo>
                  <a:lnTo>
                    <a:pt x="195" y="4"/>
                  </a:lnTo>
                  <a:lnTo>
                    <a:pt x="177" y="0"/>
                  </a:lnTo>
                  <a:lnTo>
                    <a:pt x="158" y="2"/>
                  </a:lnTo>
                  <a:lnTo>
                    <a:pt x="141" y="7"/>
                  </a:lnTo>
                  <a:lnTo>
                    <a:pt x="134" y="18"/>
                  </a:lnTo>
                  <a:lnTo>
                    <a:pt x="141" y="33"/>
                  </a:lnTo>
                  <a:lnTo>
                    <a:pt x="136" y="46"/>
                  </a:lnTo>
                  <a:lnTo>
                    <a:pt x="135" y="55"/>
                  </a:lnTo>
                  <a:lnTo>
                    <a:pt x="122" y="55"/>
                  </a:lnTo>
                  <a:lnTo>
                    <a:pt x="131" y="65"/>
                  </a:lnTo>
                  <a:lnTo>
                    <a:pt x="118" y="75"/>
                  </a:lnTo>
                  <a:lnTo>
                    <a:pt x="116" y="95"/>
                  </a:lnTo>
                  <a:lnTo>
                    <a:pt x="102" y="94"/>
                  </a:lnTo>
                  <a:lnTo>
                    <a:pt x="99" y="100"/>
                  </a:lnTo>
                  <a:lnTo>
                    <a:pt x="83" y="106"/>
                  </a:lnTo>
                  <a:lnTo>
                    <a:pt x="81" y="120"/>
                  </a:lnTo>
                  <a:lnTo>
                    <a:pt x="81" y="127"/>
                  </a:lnTo>
                  <a:lnTo>
                    <a:pt x="65" y="132"/>
                  </a:lnTo>
                  <a:lnTo>
                    <a:pt x="48" y="135"/>
                  </a:lnTo>
                  <a:lnTo>
                    <a:pt x="25" y="136"/>
                  </a:lnTo>
                  <a:lnTo>
                    <a:pt x="12" y="132"/>
                  </a:lnTo>
                  <a:lnTo>
                    <a:pt x="0" y="127"/>
                  </a:lnTo>
                  <a:lnTo>
                    <a:pt x="10" y="139"/>
                  </a:lnTo>
                  <a:lnTo>
                    <a:pt x="20" y="152"/>
                  </a:lnTo>
                  <a:lnTo>
                    <a:pt x="33" y="158"/>
                  </a:lnTo>
                  <a:lnTo>
                    <a:pt x="38" y="175"/>
                  </a:lnTo>
                  <a:lnTo>
                    <a:pt x="42" y="178"/>
                  </a:lnTo>
                  <a:lnTo>
                    <a:pt x="43" y="186"/>
                  </a:lnTo>
                  <a:lnTo>
                    <a:pt x="29" y="191"/>
                  </a:lnTo>
                  <a:lnTo>
                    <a:pt x="23" y="197"/>
                  </a:lnTo>
                  <a:lnTo>
                    <a:pt x="23" y="212"/>
                  </a:lnTo>
                  <a:lnTo>
                    <a:pt x="36" y="210"/>
                  </a:lnTo>
                  <a:lnTo>
                    <a:pt x="51" y="210"/>
                  </a:lnTo>
                  <a:lnTo>
                    <a:pt x="62" y="210"/>
                  </a:lnTo>
                  <a:lnTo>
                    <a:pt x="80" y="209"/>
                  </a:lnTo>
                  <a:lnTo>
                    <a:pt x="94" y="20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7" name="Freeform 150">
              <a:extLst>
                <a:ext uri="{FF2B5EF4-FFF2-40B4-BE49-F238E27FC236}">
                  <a16:creationId xmlns:a16="http://schemas.microsoft.com/office/drawing/2014/main" id="{9FCB481D-A3C9-90B9-C0F8-BC0712859D7A}"/>
                </a:ext>
              </a:extLst>
            </p:cNvPr>
            <p:cNvSpPr>
              <a:spLocks/>
            </p:cNvSpPr>
            <p:nvPr/>
          </p:nvSpPr>
          <p:spPr bwMode="auto">
            <a:xfrm>
              <a:off x="6043962" y="2598579"/>
              <a:ext cx="385398" cy="323466"/>
            </a:xfrm>
            <a:custGeom>
              <a:avLst/>
              <a:gdLst>
                <a:gd name="T0" fmla="*/ 1 w 201"/>
                <a:gd name="T1" fmla="*/ 5025974 h 161"/>
                <a:gd name="T2" fmla="*/ 0 w 201"/>
                <a:gd name="T3" fmla="*/ 5318736 h 161"/>
                <a:gd name="T4" fmla="*/ 0 w 201"/>
                <a:gd name="T5" fmla="*/ 5832325 h 161"/>
                <a:gd name="T6" fmla="*/ 1552 w 201"/>
                <a:gd name="T7" fmla="*/ 6305566 h 161"/>
                <a:gd name="T8" fmla="*/ 1552 w 201"/>
                <a:gd name="T9" fmla="*/ 6499124 h 161"/>
                <a:gd name="T10" fmla="*/ 2661 w 201"/>
                <a:gd name="T11" fmla="*/ 7519633 h 161"/>
                <a:gd name="T12" fmla="*/ 3207 w 201"/>
                <a:gd name="T13" fmla="*/ 8698031 h 161"/>
                <a:gd name="T14" fmla="*/ 7132 w 201"/>
                <a:gd name="T15" fmla="*/ 9047113 h 161"/>
                <a:gd name="T16" fmla="*/ 7946 w 201"/>
                <a:gd name="T17" fmla="*/ 9553316 h 161"/>
                <a:gd name="T18" fmla="*/ 5500 w 201"/>
                <a:gd name="T19" fmla="*/ 11021499 h 161"/>
                <a:gd name="T20" fmla="*/ 8551 w 201"/>
                <a:gd name="T21" fmla="*/ 11358822 h 161"/>
                <a:gd name="T22" fmla="*/ 12293 w 201"/>
                <a:gd name="T23" fmla="*/ 11681373 h 161"/>
                <a:gd name="T24" fmla="*/ 18495 w 201"/>
                <a:gd name="T25" fmla="*/ 11605995 h 161"/>
                <a:gd name="T26" fmla="*/ 23456 w 201"/>
                <a:gd name="T27" fmla="*/ 11358822 h 161"/>
                <a:gd name="T28" fmla="*/ 27768 w 201"/>
                <a:gd name="T29" fmla="*/ 11021499 h 161"/>
                <a:gd name="T30" fmla="*/ 27768 w 201"/>
                <a:gd name="T31" fmla="*/ 10509764 h 161"/>
                <a:gd name="T32" fmla="*/ 28168 w 201"/>
                <a:gd name="T33" fmla="*/ 9494461 h 161"/>
                <a:gd name="T34" fmla="*/ 32560 w 201"/>
                <a:gd name="T35" fmla="*/ 9047113 h 161"/>
                <a:gd name="T36" fmla="*/ 33721 w 201"/>
                <a:gd name="T37" fmla="*/ 8645357 h 161"/>
                <a:gd name="T38" fmla="*/ 37564 w 201"/>
                <a:gd name="T39" fmla="*/ 8698031 h 161"/>
                <a:gd name="T40" fmla="*/ 37928 w 201"/>
                <a:gd name="T41" fmla="*/ 7211177 h 161"/>
                <a:gd name="T42" fmla="*/ 41761 w 201"/>
                <a:gd name="T43" fmla="*/ 6499124 h 161"/>
                <a:gd name="T44" fmla="*/ 39040 w 201"/>
                <a:gd name="T45" fmla="*/ 5818803 h 161"/>
                <a:gd name="T46" fmla="*/ 42800 w 201"/>
                <a:gd name="T47" fmla="*/ 5818803 h 161"/>
                <a:gd name="T48" fmla="*/ 42986 w 201"/>
                <a:gd name="T49" fmla="*/ 5126888 h 161"/>
                <a:gd name="T50" fmla="*/ 44520 w 201"/>
                <a:gd name="T51" fmla="*/ 4199629 h 161"/>
                <a:gd name="T52" fmla="*/ 42288 w 201"/>
                <a:gd name="T53" fmla="*/ 3153460 h 161"/>
                <a:gd name="T54" fmla="*/ 44520 w 201"/>
                <a:gd name="T55" fmla="*/ 2330077 h 161"/>
                <a:gd name="T56" fmla="*/ 49250 w 201"/>
                <a:gd name="T57" fmla="*/ 1970043 h 161"/>
                <a:gd name="T58" fmla="*/ 54525 w 201"/>
                <a:gd name="T59" fmla="*/ 1849247 h 161"/>
                <a:gd name="T60" fmla="*/ 54155 w 201"/>
                <a:gd name="T61" fmla="*/ 1467434 h 161"/>
                <a:gd name="T62" fmla="*/ 55302 w 201"/>
                <a:gd name="T63" fmla="*/ 1467434 h 161"/>
                <a:gd name="T64" fmla="*/ 55887 w 201"/>
                <a:gd name="T65" fmla="*/ 1467434 h 161"/>
                <a:gd name="T66" fmla="*/ 51985 w 201"/>
                <a:gd name="T67" fmla="*/ 1373060 h 161"/>
                <a:gd name="T68" fmla="*/ 50704 w 201"/>
                <a:gd name="T69" fmla="*/ 1373060 h 161"/>
                <a:gd name="T70" fmla="*/ 47405 w 201"/>
                <a:gd name="T71" fmla="*/ 1373060 h 161"/>
                <a:gd name="T72" fmla="*/ 42288 w 201"/>
                <a:gd name="T73" fmla="*/ 2105449 h 161"/>
                <a:gd name="T74" fmla="*/ 40693 w 201"/>
                <a:gd name="T75" fmla="*/ 496822 h 161"/>
                <a:gd name="T76" fmla="*/ 39530 w 201"/>
                <a:gd name="T77" fmla="*/ 496822 h 161"/>
                <a:gd name="T78" fmla="*/ 38224 w 201"/>
                <a:gd name="T79" fmla="*/ 0 h 161"/>
                <a:gd name="T80" fmla="*/ 36247 w 201"/>
                <a:gd name="T81" fmla="*/ 225818 h 161"/>
                <a:gd name="T82" fmla="*/ 35851 w 201"/>
                <a:gd name="T83" fmla="*/ 956981 h 161"/>
                <a:gd name="T84" fmla="*/ 32560 w 201"/>
                <a:gd name="T85" fmla="*/ 1373060 h 161"/>
                <a:gd name="T86" fmla="*/ 31880 w 201"/>
                <a:gd name="T87" fmla="*/ 1623993 h 161"/>
                <a:gd name="T88" fmla="*/ 29129 w 201"/>
                <a:gd name="T89" fmla="*/ 1623993 h 161"/>
                <a:gd name="T90" fmla="*/ 26589 w 201"/>
                <a:gd name="T91" fmla="*/ 1643259 h 161"/>
                <a:gd name="T92" fmla="*/ 25406 w 201"/>
                <a:gd name="T93" fmla="*/ 1467434 h 161"/>
                <a:gd name="T94" fmla="*/ 21189 w 201"/>
                <a:gd name="T95" fmla="*/ 1185977 h 161"/>
                <a:gd name="T96" fmla="*/ 17065 w 201"/>
                <a:gd name="T97" fmla="*/ 1145302 h 161"/>
                <a:gd name="T98" fmla="*/ 15755 w 201"/>
                <a:gd name="T99" fmla="*/ 1467434 h 161"/>
                <a:gd name="T100" fmla="*/ 14147 w 201"/>
                <a:gd name="T101" fmla="*/ 1858338 h 161"/>
                <a:gd name="T102" fmla="*/ 12642 w 201"/>
                <a:gd name="T103" fmla="*/ 2826583 h 161"/>
                <a:gd name="T104" fmla="*/ 8880 w 201"/>
                <a:gd name="T105" fmla="*/ 3343153 h 161"/>
                <a:gd name="T106" fmla="*/ 7907 w 201"/>
                <a:gd name="T107" fmla="*/ 4141531 h 161"/>
                <a:gd name="T108" fmla="*/ 5500 w 201"/>
                <a:gd name="T109" fmla="*/ 3973326 h 161"/>
                <a:gd name="T110" fmla="*/ 1079 w 201"/>
                <a:gd name="T111" fmla="*/ 3502953 h 161"/>
                <a:gd name="T112" fmla="*/ 1 w 201"/>
                <a:gd name="T113" fmla="*/ 5025974 h 1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1"/>
                <a:gd name="T172" fmla="*/ 0 h 161"/>
                <a:gd name="T173" fmla="*/ 201 w 201"/>
                <a:gd name="T174" fmla="*/ 161 h 16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1" h="161">
                  <a:moveTo>
                    <a:pt x="1" y="70"/>
                  </a:moveTo>
                  <a:lnTo>
                    <a:pt x="0" y="73"/>
                  </a:lnTo>
                  <a:lnTo>
                    <a:pt x="0" y="81"/>
                  </a:lnTo>
                  <a:lnTo>
                    <a:pt x="6" y="87"/>
                  </a:lnTo>
                  <a:lnTo>
                    <a:pt x="6" y="90"/>
                  </a:lnTo>
                  <a:lnTo>
                    <a:pt x="9" y="104"/>
                  </a:lnTo>
                  <a:lnTo>
                    <a:pt x="12" y="120"/>
                  </a:lnTo>
                  <a:lnTo>
                    <a:pt x="26" y="125"/>
                  </a:lnTo>
                  <a:lnTo>
                    <a:pt x="29" y="132"/>
                  </a:lnTo>
                  <a:lnTo>
                    <a:pt x="19" y="152"/>
                  </a:lnTo>
                  <a:lnTo>
                    <a:pt x="31" y="157"/>
                  </a:lnTo>
                  <a:lnTo>
                    <a:pt x="44" y="161"/>
                  </a:lnTo>
                  <a:lnTo>
                    <a:pt x="67" y="160"/>
                  </a:lnTo>
                  <a:lnTo>
                    <a:pt x="84" y="157"/>
                  </a:lnTo>
                  <a:lnTo>
                    <a:pt x="100" y="152"/>
                  </a:lnTo>
                  <a:lnTo>
                    <a:pt x="100" y="145"/>
                  </a:lnTo>
                  <a:lnTo>
                    <a:pt x="102" y="131"/>
                  </a:lnTo>
                  <a:lnTo>
                    <a:pt x="118" y="125"/>
                  </a:lnTo>
                  <a:lnTo>
                    <a:pt x="121" y="119"/>
                  </a:lnTo>
                  <a:lnTo>
                    <a:pt x="135" y="120"/>
                  </a:lnTo>
                  <a:lnTo>
                    <a:pt x="137" y="100"/>
                  </a:lnTo>
                  <a:lnTo>
                    <a:pt x="150" y="90"/>
                  </a:lnTo>
                  <a:lnTo>
                    <a:pt x="141" y="80"/>
                  </a:lnTo>
                  <a:lnTo>
                    <a:pt x="154" y="80"/>
                  </a:lnTo>
                  <a:lnTo>
                    <a:pt x="155" y="71"/>
                  </a:lnTo>
                  <a:lnTo>
                    <a:pt x="160" y="58"/>
                  </a:lnTo>
                  <a:lnTo>
                    <a:pt x="153" y="43"/>
                  </a:lnTo>
                  <a:lnTo>
                    <a:pt x="160" y="32"/>
                  </a:lnTo>
                  <a:lnTo>
                    <a:pt x="177" y="27"/>
                  </a:lnTo>
                  <a:lnTo>
                    <a:pt x="196" y="25"/>
                  </a:lnTo>
                  <a:lnTo>
                    <a:pt x="195" y="20"/>
                  </a:lnTo>
                  <a:lnTo>
                    <a:pt x="199" y="20"/>
                  </a:lnTo>
                  <a:lnTo>
                    <a:pt x="201" y="20"/>
                  </a:lnTo>
                  <a:lnTo>
                    <a:pt x="187" y="19"/>
                  </a:lnTo>
                  <a:lnTo>
                    <a:pt x="183" y="19"/>
                  </a:lnTo>
                  <a:lnTo>
                    <a:pt x="171" y="19"/>
                  </a:lnTo>
                  <a:lnTo>
                    <a:pt x="153" y="29"/>
                  </a:lnTo>
                  <a:lnTo>
                    <a:pt x="147" y="7"/>
                  </a:lnTo>
                  <a:lnTo>
                    <a:pt x="142" y="7"/>
                  </a:lnTo>
                  <a:lnTo>
                    <a:pt x="138" y="0"/>
                  </a:lnTo>
                  <a:lnTo>
                    <a:pt x="131" y="3"/>
                  </a:lnTo>
                  <a:lnTo>
                    <a:pt x="129" y="13"/>
                  </a:lnTo>
                  <a:lnTo>
                    <a:pt x="118" y="19"/>
                  </a:lnTo>
                  <a:lnTo>
                    <a:pt x="115" y="22"/>
                  </a:lnTo>
                  <a:lnTo>
                    <a:pt x="105" y="22"/>
                  </a:lnTo>
                  <a:lnTo>
                    <a:pt x="96" y="23"/>
                  </a:lnTo>
                  <a:lnTo>
                    <a:pt x="92" y="20"/>
                  </a:lnTo>
                  <a:lnTo>
                    <a:pt x="77" y="17"/>
                  </a:lnTo>
                  <a:lnTo>
                    <a:pt x="62" y="16"/>
                  </a:lnTo>
                  <a:lnTo>
                    <a:pt x="57" y="20"/>
                  </a:lnTo>
                  <a:lnTo>
                    <a:pt x="51" y="26"/>
                  </a:lnTo>
                  <a:lnTo>
                    <a:pt x="45" y="39"/>
                  </a:lnTo>
                  <a:lnTo>
                    <a:pt x="32" y="46"/>
                  </a:lnTo>
                  <a:lnTo>
                    <a:pt x="28" y="57"/>
                  </a:lnTo>
                  <a:lnTo>
                    <a:pt x="19" y="55"/>
                  </a:lnTo>
                  <a:lnTo>
                    <a:pt x="4" y="49"/>
                  </a:lnTo>
                  <a:lnTo>
                    <a:pt x="1" y="7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08" name="Freeform 151">
              <a:extLst>
                <a:ext uri="{FF2B5EF4-FFF2-40B4-BE49-F238E27FC236}">
                  <a16:creationId xmlns:a16="http://schemas.microsoft.com/office/drawing/2014/main" id="{AFD60B53-4D5C-150C-F79B-7A299E1D19E6}"/>
                </a:ext>
              </a:extLst>
            </p:cNvPr>
            <p:cNvSpPr>
              <a:spLocks/>
            </p:cNvSpPr>
            <p:nvPr/>
          </p:nvSpPr>
          <p:spPr bwMode="auto">
            <a:xfrm>
              <a:off x="5933621" y="1456578"/>
              <a:ext cx="25587" cy="4556"/>
            </a:xfrm>
            <a:custGeom>
              <a:avLst/>
              <a:gdLst>
                <a:gd name="T0" fmla="*/ 8391 w 13"/>
                <a:gd name="T1" fmla="*/ 0 h 3"/>
                <a:gd name="T2" fmla="*/ 2 w 13"/>
                <a:gd name="T3" fmla="*/ 20671 h 3"/>
                <a:gd name="T4" fmla="*/ 0 w 13"/>
                <a:gd name="T5" fmla="*/ 0 h 3"/>
                <a:gd name="T6" fmla="*/ 8391 w 13"/>
                <a:gd name="T7" fmla="*/ 0 h 3"/>
                <a:gd name="T8" fmla="*/ 0 60000 65536"/>
                <a:gd name="T9" fmla="*/ 0 60000 65536"/>
                <a:gd name="T10" fmla="*/ 0 60000 65536"/>
                <a:gd name="T11" fmla="*/ 0 60000 65536"/>
                <a:gd name="T12" fmla="*/ 0 w 13"/>
                <a:gd name="T13" fmla="*/ 0 h 3"/>
                <a:gd name="T14" fmla="*/ 13 w 13"/>
                <a:gd name="T15" fmla="*/ 3 h 3"/>
              </a:gdLst>
              <a:ahLst/>
              <a:cxnLst>
                <a:cxn ang="T8">
                  <a:pos x="T0" y="T1"/>
                </a:cxn>
                <a:cxn ang="T9">
                  <a:pos x="T2" y="T3"/>
                </a:cxn>
                <a:cxn ang="T10">
                  <a:pos x="T4" y="T5"/>
                </a:cxn>
                <a:cxn ang="T11">
                  <a:pos x="T6" y="T7"/>
                </a:cxn>
              </a:cxnLst>
              <a:rect l="T12" t="T13" r="T14" b="T15"/>
              <a:pathLst>
                <a:path w="13" h="3">
                  <a:moveTo>
                    <a:pt x="13" y="0"/>
                  </a:moveTo>
                  <a:lnTo>
                    <a:pt x="2" y="3"/>
                  </a:lnTo>
                  <a:lnTo>
                    <a:pt x="0" y="0"/>
                  </a:lnTo>
                  <a:lnTo>
                    <a:pt x="13" y="0"/>
                  </a:lnTo>
                  <a:close/>
                </a:path>
              </a:pathLst>
            </a:custGeom>
            <a:solidFill>
              <a:srgbClr val="8B8D8D">
                <a:lumMod val="40000"/>
                <a:lumOff val="60000"/>
              </a:srgbClr>
            </a:solidFill>
            <a:ln w="1588">
              <a:solidFill>
                <a:schemeClr val="bg1"/>
              </a:solidFill>
              <a:prstDash val="solid"/>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grpSp>
          <p:nvGrpSpPr>
            <p:cNvPr id="209" name="Group 152">
              <a:extLst>
                <a:ext uri="{FF2B5EF4-FFF2-40B4-BE49-F238E27FC236}">
                  <a16:creationId xmlns:a16="http://schemas.microsoft.com/office/drawing/2014/main" id="{0FEDA653-AA0A-BBB2-F1C5-B10225EEA76D}"/>
                </a:ext>
              </a:extLst>
            </p:cNvPr>
            <p:cNvGrpSpPr>
              <a:grpSpLocks/>
            </p:cNvGrpSpPr>
            <p:nvPr/>
          </p:nvGrpSpPr>
          <p:grpSpPr bwMode="auto">
            <a:xfrm>
              <a:off x="4940537" y="1265265"/>
              <a:ext cx="3988306" cy="3103324"/>
              <a:chOff x="3266" y="737"/>
              <a:chExt cx="2494" cy="2213"/>
            </a:xfrm>
            <a:solidFill>
              <a:srgbClr val="8B8D8D">
                <a:lumMod val="40000"/>
                <a:lumOff val="60000"/>
              </a:srgbClr>
            </a:solidFill>
          </p:grpSpPr>
          <p:sp>
            <p:nvSpPr>
              <p:cNvPr id="338" name="Freeform 153">
                <a:extLst>
                  <a:ext uri="{FF2B5EF4-FFF2-40B4-BE49-F238E27FC236}">
                    <a16:creationId xmlns:a16="http://schemas.microsoft.com/office/drawing/2014/main" id="{0F9DFEE0-1D50-4808-5A45-7809F6812668}"/>
                  </a:ext>
                </a:extLst>
              </p:cNvPr>
              <p:cNvSpPr>
                <a:spLocks/>
              </p:cNvSpPr>
              <p:nvPr/>
            </p:nvSpPr>
            <p:spPr bwMode="auto">
              <a:xfrm>
                <a:off x="3266" y="772"/>
                <a:ext cx="2257" cy="834"/>
              </a:xfrm>
              <a:custGeom>
                <a:avLst/>
                <a:gdLst>
                  <a:gd name="T0" fmla="*/ 460843 w 1881"/>
                  <a:gd name="T1" fmla="*/ 9186097 h 581"/>
                  <a:gd name="T2" fmla="*/ 417617 w 1881"/>
                  <a:gd name="T3" fmla="*/ 7130111 h 581"/>
                  <a:gd name="T4" fmla="*/ 377026 w 1881"/>
                  <a:gd name="T5" fmla="*/ 5981642 h 581"/>
                  <a:gd name="T6" fmla="*/ 347067 w 1881"/>
                  <a:gd name="T7" fmla="*/ 5079668 h 581"/>
                  <a:gd name="T8" fmla="*/ 335655 w 1881"/>
                  <a:gd name="T9" fmla="*/ 6214027 h 581"/>
                  <a:gd name="T10" fmla="*/ 304136 w 1881"/>
                  <a:gd name="T11" fmla="*/ 5424990 h 581"/>
                  <a:gd name="T12" fmla="*/ 252764 w 1881"/>
                  <a:gd name="T13" fmla="*/ 3667007 h 581"/>
                  <a:gd name="T14" fmla="*/ 247484 w 1881"/>
                  <a:gd name="T15" fmla="*/ 2137275 h 581"/>
                  <a:gd name="T16" fmla="*/ 220544 w 1881"/>
                  <a:gd name="T17" fmla="*/ 1037243 h 581"/>
                  <a:gd name="T18" fmla="*/ 199066 w 1881"/>
                  <a:gd name="T19" fmla="*/ 1211370 h 581"/>
                  <a:gd name="T20" fmla="*/ 169561 w 1881"/>
                  <a:gd name="T21" fmla="*/ 2933707 h 581"/>
                  <a:gd name="T22" fmla="*/ 159910 w 1881"/>
                  <a:gd name="T23" fmla="*/ 5263825 h 581"/>
                  <a:gd name="T24" fmla="*/ 169009 w 1881"/>
                  <a:gd name="T25" fmla="*/ 6044999 h 581"/>
                  <a:gd name="T26" fmla="*/ 144772 w 1881"/>
                  <a:gd name="T27" fmla="*/ 6240554 h 581"/>
                  <a:gd name="T28" fmla="*/ 155243 w 1881"/>
                  <a:gd name="T29" fmla="*/ 8838751 h 581"/>
                  <a:gd name="T30" fmla="*/ 153704 w 1881"/>
                  <a:gd name="T31" fmla="*/ 10466828 h 581"/>
                  <a:gd name="T32" fmla="*/ 145257 w 1881"/>
                  <a:gd name="T33" fmla="*/ 11312500 h 581"/>
                  <a:gd name="T34" fmla="*/ 121097 w 1881"/>
                  <a:gd name="T35" fmla="*/ 4851637 h 581"/>
                  <a:gd name="T36" fmla="*/ 132276 w 1881"/>
                  <a:gd name="T37" fmla="*/ 9186097 h 581"/>
                  <a:gd name="T38" fmla="*/ 101990 w 1881"/>
                  <a:gd name="T39" fmla="*/ 9778309 h 581"/>
                  <a:gd name="T40" fmla="*/ 84083 w 1881"/>
                  <a:gd name="T41" fmla="*/ 8958038 h 581"/>
                  <a:gd name="T42" fmla="*/ 54895 w 1881"/>
                  <a:gd name="T43" fmla="*/ 10747913 h 581"/>
                  <a:gd name="T44" fmla="*/ 51240 w 1881"/>
                  <a:gd name="T45" fmla="*/ 11920818 h 581"/>
                  <a:gd name="T46" fmla="*/ 36957 w 1881"/>
                  <a:gd name="T47" fmla="*/ 14691824 h 581"/>
                  <a:gd name="T48" fmla="*/ 15140 w 1881"/>
                  <a:gd name="T49" fmla="*/ 11312500 h 581"/>
                  <a:gd name="T50" fmla="*/ 13844 w 1881"/>
                  <a:gd name="T51" fmla="*/ 8958038 h 581"/>
                  <a:gd name="T52" fmla="*/ 3224 w 1881"/>
                  <a:gd name="T53" fmla="*/ 8396160 h 581"/>
                  <a:gd name="T54" fmla="*/ 10984 w 1881"/>
                  <a:gd name="T55" fmla="*/ 14691824 h 581"/>
                  <a:gd name="T56" fmla="*/ 7541 w 1881"/>
                  <a:gd name="T57" fmla="*/ 18957894 h 581"/>
                  <a:gd name="T58" fmla="*/ 16611 w 1881"/>
                  <a:gd name="T59" fmla="*/ 24620003 h 581"/>
                  <a:gd name="T60" fmla="*/ 42963 w 1881"/>
                  <a:gd name="T61" fmla="*/ 30439385 h 581"/>
                  <a:gd name="T62" fmla="*/ 58401 w 1881"/>
                  <a:gd name="T63" fmla="*/ 36145286 h 581"/>
                  <a:gd name="T64" fmla="*/ 58990 w 1881"/>
                  <a:gd name="T65" fmla="*/ 39002279 h 581"/>
                  <a:gd name="T66" fmla="*/ 106215 w 1881"/>
                  <a:gd name="T67" fmla="*/ 42735750 h 581"/>
                  <a:gd name="T68" fmla="*/ 102757 w 1881"/>
                  <a:gd name="T69" fmla="*/ 36725302 h 581"/>
                  <a:gd name="T70" fmla="*/ 99502 w 1881"/>
                  <a:gd name="T71" fmla="*/ 29876503 h 581"/>
                  <a:gd name="T72" fmla="*/ 136537 w 1881"/>
                  <a:gd name="T73" fmla="*/ 29054940 h 581"/>
                  <a:gd name="T74" fmla="*/ 166124 w 1881"/>
                  <a:gd name="T75" fmla="*/ 25196573 h 581"/>
                  <a:gd name="T76" fmla="*/ 196372 w 1881"/>
                  <a:gd name="T77" fmla="*/ 26906718 h 581"/>
                  <a:gd name="T78" fmla="*/ 237758 w 1881"/>
                  <a:gd name="T79" fmla="*/ 32151964 h 581"/>
                  <a:gd name="T80" fmla="*/ 273415 w 1881"/>
                  <a:gd name="T81" fmla="*/ 31631548 h 581"/>
                  <a:gd name="T82" fmla="*/ 308271 w 1881"/>
                  <a:gd name="T83" fmla="*/ 31743881 h 581"/>
                  <a:gd name="T84" fmla="*/ 358090 w 1881"/>
                  <a:gd name="T85" fmla="*/ 31986002 h 581"/>
                  <a:gd name="T86" fmla="*/ 372725 w 1881"/>
                  <a:gd name="T87" fmla="*/ 27657197 h 581"/>
                  <a:gd name="T88" fmla="*/ 419485 w 1881"/>
                  <a:gd name="T89" fmla="*/ 33427912 h 581"/>
                  <a:gd name="T90" fmla="*/ 437878 w 1881"/>
                  <a:gd name="T91" fmla="*/ 39916194 h 581"/>
                  <a:gd name="T92" fmla="*/ 445734 w 1881"/>
                  <a:gd name="T93" fmla="*/ 41075307 h 581"/>
                  <a:gd name="T94" fmla="*/ 456383 w 1881"/>
                  <a:gd name="T95" fmla="*/ 33063421 h 581"/>
                  <a:gd name="T96" fmla="*/ 429497 w 1881"/>
                  <a:gd name="T97" fmla="*/ 26496109 h 581"/>
                  <a:gd name="T98" fmla="*/ 417784 w 1881"/>
                  <a:gd name="T99" fmla="*/ 23808321 h 581"/>
                  <a:gd name="T100" fmla="*/ 434621 w 1881"/>
                  <a:gd name="T101" fmla="*/ 20148519 h 581"/>
                  <a:gd name="T102" fmla="*/ 461647 w 1881"/>
                  <a:gd name="T103" fmla="*/ 20489560 h 581"/>
                  <a:gd name="T104" fmla="*/ 474636 w 1881"/>
                  <a:gd name="T105" fmla="*/ 18379865 h 581"/>
                  <a:gd name="T106" fmla="*/ 482864 w 1881"/>
                  <a:gd name="T107" fmla="*/ 16585902 h 581"/>
                  <a:gd name="T108" fmla="*/ 483257 w 1881"/>
                  <a:gd name="T109" fmla="*/ 23367005 h 581"/>
                  <a:gd name="T110" fmla="*/ 513000 w 1881"/>
                  <a:gd name="T111" fmla="*/ 27884895 h 581"/>
                  <a:gd name="T112" fmla="*/ 512568 w 1881"/>
                  <a:gd name="T113" fmla="*/ 24346853 h 581"/>
                  <a:gd name="T114" fmla="*/ 498714 w 1881"/>
                  <a:gd name="T115" fmla="*/ 19739379 h 581"/>
                  <a:gd name="T116" fmla="*/ 518960 w 1881"/>
                  <a:gd name="T117" fmla="*/ 18212525 h 581"/>
                  <a:gd name="T118" fmla="*/ 530628 w 1881"/>
                  <a:gd name="T119" fmla="*/ 15886364 h 581"/>
                  <a:gd name="T120" fmla="*/ 507166 w 1881"/>
                  <a:gd name="T121" fmla="*/ 11388034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81"/>
                  <a:gd name="T184" fmla="*/ 0 h 581"/>
                  <a:gd name="T185" fmla="*/ 1881 w 1881"/>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81" h="581">
                    <a:moveTo>
                      <a:pt x="1739" y="122"/>
                    </a:moveTo>
                    <a:lnTo>
                      <a:pt x="1704" y="116"/>
                    </a:lnTo>
                    <a:lnTo>
                      <a:pt x="1668" y="109"/>
                    </a:lnTo>
                    <a:lnTo>
                      <a:pt x="1637" y="109"/>
                    </a:lnTo>
                    <a:lnTo>
                      <a:pt x="1608" y="106"/>
                    </a:lnTo>
                    <a:lnTo>
                      <a:pt x="1618" y="113"/>
                    </a:lnTo>
                    <a:lnTo>
                      <a:pt x="1636" y="123"/>
                    </a:lnTo>
                    <a:lnTo>
                      <a:pt x="1633" y="125"/>
                    </a:lnTo>
                    <a:lnTo>
                      <a:pt x="1623" y="125"/>
                    </a:lnTo>
                    <a:lnTo>
                      <a:pt x="1607" y="119"/>
                    </a:lnTo>
                    <a:lnTo>
                      <a:pt x="1599" y="119"/>
                    </a:lnTo>
                    <a:lnTo>
                      <a:pt x="1582" y="110"/>
                    </a:lnTo>
                    <a:lnTo>
                      <a:pt x="1569" y="114"/>
                    </a:lnTo>
                    <a:lnTo>
                      <a:pt x="1522" y="112"/>
                    </a:lnTo>
                    <a:lnTo>
                      <a:pt x="1521" y="119"/>
                    </a:lnTo>
                    <a:lnTo>
                      <a:pt x="1505" y="113"/>
                    </a:lnTo>
                    <a:lnTo>
                      <a:pt x="1487" y="109"/>
                    </a:lnTo>
                    <a:lnTo>
                      <a:pt x="1470" y="97"/>
                    </a:lnTo>
                    <a:lnTo>
                      <a:pt x="1442" y="91"/>
                    </a:lnTo>
                    <a:lnTo>
                      <a:pt x="1413" y="93"/>
                    </a:lnTo>
                    <a:lnTo>
                      <a:pt x="1386" y="94"/>
                    </a:lnTo>
                    <a:lnTo>
                      <a:pt x="1378" y="93"/>
                    </a:lnTo>
                    <a:lnTo>
                      <a:pt x="1357" y="87"/>
                    </a:lnTo>
                    <a:lnTo>
                      <a:pt x="1349" y="90"/>
                    </a:lnTo>
                    <a:lnTo>
                      <a:pt x="1349" y="85"/>
                    </a:lnTo>
                    <a:lnTo>
                      <a:pt x="1342" y="84"/>
                    </a:lnTo>
                    <a:lnTo>
                      <a:pt x="1328" y="81"/>
                    </a:lnTo>
                    <a:lnTo>
                      <a:pt x="1335" y="80"/>
                    </a:lnTo>
                    <a:lnTo>
                      <a:pt x="1309" y="74"/>
                    </a:lnTo>
                    <a:lnTo>
                      <a:pt x="1293" y="77"/>
                    </a:lnTo>
                    <a:lnTo>
                      <a:pt x="1288" y="77"/>
                    </a:lnTo>
                    <a:lnTo>
                      <a:pt x="1291" y="74"/>
                    </a:lnTo>
                    <a:lnTo>
                      <a:pt x="1290" y="72"/>
                    </a:lnTo>
                    <a:lnTo>
                      <a:pt x="1251" y="69"/>
                    </a:lnTo>
                    <a:lnTo>
                      <a:pt x="1211" y="66"/>
                    </a:lnTo>
                    <a:lnTo>
                      <a:pt x="1222" y="69"/>
                    </a:lnTo>
                    <a:lnTo>
                      <a:pt x="1206" y="74"/>
                    </a:lnTo>
                    <a:lnTo>
                      <a:pt x="1211" y="75"/>
                    </a:lnTo>
                    <a:lnTo>
                      <a:pt x="1216" y="75"/>
                    </a:lnTo>
                    <a:lnTo>
                      <a:pt x="1222" y="80"/>
                    </a:lnTo>
                    <a:lnTo>
                      <a:pt x="1227" y="85"/>
                    </a:lnTo>
                    <a:lnTo>
                      <a:pt x="1208" y="84"/>
                    </a:lnTo>
                    <a:lnTo>
                      <a:pt x="1211" y="87"/>
                    </a:lnTo>
                    <a:lnTo>
                      <a:pt x="1214" y="91"/>
                    </a:lnTo>
                    <a:lnTo>
                      <a:pt x="1182" y="84"/>
                    </a:lnTo>
                    <a:lnTo>
                      <a:pt x="1172" y="87"/>
                    </a:lnTo>
                    <a:lnTo>
                      <a:pt x="1145" y="81"/>
                    </a:lnTo>
                    <a:lnTo>
                      <a:pt x="1140" y="80"/>
                    </a:lnTo>
                    <a:lnTo>
                      <a:pt x="1146" y="90"/>
                    </a:lnTo>
                    <a:lnTo>
                      <a:pt x="1143" y="96"/>
                    </a:lnTo>
                    <a:lnTo>
                      <a:pt x="1126" y="91"/>
                    </a:lnTo>
                    <a:lnTo>
                      <a:pt x="1102" y="82"/>
                    </a:lnTo>
                    <a:lnTo>
                      <a:pt x="1078" y="72"/>
                    </a:lnTo>
                    <a:lnTo>
                      <a:pt x="1070" y="74"/>
                    </a:lnTo>
                    <a:lnTo>
                      <a:pt x="1089" y="87"/>
                    </a:lnTo>
                    <a:lnTo>
                      <a:pt x="1063" y="72"/>
                    </a:lnTo>
                    <a:lnTo>
                      <a:pt x="1021" y="68"/>
                    </a:lnTo>
                    <a:lnTo>
                      <a:pt x="979" y="64"/>
                    </a:lnTo>
                    <a:lnTo>
                      <a:pt x="956" y="58"/>
                    </a:lnTo>
                    <a:lnTo>
                      <a:pt x="960" y="55"/>
                    </a:lnTo>
                    <a:lnTo>
                      <a:pt x="941" y="55"/>
                    </a:lnTo>
                    <a:lnTo>
                      <a:pt x="902" y="56"/>
                    </a:lnTo>
                    <a:lnTo>
                      <a:pt x="890" y="50"/>
                    </a:lnTo>
                    <a:lnTo>
                      <a:pt x="873" y="50"/>
                    </a:lnTo>
                    <a:lnTo>
                      <a:pt x="873" y="49"/>
                    </a:lnTo>
                    <a:lnTo>
                      <a:pt x="854" y="52"/>
                    </a:lnTo>
                    <a:lnTo>
                      <a:pt x="871" y="53"/>
                    </a:lnTo>
                    <a:lnTo>
                      <a:pt x="850" y="59"/>
                    </a:lnTo>
                    <a:lnTo>
                      <a:pt x="828" y="62"/>
                    </a:lnTo>
                    <a:lnTo>
                      <a:pt x="829" y="59"/>
                    </a:lnTo>
                    <a:lnTo>
                      <a:pt x="851" y="45"/>
                    </a:lnTo>
                    <a:lnTo>
                      <a:pt x="871" y="29"/>
                    </a:lnTo>
                    <a:lnTo>
                      <a:pt x="863" y="27"/>
                    </a:lnTo>
                    <a:lnTo>
                      <a:pt x="853" y="23"/>
                    </a:lnTo>
                    <a:lnTo>
                      <a:pt x="868" y="27"/>
                    </a:lnTo>
                    <a:lnTo>
                      <a:pt x="854" y="19"/>
                    </a:lnTo>
                    <a:lnTo>
                      <a:pt x="853" y="20"/>
                    </a:lnTo>
                    <a:lnTo>
                      <a:pt x="844" y="19"/>
                    </a:lnTo>
                    <a:lnTo>
                      <a:pt x="826" y="13"/>
                    </a:lnTo>
                    <a:lnTo>
                      <a:pt x="790" y="13"/>
                    </a:lnTo>
                    <a:lnTo>
                      <a:pt x="777" y="14"/>
                    </a:lnTo>
                    <a:lnTo>
                      <a:pt x="776" y="8"/>
                    </a:lnTo>
                    <a:lnTo>
                      <a:pt x="760" y="7"/>
                    </a:lnTo>
                    <a:lnTo>
                      <a:pt x="742" y="7"/>
                    </a:lnTo>
                    <a:lnTo>
                      <a:pt x="755" y="3"/>
                    </a:lnTo>
                    <a:lnTo>
                      <a:pt x="728" y="0"/>
                    </a:lnTo>
                    <a:lnTo>
                      <a:pt x="710" y="8"/>
                    </a:lnTo>
                    <a:lnTo>
                      <a:pt x="717" y="14"/>
                    </a:lnTo>
                    <a:lnTo>
                      <a:pt x="728" y="16"/>
                    </a:lnTo>
                    <a:lnTo>
                      <a:pt x="701" y="17"/>
                    </a:lnTo>
                    <a:lnTo>
                      <a:pt x="710" y="19"/>
                    </a:lnTo>
                    <a:lnTo>
                      <a:pt x="693" y="20"/>
                    </a:lnTo>
                    <a:lnTo>
                      <a:pt x="675" y="21"/>
                    </a:lnTo>
                    <a:lnTo>
                      <a:pt x="643" y="21"/>
                    </a:lnTo>
                    <a:lnTo>
                      <a:pt x="656" y="21"/>
                    </a:lnTo>
                    <a:lnTo>
                      <a:pt x="632" y="27"/>
                    </a:lnTo>
                    <a:lnTo>
                      <a:pt x="606" y="32"/>
                    </a:lnTo>
                    <a:lnTo>
                      <a:pt x="597" y="33"/>
                    </a:lnTo>
                    <a:lnTo>
                      <a:pt x="597" y="40"/>
                    </a:lnTo>
                    <a:lnTo>
                      <a:pt x="587" y="39"/>
                    </a:lnTo>
                    <a:lnTo>
                      <a:pt x="603" y="43"/>
                    </a:lnTo>
                    <a:lnTo>
                      <a:pt x="592" y="45"/>
                    </a:lnTo>
                    <a:lnTo>
                      <a:pt x="607" y="49"/>
                    </a:lnTo>
                    <a:lnTo>
                      <a:pt x="607" y="50"/>
                    </a:lnTo>
                    <a:lnTo>
                      <a:pt x="576" y="53"/>
                    </a:lnTo>
                    <a:lnTo>
                      <a:pt x="545" y="56"/>
                    </a:lnTo>
                    <a:lnTo>
                      <a:pt x="550" y="62"/>
                    </a:lnTo>
                    <a:lnTo>
                      <a:pt x="563" y="72"/>
                    </a:lnTo>
                    <a:lnTo>
                      <a:pt x="579" y="77"/>
                    </a:lnTo>
                    <a:lnTo>
                      <a:pt x="600" y="84"/>
                    </a:lnTo>
                    <a:lnTo>
                      <a:pt x="610" y="97"/>
                    </a:lnTo>
                    <a:lnTo>
                      <a:pt x="614" y="103"/>
                    </a:lnTo>
                    <a:lnTo>
                      <a:pt x="608" y="103"/>
                    </a:lnTo>
                    <a:lnTo>
                      <a:pt x="598" y="93"/>
                    </a:lnTo>
                    <a:lnTo>
                      <a:pt x="595" y="98"/>
                    </a:lnTo>
                    <a:lnTo>
                      <a:pt x="588" y="88"/>
                    </a:lnTo>
                    <a:lnTo>
                      <a:pt x="595" y="82"/>
                    </a:lnTo>
                    <a:lnTo>
                      <a:pt x="571" y="80"/>
                    </a:lnTo>
                    <a:lnTo>
                      <a:pt x="545" y="72"/>
                    </a:lnTo>
                    <a:lnTo>
                      <a:pt x="526" y="75"/>
                    </a:lnTo>
                    <a:lnTo>
                      <a:pt x="536" y="80"/>
                    </a:lnTo>
                    <a:lnTo>
                      <a:pt x="511" y="80"/>
                    </a:lnTo>
                    <a:lnTo>
                      <a:pt x="518" y="84"/>
                    </a:lnTo>
                    <a:lnTo>
                      <a:pt x="545" y="90"/>
                    </a:lnTo>
                    <a:lnTo>
                      <a:pt x="550" y="93"/>
                    </a:lnTo>
                    <a:lnTo>
                      <a:pt x="510" y="85"/>
                    </a:lnTo>
                    <a:lnTo>
                      <a:pt x="497" y="66"/>
                    </a:lnTo>
                    <a:lnTo>
                      <a:pt x="488" y="66"/>
                    </a:lnTo>
                    <a:lnTo>
                      <a:pt x="498" y="77"/>
                    </a:lnTo>
                    <a:lnTo>
                      <a:pt x="486" y="82"/>
                    </a:lnTo>
                    <a:lnTo>
                      <a:pt x="491" y="88"/>
                    </a:lnTo>
                    <a:lnTo>
                      <a:pt x="508" y="100"/>
                    </a:lnTo>
                    <a:lnTo>
                      <a:pt x="507" y="112"/>
                    </a:lnTo>
                    <a:lnTo>
                      <a:pt x="518" y="122"/>
                    </a:lnTo>
                    <a:lnTo>
                      <a:pt x="547" y="120"/>
                    </a:lnTo>
                    <a:lnTo>
                      <a:pt x="563" y="125"/>
                    </a:lnTo>
                    <a:lnTo>
                      <a:pt x="571" y="135"/>
                    </a:lnTo>
                    <a:lnTo>
                      <a:pt x="575" y="141"/>
                    </a:lnTo>
                    <a:lnTo>
                      <a:pt x="592" y="145"/>
                    </a:lnTo>
                    <a:lnTo>
                      <a:pt x="568" y="141"/>
                    </a:lnTo>
                    <a:lnTo>
                      <a:pt x="558" y="127"/>
                    </a:lnTo>
                    <a:lnTo>
                      <a:pt x="549" y="123"/>
                    </a:lnTo>
                    <a:lnTo>
                      <a:pt x="527" y="126"/>
                    </a:lnTo>
                    <a:lnTo>
                      <a:pt x="540" y="142"/>
                    </a:lnTo>
                    <a:lnTo>
                      <a:pt x="530" y="158"/>
                    </a:lnTo>
                    <a:lnTo>
                      <a:pt x="524" y="161"/>
                    </a:lnTo>
                    <a:lnTo>
                      <a:pt x="517" y="164"/>
                    </a:lnTo>
                    <a:lnTo>
                      <a:pt x="485" y="159"/>
                    </a:lnTo>
                    <a:lnTo>
                      <a:pt x="481" y="157"/>
                    </a:lnTo>
                    <a:lnTo>
                      <a:pt x="502" y="157"/>
                    </a:lnTo>
                    <a:lnTo>
                      <a:pt x="498" y="159"/>
                    </a:lnTo>
                    <a:lnTo>
                      <a:pt x="513" y="158"/>
                    </a:lnTo>
                    <a:lnTo>
                      <a:pt x="511" y="154"/>
                    </a:lnTo>
                    <a:lnTo>
                      <a:pt x="520" y="139"/>
                    </a:lnTo>
                    <a:lnTo>
                      <a:pt x="520" y="130"/>
                    </a:lnTo>
                    <a:lnTo>
                      <a:pt x="499" y="119"/>
                    </a:lnTo>
                    <a:lnTo>
                      <a:pt x="492" y="104"/>
                    </a:lnTo>
                    <a:lnTo>
                      <a:pt x="482" y="91"/>
                    </a:lnTo>
                    <a:lnTo>
                      <a:pt x="470" y="84"/>
                    </a:lnTo>
                    <a:lnTo>
                      <a:pt x="470" y="71"/>
                    </a:lnTo>
                    <a:lnTo>
                      <a:pt x="452" y="65"/>
                    </a:lnTo>
                    <a:lnTo>
                      <a:pt x="427" y="66"/>
                    </a:lnTo>
                    <a:lnTo>
                      <a:pt x="425" y="85"/>
                    </a:lnTo>
                    <a:lnTo>
                      <a:pt x="415" y="93"/>
                    </a:lnTo>
                    <a:lnTo>
                      <a:pt x="420" y="96"/>
                    </a:lnTo>
                    <a:lnTo>
                      <a:pt x="427" y="96"/>
                    </a:lnTo>
                    <a:lnTo>
                      <a:pt x="430" y="106"/>
                    </a:lnTo>
                    <a:lnTo>
                      <a:pt x="433" y="113"/>
                    </a:lnTo>
                    <a:lnTo>
                      <a:pt x="449" y="116"/>
                    </a:lnTo>
                    <a:lnTo>
                      <a:pt x="459" y="123"/>
                    </a:lnTo>
                    <a:lnTo>
                      <a:pt x="465" y="125"/>
                    </a:lnTo>
                    <a:lnTo>
                      <a:pt x="459" y="135"/>
                    </a:lnTo>
                    <a:lnTo>
                      <a:pt x="441" y="125"/>
                    </a:lnTo>
                    <a:lnTo>
                      <a:pt x="412" y="117"/>
                    </a:lnTo>
                    <a:lnTo>
                      <a:pt x="386" y="113"/>
                    </a:lnTo>
                    <a:lnTo>
                      <a:pt x="360" y="109"/>
                    </a:lnTo>
                    <a:lnTo>
                      <a:pt x="356" y="113"/>
                    </a:lnTo>
                    <a:lnTo>
                      <a:pt x="369" y="125"/>
                    </a:lnTo>
                    <a:lnTo>
                      <a:pt x="360" y="129"/>
                    </a:lnTo>
                    <a:lnTo>
                      <a:pt x="359" y="133"/>
                    </a:lnTo>
                    <a:lnTo>
                      <a:pt x="351" y="132"/>
                    </a:lnTo>
                    <a:lnTo>
                      <a:pt x="348" y="125"/>
                    </a:lnTo>
                    <a:lnTo>
                      <a:pt x="332" y="126"/>
                    </a:lnTo>
                    <a:lnTo>
                      <a:pt x="319" y="129"/>
                    </a:lnTo>
                    <a:lnTo>
                      <a:pt x="305" y="133"/>
                    </a:lnTo>
                    <a:lnTo>
                      <a:pt x="286" y="132"/>
                    </a:lnTo>
                    <a:lnTo>
                      <a:pt x="292" y="130"/>
                    </a:lnTo>
                    <a:lnTo>
                      <a:pt x="286" y="125"/>
                    </a:lnTo>
                    <a:lnTo>
                      <a:pt x="296" y="122"/>
                    </a:lnTo>
                    <a:lnTo>
                      <a:pt x="274" y="129"/>
                    </a:lnTo>
                    <a:lnTo>
                      <a:pt x="273" y="130"/>
                    </a:lnTo>
                    <a:lnTo>
                      <a:pt x="250" y="136"/>
                    </a:lnTo>
                    <a:lnTo>
                      <a:pt x="237" y="141"/>
                    </a:lnTo>
                    <a:lnTo>
                      <a:pt x="238" y="142"/>
                    </a:lnTo>
                    <a:lnTo>
                      <a:pt x="226" y="145"/>
                    </a:lnTo>
                    <a:lnTo>
                      <a:pt x="226" y="155"/>
                    </a:lnTo>
                    <a:lnTo>
                      <a:pt x="207" y="155"/>
                    </a:lnTo>
                    <a:lnTo>
                      <a:pt x="193" y="146"/>
                    </a:lnTo>
                    <a:lnTo>
                      <a:pt x="212" y="139"/>
                    </a:lnTo>
                    <a:lnTo>
                      <a:pt x="191" y="129"/>
                    </a:lnTo>
                    <a:lnTo>
                      <a:pt x="167" y="127"/>
                    </a:lnTo>
                    <a:lnTo>
                      <a:pt x="180" y="133"/>
                    </a:lnTo>
                    <a:lnTo>
                      <a:pt x="186" y="151"/>
                    </a:lnTo>
                    <a:lnTo>
                      <a:pt x="191" y="161"/>
                    </a:lnTo>
                    <a:lnTo>
                      <a:pt x="191" y="168"/>
                    </a:lnTo>
                    <a:lnTo>
                      <a:pt x="186" y="168"/>
                    </a:lnTo>
                    <a:lnTo>
                      <a:pt x="180" y="162"/>
                    </a:lnTo>
                    <a:lnTo>
                      <a:pt x="167" y="161"/>
                    </a:lnTo>
                    <a:lnTo>
                      <a:pt x="155" y="170"/>
                    </a:lnTo>
                    <a:lnTo>
                      <a:pt x="144" y="178"/>
                    </a:lnTo>
                    <a:lnTo>
                      <a:pt x="155" y="191"/>
                    </a:lnTo>
                    <a:lnTo>
                      <a:pt x="128" y="187"/>
                    </a:lnTo>
                    <a:lnTo>
                      <a:pt x="110" y="181"/>
                    </a:lnTo>
                    <a:lnTo>
                      <a:pt x="110" y="189"/>
                    </a:lnTo>
                    <a:lnTo>
                      <a:pt x="123" y="194"/>
                    </a:lnTo>
                    <a:lnTo>
                      <a:pt x="130" y="200"/>
                    </a:lnTo>
                    <a:lnTo>
                      <a:pt x="113" y="202"/>
                    </a:lnTo>
                    <a:lnTo>
                      <a:pt x="90" y="190"/>
                    </a:lnTo>
                    <a:lnTo>
                      <a:pt x="81" y="177"/>
                    </a:lnTo>
                    <a:lnTo>
                      <a:pt x="81" y="171"/>
                    </a:lnTo>
                    <a:lnTo>
                      <a:pt x="83" y="171"/>
                    </a:lnTo>
                    <a:lnTo>
                      <a:pt x="67" y="164"/>
                    </a:lnTo>
                    <a:lnTo>
                      <a:pt x="59" y="159"/>
                    </a:lnTo>
                    <a:lnTo>
                      <a:pt x="45" y="151"/>
                    </a:lnTo>
                    <a:lnTo>
                      <a:pt x="53" y="154"/>
                    </a:lnTo>
                    <a:lnTo>
                      <a:pt x="85" y="161"/>
                    </a:lnTo>
                    <a:lnTo>
                      <a:pt x="119" y="167"/>
                    </a:lnTo>
                    <a:lnTo>
                      <a:pt x="149" y="161"/>
                    </a:lnTo>
                    <a:lnTo>
                      <a:pt x="152" y="149"/>
                    </a:lnTo>
                    <a:lnTo>
                      <a:pt x="141" y="141"/>
                    </a:lnTo>
                    <a:lnTo>
                      <a:pt x="106" y="130"/>
                    </a:lnTo>
                    <a:lnTo>
                      <a:pt x="72" y="119"/>
                    </a:lnTo>
                    <a:lnTo>
                      <a:pt x="52" y="120"/>
                    </a:lnTo>
                    <a:lnTo>
                      <a:pt x="48" y="122"/>
                    </a:lnTo>
                    <a:lnTo>
                      <a:pt x="51" y="116"/>
                    </a:lnTo>
                    <a:lnTo>
                      <a:pt x="43" y="117"/>
                    </a:lnTo>
                    <a:lnTo>
                      <a:pt x="35" y="112"/>
                    </a:lnTo>
                    <a:lnTo>
                      <a:pt x="45" y="112"/>
                    </a:lnTo>
                    <a:lnTo>
                      <a:pt x="30" y="109"/>
                    </a:lnTo>
                    <a:lnTo>
                      <a:pt x="26" y="112"/>
                    </a:lnTo>
                    <a:lnTo>
                      <a:pt x="20" y="110"/>
                    </a:lnTo>
                    <a:lnTo>
                      <a:pt x="20" y="114"/>
                    </a:lnTo>
                    <a:lnTo>
                      <a:pt x="11" y="114"/>
                    </a:lnTo>
                    <a:lnTo>
                      <a:pt x="0" y="122"/>
                    </a:lnTo>
                    <a:lnTo>
                      <a:pt x="0" y="125"/>
                    </a:lnTo>
                    <a:lnTo>
                      <a:pt x="1" y="135"/>
                    </a:lnTo>
                    <a:lnTo>
                      <a:pt x="19" y="145"/>
                    </a:lnTo>
                    <a:lnTo>
                      <a:pt x="10" y="155"/>
                    </a:lnTo>
                    <a:lnTo>
                      <a:pt x="26" y="174"/>
                    </a:lnTo>
                    <a:lnTo>
                      <a:pt x="26" y="187"/>
                    </a:lnTo>
                    <a:lnTo>
                      <a:pt x="32" y="193"/>
                    </a:lnTo>
                    <a:lnTo>
                      <a:pt x="39" y="200"/>
                    </a:lnTo>
                    <a:lnTo>
                      <a:pt x="33" y="204"/>
                    </a:lnTo>
                    <a:lnTo>
                      <a:pt x="55" y="218"/>
                    </a:lnTo>
                    <a:lnTo>
                      <a:pt x="46" y="226"/>
                    </a:lnTo>
                    <a:lnTo>
                      <a:pt x="36" y="236"/>
                    </a:lnTo>
                    <a:lnTo>
                      <a:pt x="27" y="247"/>
                    </a:lnTo>
                    <a:lnTo>
                      <a:pt x="17" y="255"/>
                    </a:lnTo>
                    <a:lnTo>
                      <a:pt x="27" y="255"/>
                    </a:lnTo>
                    <a:lnTo>
                      <a:pt x="24" y="255"/>
                    </a:lnTo>
                    <a:lnTo>
                      <a:pt x="27" y="258"/>
                    </a:lnTo>
                    <a:lnTo>
                      <a:pt x="51" y="266"/>
                    </a:lnTo>
                    <a:lnTo>
                      <a:pt x="36" y="264"/>
                    </a:lnTo>
                    <a:lnTo>
                      <a:pt x="24" y="270"/>
                    </a:lnTo>
                    <a:lnTo>
                      <a:pt x="21" y="274"/>
                    </a:lnTo>
                    <a:lnTo>
                      <a:pt x="26" y="290"/>
                    </a:lnTo>
                    <a:lnTo>
                      <a:pt x="20" y="300"/>
                    </a:lnTo>
                    <a:lnTo>
                      <a:pt x="27" y="312"/>
                    </a:lnTo>
                    <a:lnTo>
                      <a:pt x="37" y="331"/>
                    </a:lnTo>
                    <a:lnTo>
                      <a:pt x="58" y="335"/>
                    </a:lnTo>
                    <a:lnTo>
                      <a:pt x="80" y="338"/>
                    </a:lnTo>
                    <a:lnTo>
                      <a:pt x="83" y="358"/>
                    </a:lnTo>
                    <a:lnTo>
                      <a:pt x="100" y="373"/>
                    </a:lnTo>
                    <a:lnTo>
                      <a:pt x="96" y="379"/>
                    </a:lnTo>
                    <a:lnTo>
                      <a:pt x="98" y="395"/>
                    </a:lnTo>
                    <a:lnTo>
                      <a:pt x="110" y="390"/>
                    </a:lnTo>
                    <a:lnTo>
                      <a:pt x="132" y="393"/>
                    </a:lnTo>
                    <a:lnTo>
                      <a:pt x="135" y="399"/>
                    </a:lnTo>
                    <a:lnTo>
                      <a:pt x="152" y="414"/>
                    </a:lnTo>
                    <a:lnTo>
                      <a:pt x="170" y="430"/>
                    </a:lnTo>
                    <a:lnTo>
                      <a:pt x="180" y="428"/>
                    </a:lnTo>
                    <a:lnTo>
                      <a:pt x="200" y="434"/>
                    </a:lnTo>
                    <a:lnTo>
                      <a:pt x="221" y="441"/>
                    </a:lnTo>
                    <a:lnTo>
                      <a:pt x="231" y="466"/>
                    </a:lnTo>
                    <a:lnTo>
                      <a:pt x="219" y="472"/>
                    </a:lnTo>
                    <a:lnTo>
                      <a:pt x="213" y="482"/>
                    </a:lnTo>
                    <a:lnTo>
                      <a:pt x="218" y="485"/>
                    </a:lnTo>
                    <a:lnTo>
                      <a:pt x="206" y="491"/>
                    </a:lnTo>
                    <a:lnTo>
                      <a:pt x="199" y="494"/>
                    </a:lnTo>
                    <a:lnTo>
                      <a:pt x="210" y="502"/>
                    </a:lnTo>
                    <a:lnTo>
                      <a:pt x="206" y="501"/>
                    </a:lnTo>
                    <a:lnTo>
                      <a:pt x="205" y="507"/>
                    </a:lnTo>
                    <a:lnTo>
                      <a:pt x="202" y="504"/>
                    </a:lnTo>
                    <a:lnTo>
                      <a:pt x="202" y="514"/>
                    </a:lnTo>
                    <a:lnTo>
                      <a:pt x="189" y="515"/>
                    </a:lnTo>
                    <a:lnTo>
                      <a:pt x="186" y="518"/>
                    </a:lnTo>
                    <a:lnTo>
                      <a:pt x="207" y="530"/>
                    </a:lnTo>
                    <a:lnTo>
                      <a:pt x="228" y="540"/>
                    </a:lnTo>
                    <a:lnTo>
                      <a:pt x="231" y="539"/>
                    </a:lnTo>
                    <a:lnTo>
                      <a:pt x="247" y="540"/>
                    </a:lnTo>
                    <a:lnTo>
                      <a:pt x="263" y="542"/>
                    </a:lnTo>
                    <a:lnTo>
                      <a:pt x="284" y="550"/>
                    </a:lnTo>
                    <a:lnTo>
                      <a:pt x="305" y="559"/>
                    </a:lnTo>
                    <a:lnTo>
                      <a:pt x="327" y="568"/>
                    </a:lnTo>
                    <a:lnTo>
                      <a:pt x="348" y="576"/>
                    </a:lnTo>
                    <a:lnTo>
                      <a:pt x="373" y="581"/>
                    </a:lnTo>
                    <a:lnTo>
                      <a:pt x="360" y="566"/>
                    </a:lnTo>
                    <a:lnTo>
                      <a:pt x="348" y="553"/>
                    </a:lnTo>
                    <a:lnTo>
                      <a:pt x="347" y="542"/>
                    </a:lnTo>
                    <a:lnTo>
                      <a:pt x="345" y="546"/>
                    </a:lnTo>
                    <a:lnTo>
                      <a:pt x="337" y="533"/>
                    </a:lnTo>
                    <a:lnTo>
                      <a:pt x="332" y="527"/>
                    </a:lnTo>
                    <a:lnTo>
                      <a:pt x="340" y="510"/>
                    </a:lnTo>
                    <a:lnTo>
                      <a:pt x="354" y="504"/>
                    </a:lnTo>
                    <a:lnTo>
                      <a:pt x="361" y="499"/>
                    </a:lnTo>
                    <a:lnTo>
                      <a:pt x="360" y="495"/>
                    </a:lnTo>
                    <a:lnTo>
                      <a:pt x="348" y="479"/>
                    </a:lnTo>
                    <a:lnTo>
                      <a:pt x="332" y="465"/>
                    </a:lnTo>
                    <a:lnTo>
                      <a:pt x="315" y="451"/>
                    </a:lnTo>
                    <a:lnTo>
                      <a:pt x="318" y="433"/>
                    </a:lnTo>
                    <a:lnTo>
                      <a:pt x="319" y="414"/>
                    </a:lnTo>
                    <a:lnTo>
                      <a:pt x="337" y="421"/>
                    </a:lnTo>
                    <a:lnTo>
                      <a:pt x="340" y="414"/>
                    </a:lnTo>
                    <a:lnTo>
                      <a:pt x="350" y="406"/>
                    </a:lnTo>
                    <a:lnTo>
                      <a:pt x="360" y="398"/>
                    </a:lnTo>
                    <a:lnTo>
                      <a:pt x="380" y="398"/>
                    </a:lnTo>
                    <a:lnTo>
                      <a:pt x="399" y="406"/>
                    </a:lnTo>
                    <a:lnTo>
                      <a:pt x="418" y="414"/>
                    </a:lnTo>
                    <a:lnTo>
                      <a:pt x="438" y="414"/>
                    </a:lnTo>
                    <a:lnTo>
                      <a:pt x="466" y="412"/>
                    </a:lnTo>
                    <a:lnTo>
                      <a:pt x="494" y="417"/>
                    </a:lnTo>
                    <a:lnTo>
                      <a:pt x="495" y="412"/>
                    </a:lnTo>
                    <a:lnTo>
                      <a:pt x="481" y="395"/>
                    </a:lnTo>
                    <a:lnTo>
                      <a:pt x="486" y="374"/>
                    </a:lnTo>
                    <a:lnTo>
                      <a:pt x="499" y="376"/>
                    </a:lnTo>
                    <a:lnTo>
                      <a:pt x="482" y="367"/>
                    </a:lnTo>
                    <a:lnTo>
                      <a:pt x="501" y="364"/>
                    </a:lnTo>
                    <a:lnTo>
                      <a:pt x="518" y="361"/>
                    </a:lnTo>
                    <a:lnTo>
                      <a:pt x="536" y="357"/>
                    </a:lnTo>
                    <a:lnTo>
                      <a:pt x="552" y="351"/>
                    </a:lnTo>
                    <a:lnTo>
                      <a:pt x="569" y="347"/>
                    </a:lnTo>
                    <a:lnTo>
                      <a:pt x="585" y="343"/>
                    </a:lnTo>
                    <a:lnTo>
                      <a:pt x="598" y="341"/>
                    </a:lnTo>
                    <a:lnTo>
                      <a:pt x="607" y="351"/>
                    </a:lnTo>
                    <a:lnTo>
                      <a:pt x="635" y="361"/>
                    </a:lnTo>
                    <a:lnTo>
                      <a:pt x="645" y="366"/>
                    </a:lnTo>
                    <a:lnTo>
                      <a:pt x="655" y="369"/>
                    </a:lnTo>
                    <a:lnTo>
                      <a:pt x="674" y="361"/>
                    </a:lnTo>
                    <a:lnTo>
                      <a:pt x="691" y="356"/>
                    </a:lnTo>
                    <a:lnTo>
                      <a:pt x="694" y="358"/>
                    </a:lnTo>
                    <a:lnTo>
                      <a:pt x="691" y="366"/>
                    </a:lnTo>
                    <a:lnTo>
                      <a:pt x="710" y="379"/>
                    </a:lnTo>
                    <a:lnTo>
                      <a:pt x="729" y="392"/>
                    </a:lnTo>
                    <a:lnTo>
                      <a:pt x="748" y="405"/>
                    </a:lnTo>
                    <a:lnTo>
                      <a:pt x="767" y="417"/>
                    </a:lnTo>
                    <a:lnTo>
                      <a:pt x="770" y="414"/>
                    </a:lnTo>
                    <a:lnTo>
                      <a:pt x="781" y="417"/>
                    </a:lnTo>
                    <a:lnTo>
                      <a:pt x="799" y="414"/>
                    </a:lnTo>
                    <a:lnTo>
                      <a:pt x="818" y="425"/>
                    </a:lnTo>
                    <a:lnTo>
                      <a:pt x="837" y="437"/>
                    </a:lnTo>
                    <a:lnTo>
                      <a:pt x="855" y="433"/>
                    </a:lnTo>
                    <a:lnTo>
                      <a:pt x="871" y="450"/>
                    </a:lnTo>
                    <a:lnTo>
                      <a:pt x="882" y="449"/>
                    </a:lnTo>
                    <a:lnTo>
                      <a:pt x="889" y="443"/>
                    </a:lnTo>
                    <a:lnTo>
                      <a:pt x="902" y="437"/>
                    </a:lnTo>
                    <a:lnTo>
                      <a:pt x="915" y="430"/>
                    </a:lnTo>
                    <a:lnTo>
                      <a:pt x="930" y="421"/>
                    </a:lnTo>
                    <a:lnTo>
                      <a:pt x="959" y="424"/>
                    </a:lnTo>
                    <a:lnTo>
                      <a:pt x="963" y="430"/>
                    </a:lnTo>
                    <a:lnTo>
                      <a:pt x="983" y="434"/>
                    </a:lnTo>
                    <a:lnTo>
                      <a:pt x="1005" y="437"/>
                    </a:lnTo>
                    <a:lnTo>
                      <a:pt x="1015" y="428"/>
                    </a:lnTo>
                    <a:lnTo>
                      <a:pt x="1002" y="417"/>
                    </a:lnTo>
                    <a:lnTo>
                      <a:pt x="1005" y="399"/>
                    </a:lnTo>
                    <a:lnTo>
                      <a:pt x="1030" y="404"/>
                    </a:lnTo>
                    <a:lnTo>
                      <a:pt x="1053" y="409"/>
                    </a:lnTo>
                    <a:lnTo>
                      <a:pt x="1065" y="420"/>
                    </a:lnTo>
                    <a:lnTo>
                      <a:pt x="1085" y="431"/>
                    </a:lnTo>
                    <a:lnTo>
                      <a:pt x="1110" y="425"/>
                    </a:lnTo>
                    <a:lnTo>
                      <a:pt x="1130" y="430"/>
                    </a:lnTo>
                    <a:lnTo>
                      <a:pt x="1149" y="434"/>
                    </a:lnTo>
                    <a:lnTo>
                      <a:pt x="1156" y="440"/>
                    </a:lnTo>
                    <a:lnTo>
                      <a:pt x="1185" y="449"/>
                    </a:lnTo>
                    <a:lnTo>
                      <a:pt x="1203" y="446"/>
                    </a:lnTo>
                    <a:lnTo>
                      <a:pt x="1219" y="441"/>
                    </a:lnTo>
                    <a:lnTo>
                      <a:pt x="1235" y="430"/>
                    </a:lnTo>
                    <a:lnTo>
                      <a:pt x="1261" y="435"/>
                    </a:lnTo>
                    <a:lnTo>
                      <a:pt x="1274" y="437"/>
                    </a:lnTo>
                    <a:lnTo>
                      <a:pt x="1294" y="441"/>
                    </a:lnTo>
                    <a:lnTo>
                      <a:pt x="1304" y="430"/>
                    </a:lnTo>
                    <a:lnTo>
                      <a:pt x="1300" y="417"/>
                    </a:lnTo>
                    <a:lnTo>
                      <a:pt x="1300" y="395"/>
                    </a:lnTo>
                    <a:lnTo>
                      <a:pt x="1290" y="389"/>
                    </a:lnTo>
                    <a:lnTo>
                      <a:pt x="1283" y="386"/>
                    </a:lnTo>
                    <a:lnTo>
                      <a:pt x="1294" y="377"/>
                    </a:lnTo>
                    <a:lnTo>
                      <a:pt x="1312" y="376"/>
                    </a:lnTo>
                    <a:lnTo>
                      <a:pt x="1329" y="376"/>
                    </a:lnTo>
                    <a:lnTo>
                      <a:pt x="1364" y="388"/>
                    </a:lnTo>
                    <a:lnTo>
                      <a:pt x="1378" y="399"/>
                    </a:lnTo>
                    <a:lnTo>
                      <a:pt x="1393" y="411"/>
                    </a:lnTo>
                    <a:lnTo>
                      <a:pt x="1407" y="424"/>
                    </a:lnTo>
                    <a:lnTo>
                      <a:pt x="1422" y="435"/>
                    </a:lnTo>
                    <a:lnTo>
                      <a:pt x="1437" y="441"/>
                    </a:lnTo>
                    <a:lnTo>
                      <a:pt x="1463" y="449"/>
                    </a:lnTo>
                    <a:lnTo>
                      <a:pt x="1477" y="454"/>
                    </a:lnTo>
                    <a:lnTo>
                      <a:pt x="1495" y="475"/>
                    </a:lnTo>
                    <a:lnTo>
                      <a:pt x="1516" y="472"/>
                    </a:lnTo>
                    <a:lnTo>
                      <a:pt x="1538" y="463"/>
                    </a:lnTo>
                    <a:lnTo>
                      <a:pt x="1547" y="479"/>
                    </a:lnTo>
                    <a:lnTo>
                      <a:pt x="1550" y="499"/>
                    </a:lnTo>
                    <a:lnTo>
                      <a:pt x="1553" y="521"/>
                    </a:lnTo>
                    <a:lnTo>
                      <a:pt x="1534" y="518"/>
                    </a:lnTo>
                    <a:lnTo>
                      <a:pt x="1531" y="527"/>
                    </a:lnTo>
                    <a:lnTo>
                      <a:pt x="1541" y="543"/>
                    </a:lnTo>
                    <a:lnTo>
                      <a:pt x="1551" y="559"/>
                    </a:lnTo>
                    <a:lnTo>
                      <a:pt x="1546" y="562"/>
                    </a:lnTo>
                    <a:lnTo>
                      <a:pt x="1548" y="568"/>
                    </a:lnTo>
                    <a:lnTo>
                      <a:pt x="1551" y="569"/>
                    </a:lnTo>
                    <a:lnTo>
                      <a:pt x="1550" y="563"/>
                    </a:lnTo>
                    <a:lnTo>
                      <a:pt x="1551" y="563"/>
                    </a:lnTo>
                    <a:lnTo>
                      <a:pt x="1560" y="553"/>
                    </a:lnTo>
                    <a:lnTo>
                      <a:pt x="1564" y="552"/>
                    </a:lnTo>
                    <a:lnTo>
                      <a:pt x="1569" y="559"/>
                    </a:lnTo>
                    <a:lnTo>
                      <a:pt x="1579" y="560"/>
                    </a:lnTo>
                    <a:lnTo>
                      <a:pt x="1596" y="555"/>
                    </a:lnTo>
                    <a:lnTo>
                      <a:pt x="1601" y="542"/>
                    </a:lnTo>
                    <a:lnTo>
                      <a:pt x="1607" y="530"/>
                    </a:lnTo>
                    <a:lnTo>
                      <a:pt x="1608" y="514"/>
                    </a:lnTo>
                    <a:lnTo>
                      <a:pt x="1609" y="497"/>
                    </a:lnTo>
                    <a:lnTo>
                      <a:pt x="1611" y="481"/>
                    </a:lnTo>
                    <a:lnTo>
                      <a:pt x="1612" y="463"/>
                    </a:lnTo>
                    <a:lnTo>
                      <a:pt x="1607" y="449"/>
                    </a:lnTo>
                    <a:lnTo>
                      <a:pt x="1599" y="434"/>
                    </a:lnTo>
                    <a:lnTo>
                      <a:pt x="1591" y="425"/>
                    </a:lnTo>
                    <a:lnTo>
                      <a:pt x="1586" y="414"/>
                    </a:lnTo>
                    <a:lnTo>
                      <a:pt x="1582" y="402"/>
                    </a:lnTo>
                    <a:lnTo>
                      <a:pt x="1572" y="389"/>
                    </a:lnTo>
                    <a:lnTo>
                      <a:pt x="1556" y="380"/>
                    </a:lnTo>
                    <a:lnTo>
                      <a:pt x="1566" y="380"/>
                    </a:lnTo>
                    <a:lnTo>
                      <a:pt x="1530" y="361"/>
                    </a:lnTo>
                    <a:lnTo>
                      <a:pt x="1512" y="360"/>
                    </a:lnTo>
                    <a:lnTo>
                      <a:pt x="1516" y="367"/>
                    </a:lnTo>
                    <a:lnTo>
                      <a:pt x="1505" y="373"/>
                    </a:lnTo>
                    <a:lnTo>
                      <a:pt x="1505" y="367"/>
                    </a:lnTo>
                    <a:lnTo>
                      <a:pt x="1498" y="364"/>
                    </a:lnTo>
                    <a:lnTo>
                      <a:pt x="1495" y="367"/>
                    </a:lnTo>
                    <a:lnTo>
                      <a:pt x="1484" y="357"/>
                    </a:lnTo>
                    <a:lnTo>
                      <a:pt x="1460" y="353"/>
                    </a:lnTo>
                    <a:lnTo>
                      <a:pt x="1466" y="338"/>
                    </a:lnTo>
                    <a:lnTo>
                      <a:pt x="1471" y="324"/>
                    </a:lnTo>
                    <a:lnTo>
                      <a:pt x="1476" y="312"/>
                    </a:lnTo>
                    <a:lnTo>
                      <a:pt x="1479" y="302"/>
                    </a:lnTo>
                    <a:lnTo>
                      <a:pt x="1476" y="295"/>
                    </a:lnTo>
                    <a:lnTo>
                      <a:pt x="1482" y="279"/>
                    </a:lnTo>
                    <a:lnTo>
                      <a:pt x="1499" y="277"/>
                    </a:lnTo>
                    <a:lnTo>
                      <a:pt x="1515" y="274"/>
                    </a:lnTo>
                    <a:lnTo>
                      <a:pt x="1519" y="274"/>
                    </a:lnTo>
                    <a:lnTo>
                      <a:pt x="1527" y="277"/>
                    </a:lnTo>
                    <a:lnTo>
                      <a:pt x="1530" y="274"/>
                    </a:lnTo>
                    <a:lnTo>
                      <a:pt x="1561" y="277"/>
                    </a:lnTo>
                    <a:lnTo>
                      <a:pt x="1561" y="274"/>
                    </a:lnTo>
                    <a:lnTo>
                      <a:pt x="1559" y="271"/>
                    </a:lnTo>
                    <a:lnTo>
                      <a:pt x="1583" y="271"/>
                    </a:lnTo>
                    <a:lnTo>
                      <a:pt x="1604" y="277"/>
                    </a:lnTo>
                    <a:lnTo>
                      <a:pt x="1598" y="279"/>
                    </a:lnTo>
                    <a:lnTo>
                      <a:pt x="1602" y="284"/>
                    </a:lnTo>
                    <a:lnTo>
                      <a:pt x="1615" y="281"/>
                    </a:lnTo>
                    <a:lnTo>
                      <a:pt x="1625" y="279"/>
                    </a:lnTo>
                    <a:lnTo>
                      <a:pt x="1646" y="279"/>
                    </a:lnTo>
                    <a:lnTo>
                      <a:pt x="1641" y="276"/>
                    </a:lnTo>
                    <a:lnTo>
                      <a:pt x="1630" y="274"/>
                    </a:lnTo>
                    <a:lnTo>
                      <a:pt x="1624" y="270"/>
                    </a:lnTo>
                    <a:lnTo>
                      <a:pt x="1624" y="252"/>
                    </a:lnTo>
                    <a:lnTo>
                      <a:pt x="1623" y="236"/>
                    </a:lnTo>
                    <a:lnTo>
                      <a:pt x="1650" y="236"/>
                    </a:lnTo>
                    <a:lnTo>
                      <a:pt x="1656" y="234"/>
                    </a:lnTo>
                    <a:lnTo>
                      <a:pt x="1670" y="250"/>
                    </a:lnTo>
                    <a:lnTo>
                      <a:pt x="1673" y="248"/>
                    </a:lnTo>
                    <a:lnTo>
                      <a:pt x="1682" y="255"/>
                    </a:lnTo>
                    <a:lnTo>
                      <a:pt x="1689" y="239"/>
                    </a:lnTo>
                    <a:lnTo>
                      <a:pt x="1697" y="239"/>
                    </a:lnTo>
                    <a:lnTo>
                      <a:pt x="1682" y="225"/>
                    </a:lnTo>
                    <a:lnTo>
                      <a:pt x="1686" y="222"/>
                    </a:lnTo>
                    <a:lnTo>
                      <a:pt x="1708" y="225"/>
                    </a:lnTo>
                    <a:lnTo>
                      <a:pt x="1713" y="228"/>
                    </a:lnTo>
                    <a:lnTo>
                      <a:pt x="1700" y="226"/>
                    </a:lnTo>
                    <a:lnTo>
                      <a:pt x="1710" y="238"/>
                    </a:lnTo>
                    <a:lnTo>
                      <a:pt x="1720" y="250"/>
                    </a:lnTo>
                    <a:lnTo>
                      <a:pt x="1713" y="255"/>
                    </a:lnTo>
                    <a:lnTo>
                      <a:pt x="1710" y="268"/>
                    </a:lnTo>
                    <a:lnTo>
                      <a:pt x="1707" y="281"/>
                    </a:lnTo>
                    <a:lnTo>
                      <a:pt x="1705" y="297"/>
                    </a:lnTo>
                    <a:lnTo>
                      <a:pt x="1692" y="300"/>
                    </a:lnTo>
                    <a:lnTo>
                      <a:pt x="1698" y="306"/>
                    </a:lnTo>
                    <a:lnTo>
                      <a:pt x="1701" y="318"/>
                    </a:lnTo>
                    <a:lnTo>
                      <a:pt x="1711" y="331"/>
                    </a:lnTo>
                    <a:lnTo>
                      <a:pt x="1723" y="345"/>
                    </a:lnTo>
                    <a:lnTo>
                      <a:pt x="1745" y="363"/>
                    </a:lnTo>
                    <a:lnTo>
                      <a:pt x="1765" y="382"/>
                    </a:lnTo>
                    <a:lnTo>
                      <a:pt x="1785" y="399"/>
                    </a:lnTo>
                    <a:lnTo>
                      <a:pt x="1807" y="417"/>
                    </a:lnTo>
                    <a:lnTo>
                      <a:pt x="1811" y="406"/>
                    </a:lnTo>
                    <a:lnTo>
                      <a:pt x="1800" y="383"/>
                    </a:lnTo>
                    <a:lnTo>
                      <a:pt x="1806" y="379"/>
                    </a:lnTo>
                    <a:lnTo>
                      <a:pt x="1816" y="380"/>
                    </a:lnTo>
                    <a:lnTo>
                      <a:pt x="1813" y="377"/>
                    </a:lnTo>
                    <a:lnTo>
                      <a:pt x="1800" y="361"/>
                    </a:lnTo>
                    <a:lnTo>
                      <a:pt x="1816" y="354"/>
                    </a:lnTo>
                    <a:lnTo>
                      <a:pt x="1794" y="337"/>
                    </a:lnTo>
                    <a:lnTo>
                      <a:pt x="1794" y="327"/>
                    </a:lnTo>
                    <a:lnTo>
                      <a:pt x="1795" y="324"/>
                    </a:lnTo>
                    <a:lnTo>
                      <a:pt x="1795" y="328"/>
                    </a:lnTo>
                    <a:lnTo>
                      <a:pt x="1804" y="331"/>
                    </a:lnTo>
                    <a:lnTo>
                      <a:pt x="1794" y="319"/>
                    </a:lnTo>
                    <a:lnTo>
                      <a:pt x="1787" y="318"/>
                    </a:lnTo>
                    <a:lnTo>
                      <a:pt x="1772" y="300"/>
                    </a:lnTo>
                    <a:lnTo>
                      <a:pt x="1765" y="302"/>
                    </a:lnTo>
                    <a:lnTo>
                      <a:pt x="1752" y="297"/>
                    </a:lnTo>
                    <a:lnTo>
                      <a:pt x="1746" y="279"/>
                    </a:lnTo>
                    <a:lnTo>
                      <a:pt x="1737" y="267"/>
                    </a:lnTo>
                    <a:lnTo>
                      <a:pt x="1746" y="264"/>
                    </a:lnTo>
                    <a:lnTo>
                      <a:pt x="1756" y="268"/>
                    </a:lnTo>
                    <a:lnTo>
                      <a:pt x="1755" y="263"/>
                    </a:lnTo>
                    <a:lnTo>
                      <a:pt x="1761" y="257"/>
                    </a:lnTo>
                    <a:lnTo>
                      <a:pt x="1772" y="267"/>
                    </a:lnTo>
                    <a:lnTo>
                      <a:pt x="1774" y="260"/>
                    </a:lnTo>
                    <a:lnTo>
                      <a:pt x="1795" y="255"/>
                    </a:lnTo>
                    <a:lnTo>
                      <a:pt x="1819" y="264"/>
                    </a:lnTo>
                    <a:lnTo>
                      <a:pt x="1819" y="260"/>
                    </a:lnTo>
                    <a:lnTo>
                      <a:pt x="1826" y="250"/>
                    </a:lnTo>
                    <a:lnTo>
                      <a:pt x="1826" y="247"/>
                    </a:lnTo>
                    <a:lnTo>
                      <a:pt x="1826" y="242"/>
                    </a:lnTo>
                    <a:lnTo>
                      <a:pt x="1827" y="241"/>
                    </a:lnTo>
                    <a:lnTo>
                      <a:pt x="1840" y="232"/>
                    </a:lnTo>
                    <a:lnTo>
                      <a:pt x="1854" y="223"/>
                    </a:lnTo>
                    <a:lnTo>
                      <a:pt x="1848" y="220"/>
                    </a:lnTo>
                    <a:lnTo>
                      <a:pt x="1851" y="220"/>
                    </a:lnTo>
                    <a:lnTo>
                      <a:pt x="1880" y="226"/>
                    </a:lnTo>
                    <a:lnTo>
                      <a:pt x="1881" y="223"/>
                    </a:lnTo>
                    <a:lnTo>
                      <a:pt x="1868" y="216"/>
                    </a:lnTo>
                    <a:lnTo>
                      <a:pt x="1854" y="209"/>
                    </a:lnTo>
                    <a:lnTo>
                      <a:pt x="1846" y="207"/>
                    </a:lnTo>
                    <a:lnTo>
                      <a:pt x="1826" y="193"/>
                    </a:lnTo>
                    <a:lnTo>
                      <a:pt x="1824" y="196"/>
                    </a:lnTo>
                    <a:lnTo>
                      <a:pt x="1808" y="189"/>
                    </a:lnTo>
                    <a:lnTo>
                      <a:pt x="1817" y="189"/>
                    </a:lnTo>
                    <a:lnTo>
                      <a:pt x="1832" y="187"/>
                    </a:lnTo>
                    <a:lnTo>
                      <a:pt x="1808" y="171"/>
                    </a:lnTo>
                    <a:lnTo>
                      <a:pt x="1785" y="155"/>
                    </a:lnTo>
                    <a:lnTo>
                      <a:pt x="1762" y="139"/>
                    </a:lnTo>
                    <a:lnTo>
                      <a:pt x="1739" y="12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9" name="Freeform 154">
                <a:extLst>
                  <a:ext uri="{FF2B5EF4-FFF2-40B4-BE49-F238E27FC236}">
                    <a16:creationId xmlns:a16="http://schemas.microsoft.com/office/drawing/2014/main" id="{210C6D9F-05C8-403A-6B75-801159165F47}"/>
                  </a:ext>
                </a:extLst>
              </p:cNvPr>
              <p:cNvSpPr>
                <a:spLocks/>
              </p:cNvSpPr>
              <p:nvPr/>
            </p:nvSpPr>
            <p:spPr bwMode="auto">
              <a:xfrm>
                <a:off x="4602" y="799"/>
                <a:ext cx="111" cy="28"/>
              </a:xfrm>
              <a:custGeom>
                <a:avLst/>
                <a:gdLst>
                  <a:gd name="T0" fmla="*/ 22465 w 93"/>
                  <a:gd name="T1" fmla="*/ 257524 h 20"/>
                  <a:gd name="T2" fmla="*/ 8179 w 93"/>
                  <a:gd name="T3" fmla="*/ 0 h 20"/>
                  <a:gd name="T4" fmla="*/ 10226 w 93"/>
                  <a:gd name="T5" fmla="*/ 67036 h 20"/>
                  <a:gd name="T6" fmla="*/ 7874 w 93"/>
                  <a:gd name="T7" fmla="*/ 1 h 20"/>
                  <a:gd name="T8" fmla="*/ 9634 w 93"/>
                  <a:gd name="T9" fmla="*/ 176176 h 20"/>
                  <a:gd name="T10" fmla="*/ 2638 w 93"/>
                  <a:gd name="T11" fmla="*/ 1 h 20"/>
                  <a:gd name="T12" fmla="*/ 0 w 93"/>
                  <a:gd name="T13" fmla="*/ 131390 h 20"/>
                  <a:gd name="T14" fmla="*/ 0 w 93"/>
                  <a:gd name="T15" fmla="*/ 176176 h 20"/>
                  <a:gd name="T16" fmla="*/ 1223 w 93"/>
                  <a:gd name="T17" fmla="*/ 257524 h 20"/>
                  <a:gd name="T18" fmla="*/ 2080 w 93"/>
                  <a:gd name="T19" fmla="*/ 435694 h 20"/>
                  <a:gd name="T20" fmla="*/ 10864 w 93"/>
                  <a:gd name="T21" fmla="*/ 676796 h 20"/>
                  <a:gd name="T22" fmla="*/ 11192 w 93"/>
                  <a:gd name="T23" fmla="*/ 594565 h 20"/>
                  <a:gd name="T24" fmla="*/ 17632 w 93"/>
                  <a:gd name="T25" fmla="*/ 594565 h 20"/>
                  <a:gd name="T26" fmla="*/ 21045 w 93"/>
                  <a:gd name="T27" fmla="*/ 594565 h 20"/>
                  <a:gd name="T28" fmla="*/ 19809 w 93"/>
                  <a:gd name="T29" fmla="*/ 483426 h 20"/>
                  <a:gd name="T30" fmla="*/ 22465 w 93"/>
                  <a:gd name="T31" fmla="*/ 435694 h 20"/>
                  <a:gd name="T32" fmla="*/ 22465 w 93"/>
                  <a:gd name="T33" fmla="*/ 257524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3"/>
                  <a:gd name="T52" fmla="*/ 0 h 20"/>
                  <a:gd name="T53" fmla="*/ 93 w 93"/>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3" h="20">
                    <a:moveTo>
                      <a:pt x="93" y="8"/>
                    </a:moveTo>
                    <a:lnTo>
                      <a:pt x="34" y="0"/>
                    </a:lnTo>
                    <a:lnTo>
                      <a:pt x="42" y="2"/>
                    </a:lnTo>
                    <a:lnTo>
                      <a:pt x="33" y="1"/>
                    </a:lnTo>
                    <a:lnTo>
                      <a:pt x="40" y="5"/>
                    </a:lnTo>
                    <a:lnTo>
                      <a:pt x="11" y="1"/>
                    </a:lnTo>
                    <a:lnTo>
                      <a:pt x="0" y="4"/>
                    </a:lnTo>
                    <a:lnTo>
                      <a:pt x="0" y="5"/>
                    </a:lnTo>
                    <a:lnTo>
                      <a:pt x="5" y="8"/>
                    </a:lnTo>
                    <a:lnTo>
                      <a:pt x="8" y="13"/>
                    </a:lnTo>
                    <a:lnTo>
                      <a:pt x="45" y="20"/>
                    </a:lnTo>
                    <a:lnTo>
                      <a:pt x="46" y="17"/>
                    </a:lnTo>
                    <a:lnTo>
                      <a:pt x="74" y="17"/>
                    </a:lnTo>
                    <a:lnTo>
                      <a:pt x="88" y="17"/>
                    </a:lnTo>
                    <a:lnTo>
                      <a:pt x="82" y="14"/>
                    </a:lnTo>
                    <a:lnTo>
                      <a:pt x="93" y="13"/>
                    </a:lnTo>
                    <a:lnTo>
                      <a:pt x="93" y="8"/>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0" name="Freeform 155">
                <a:extLst>
                  <a:ext uri="{FF2B5EF4-FFF2-40B4-BE49-F238E27FC236}">
                    <a16:creationId xmlns:a16="http://schemas.microsoft.com/office/drawing/2014/main" id="{55073E80-87FA-6CE5-48C5-807468B1FF57}"/>
                  </a:ext>
                </a:extLst>
              </p:cNvPr>
              <p:cNvSpPr>
                <a:spLocks/>
              </p:cNvSpPr>
              <p:nvPr/>
            </p:nvSpPr>
            <p:spPr bwMode="auto">
              <a:xfrm>
                <a:off x="4079" y="737"/>
                <a:ext cx="63" cy="27"/>
              </a:xfrm>
              <a:custGeom>
                <a:avLst/>
                <a:gdLst>
                  <a:gd name="T0" fmla="*/ 11195 w 53"/>
                  <a:gd name="T1" fmla="*/ 621803 h 19"/>
                  <a:gd name="T2" fmla="*/ 5130 w 53"/>
                  <a:gd name="T3" fmla="*/ 171405 h 19"/>
                  <a:gd name="T4" fmla="*/ 3631 w 53"/>
                  <a:gd name="T5" fmla="*/ 437565 h 19"/>
                  <a:gd name="T6" fmla="*/ 2721 w 53"/>
                  <a:gd name="T7" fmla="*/ 0 h 19"/>
                  <a:gd name="T8" fmla="*/ 1287 w 53"/>
                  <a:gd name="T9" fmla="*/ 0 h 19"/>
                  <a:gd name="T10" fmla="*/ 2162 w 53"/>
                  <a:gd name="T11" fmla="*/ 120618 h 19"/>
                  <a:gd name="T12" fmla="*/ 0 w 53"/>
                  <a:gd name="T13" fmla="*/ 171405 h 19"/>
                  <a:gd name="T14" fmla="*/ 1 w 53"/>
                  <a:gd name="T15" fmla="*/ 261583 h 19"/>
                  <a:gd name="T16" fmla="*/ 1530 w 53"/>
                  <a:gd name="T17" fmla="*/ 491875 h 19"/>
                  <a:gd name="T18" fmla="*/ 1 w 53"/>
                  <a:gd name="T19" fmla="*/ 621803 h 19"/>
                  <a:gd name="T20" fmla="*/ 911 w 53"/>
                  <a:gd name="T21" fmla="*/ 1012258 h 19"/>
                  <a:gd name="T22" fmla="*/ 11320 w 53"/>
                  <a:gd name="T23" fmla="*/ 634929 h 19"/>
                  <a:gd name="T24" fmla="*/ 11195 w 53"/>
                  <a:gd name="T25" fmla="*/ 621803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19"/>
                  <a:gd name="T41" fmla="*/ 53 w 53"/>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19">
                    <a:moveTo>
                      <a:pt x="52" y="11"/>
                    </a:moveTo>
                    <a:lnTo>
                      <a:pt x="24" y="3"/>
                    </a:lnTo>
                    <a:lnTo>
                      <a:pt x="17" y="8"/>
                    </a:lnTo>
                    <a:lnTo>
                      <a:pt x="13" y="0"/>
                    </a:lnTo>
                    <a:lnTo>
                      <a:pt x="6" y="0"/>
                    </a:lnTo>
                    <a:lnTo>
                      <a:pt x="10" y="2"/>
                    </a:lnTo>
                    <a:lnTo>
                      <a:pt x="0" y="3"/>
                    </a:lnTo>
                    <a:lnTo>
                      <a:pt x="1" y="5"/>
                    </a:lnTo>
                    <a:lnTo>
                      <a:pt x="7" y="9"/>
                    </a:lnTo>
                    <a:lnTo>
                      <a:pt x="1" y="11"/>
                    </a:lnTo>
                    <a:lnTo>
                      <a:pt x="4" y="19"/>
                    </a:lnTo>
                    <a:lnTo>
                      <a:pt x="53" y="12"/>
                    </a:lnTo>
                    <a:lnTo>
                      <a:pt x="52" y="1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1" name="Freeform 156">
                <a:extLst>
                  <a:ext uri="{FF2B5EF4-FFF2-40B4-BE49-F238E27FC236}">
                    <a16:creationId xmlns:a16="http://schemas.microsoft.com/office/drawing/2014/main" id="{B8931866-DBB6-15F2-F3C3-24D7936FC62D}"/>
                  </a:ext>
                </a:extLst>
              </p:cNvPr>
              <p:cNvSpPr>
                <a:spLocks/>
              </p:cNvSpPr>
              <p:nvPr/>
            </p:nvSpPr>
            <p:spPr bwMode="auto">
              <a:xfrm>
                <a:off x="4723" y="810"/>
                <a:ext cx="71" cy="14"/>
              </a:xfrm>
              <a:custGeom>
                <a:avLst/>
                <a:gdLst>
                  <a:gd name="T0" fmla="*/ 10964 w 60"/>
                  <a:gd name="T1" fmla="*/ 183946 h 10"/>
                  <a:gd name="T2" fmla="*/ 2852 w 60"/>
                  <a:gd name="T3" fmla="*/ 67036 h 10"/>
                  <a:gd name="T4" fmla="*/ 0 w 60"/>
                  <a:gd name="T5" fmla="*/ 0 h 10"/>
                  <a:gd name="T6" fmla="*/ 1039 w 60"/>
                  <a:gd name="T7" fmla="*/ 176176 h 10"/>
                  <a:gd name="T8" fmla="*/ 10171 w 60"/>
                  <a:gd name="T9" fmla="*/ 345304 h 10"/>
                  <a:gd name="T10" fmla="*/ 10964 w 60"/>
                  <a:gd name="T11" fmla="*/ 183946 h 10"/>
                  <a:gd name="T12" fmla="*/ 0 60000 65536"/>
                  <a:gd name="T13" fmla="*/ 0 60000 65536"/>
                  <a:gd name="T14" fmla="*/ 0 60000 65536"/>
                  <a:gd name="T15" fmla="*/ 0 60000 65536"/>
                  <a:gd name="T16" fmla="*/ 0 60000 65536"/>
                  <a:gd name="T17" fmla="*/ 0 60000 65536"/>
                  <a:gd name="T18" fmla="*/ 0 w 60"/>
                  <a:gd name="T19" fmla="*/ 0 h 10"/>
                  <a:gd name="T20" fmla="*/ 60 w 60"/>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60" h="10">
                    <a:moveTo>
                      <a:pt x="60" y="6"/>
                    </a:moveTo>
                    <a:lnTo>
                      <a:pt x="15" y="2"/>
                    </a:lnTo>
                    <a:lnTo>
                      <a:pt x="0" y="0"/>
                    </a:lnTo>
                    <a:lnTo>
                      <a:pt x="6" y="5"/>
                    </a:lnTo>
                    <a:lnTo>
                      <a:pt x="55" y="10"/>
                    </a:lnTo>
                    <a:lnTo>
                      <a:pt x="60"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2" name="Freeform 157">
                <a:extLst>
                  <a:ext uri="{FF2B5EF4-FFF2-40B4-BE49-F238E27FC236}">
                    <a16:creationId xmlns:a16="http://schemas.microsoft.com/office/drawing/2014/main" id="{47C28206-5C92-9309-6B14-5D62B0406ADD}"/>
                  </a:ext>
                </a:extLst>
              </p:cNvPr>
              <p:cNvSpPr>
                <a:spLocks/>
              </p:cNvSpPr>
              <p:nvPr/>
            </p:nvSpPr>
            <p:spPr bwMode="auto">
              <a:xfrm>
                <a:off x="4692" y="843"/>
                <a:ext cx="56" cy="16"/>
              </a:xfrm>
              <a:custGeom>
                <a:avLst/>
                <a:gdLst>
                  <a:gd name="T0" fmla="*/ 10788 w 47"/>
                  <a:gd name="T1" fmla="*/ 1189809 h 11"/>
                  <a:gd name="T2" fmla="*/ 0 w 47"/>
                  <a:gd name="T3" fmla="*/ 889308 h 11"/>
                  <a:gd name="T4" fmla="*/ 3596 w 47"/>
                  <a:gd name="T5" fmla="*/ 0 h 11"/>
                  <a:gd name="T6" fmla="*/ 9574 w 47"/>
                  <a:gd name="T7" fmla="*/ 889308 h 11"/>
                  <a:gd name="T8" fmla="*/ 10788 w 47"/>
                  <a:gd name="T9" fmla="*/ 1189809 h 11"/>
                  <a:gd name="T10" fmla="*/ 0 60000 65536"/>
                  <a:gd name="T11" fmla="*/ 0 60000 65536"/>
                  <a:gd name="T12" fmla="*/ 0 60000 65536"/>
                  <a:gd name="T13" fmla="*/ 0 60000 65536"/>
                  <a:gd name="T14" fmla="*/ 0 60000 65536"/>
                  <a:gd name="T15" fmla="*/ 0 w 47"/>
                  <a:gd name="T16" fmla="*/ 0 h 11"/>
                  <a:gd name="T17" fmla="*/ 47 w 47"/>
                  <a:gd name="T18" fmla="*/ 11 h 11"/>
                </a:gdLst>
                <a:ahLst/>
                <a:cxnLst>
                  <a:cxn ang="T10">
                    <a:pos x="T0" y="T1"/>
                  </a:cxn>
                  <a:cxn ang="T11">
                    <a:pos x="T2" y="T3"/>
                  </a:cxn>
                  <a:cxn ang="T12">
                    <a:pos x="T4" y="T5"/>
                  </a:cxn>
                  <a:cxn ang="T13">
                    <a:pos x="T6" y="T7"/>
                  </a:cxn>
                  <a:cxn ang="T14">
                    <a:pos x="T8" y="T9"/>
                  </a:cxn>
                </a:cxnLst>
                <a:rect l="T15" t="T16" r="T17" b="T18"/>
                <a:pathLst>
                  <a:path w="47" h="11">
                    <a:moveTo>
                      <a:pt x="47" y="11"/>
                    </a:moveTo>
                    <a:lnTo>
                      <a:pt x="0" y="8"/>
                    </a:lnTo>
                    <a:lnTo>
                      <a:pt x="16" y="0"/>
                    </a:lnTo>
                    <a:lnTo>
                      <a:pt x="42" y="8"/>
                    </a:lnTo>
                    <a:lnTo>
                      <a:pt x="47" y="1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3" name="Freeform 158">
                <a:extLst>
                  <a:ext uri="{FF2B5EF4-FFF2-40B4-BE49-F238E27FC236}">
                    <a16:creationId xmlns:a16="http://schemas.microsoft.com/office/drawing/2014/main" id="{34CAC988-4209-F3B3-103E-17DE0F188ED0}"/>
                  </a:ext>
                </a:extLst>
              </p:cNvPr>
              <p:cNvSpPr>
                <a:spLocks/>
              </p:cNvSpPr>
              <p:nvPr/>
            </p:nvSpPr>
            <p:spPr bwMode="auto">
              <a:xfrm>
                <a:off x="5273" y="893"/>
                <a:ext cx="20" cy="16"/>
              </a:xfrm>
              <a:custGeom>
                <a:avLst/>
                <a:gdLst>
                  <a:gd name="T0" fmla="*/ 2714 w 16"/>
                  <a:gd name="T1" fmla="*/ 0 h 11"/>
                  <a:gd name="T2" fmla="*/ 0 w 16"/>
                  <a:gd name="T3" fmla="*/ 545951 h 11"/>
                  <a:gd name="T4" fmla="*/ 8281 w 16"/>
                  <a:gd name="T5" fmla="*/ 1189809 h 11"/>
                  <a:gd name="T6" fmla="*/ 16025 w 16"/>
                  <a:gd name="T7" fmla="*/ 1022646 h 11"/>
                  <a:gd name="T8" fmla="*/ 2714 w 16"/>
                  <a:gd name="T9" fmla="*/ 0 h 11"/>
                  <a:gd name="T10" fmla="*/ 0 60000 65536"/>
                  <a:gd name="T11" fmla="*/ 0 60000 65536"/>
                  <a:gd name="T12" fmla="*/ 0 60000 65536"/>
                  <a:gd name="T13" fmla="*/ 0 60000 65536"/>
                  <a:gd name="T14" fmla="*/ 0 60000 65536"/>
                  <a:gd name="T15" fmla="*/ 0 w 16"/>
                  <a:gd name="T16" fmla="*/ 0 h 11"/>
                  <a:gd name="T17" fmla="*/ 16 w 16"/>
                  <a:gd name="T18" fmla="*/ 11 h 11"/>
                </a:gdLst>
                <a:ahLst/>
                <a:cxnLst>
                  <a:cxn ang="T10">
                    <a:pos x="T0" y="T1"/>
                  </a:cxn>
                  <a:cxn ang="T11">
                    <a:pos x="T2" y="T3"/>
                  </a:cxn>
                  <a:cxn ang="T12">
                    <a:pos x="T4" y="T5"/>
                  </a:cxn>
                  <a:cxn ang="T13">
                    <a:pos x="T6" y="T7"/>
                  </a:cxn>
                  <a:cxn ang="T14">
                    <a:pos x="T8" y="T9"/>
                  </a:cxn>
                </a:cxnLst>
                <a:rect l="T15" t="T16" r="T17" b="T18"/>
                <a:pathLst>
                  <a:path w="16" h="11">
                    <a:moveTo>
                      <a:pt x="3" y="0"/>
                    </a:moveTo>
                    <a:lnTo>
                      <a:pt x="0" y="5"/>
                    </a:lnTo>
                    <a:lnTo>
                      <a:pt x="9" y="11"/>
                    </a:lnTo>
                    <a:lnTo>
                      <a:pt x="16" y="9"/>
                    </a:lnTo>
                    <a:lnTo>
                      <a:pt x="3"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4" name="Freeform 159">
                <a:extLst>
                  <a:ext uri="{FF2B5EF4-FFF2-40B4-BE49-F238E27FC236}">
                    <a16:creationId xmlns:a16="http://schemas.microsoft.com/office/drawing/2014/main" id="{90935CD6-E7F2-667E-157C-3BFE82EAD307}"/>
                  </a:ext>
                </a:extLst>
              </p:cNvPr>
              <p:cNvSpPr>
                <a:spLocks/>
              </p:cNvSpPr>
              <p:nvPr/>
            </p:nvSpPr>
            <p:spPr bwMode="auto">
              <a:xfrm>
                <a:off x="5376" y="1168"/>
                <a:ext cx="13" cy="18"/>
              </a:xfrm>
              <a:custGeom>
                <a:avLst/>
                <a:gdLst>
                  <a:gd name="T0" fmla="*/ 34638 w 10"/>
                  <a:gd name="T1" fmla="*/ 1010751 h 12"/>
                  <a:gd name="T2" fmla="*/ 14682 w 10"/>
                  <a:gd name="T3" fmla="*/ 3411282 h 12"/>
                  <a:gd name="T4" fmla="*/ 0 w 10"/>
                  <a:gd name="T5" fmla="*/ 1815228 h 12"/>
                  <a:gd name="T6" fmla="*/ 14682 w 10"/>
                  <a:gd name="T7" fmla="*/ 0 h 12"/>
                  <a:gd name="T8" fmla="*/ 34638 w 10"/>
                  <a:gd name="T9" fmla="*/ 1010751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10" y="3"/>
                    </a:moveTo>
                    <a:lnTo>
                      <a:pt x="4" y="12"/>
                    </a:lnTo>
                    <a:lnTo>
                      <a:pt x="0" y="6"/>
                    </a:lnTo>
                    <a:lnTo>
                      <a:pt x="4" y="0"/>
                    </a:lnTo>
                    <a:lnTo>
                      <a:pt x="10" y="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5" name="Freeform 160">
                <a:extLst>
                  <a:ext uri="{FF2B5EF4-FFF2-40B4-BE49-F238E27FC236}">
                    <a16:creationId xmlns:a16="http://schemas.microsoft.com/office/drawing/2014/main" id="{169B636A-539D-634F-D27A-4AC329969AEC}"/>
                  </a:ext>
                </a:extLst>
              </p:cNvPr>
              <p:cNvSpPr>
                <a:spLocks/>
              </p:cNvSpPr>
              <p:nvPr/>
            </p:nvSpPr>
            <p:spPr bwMode="auto">
              <a:xfrm>
                <a:off x="5162" y="928"/>
                <a:ext cx="25" cy="6"/>
              </a:xfrm>
              <a:custGeom>
                <a:avLst/>
                <a:gdLst>
                  <a:gd name="T0" fmla="*/ 4861 w 21"/>
                  <a:gd name="T1" fmla="*/ 311073 h 4"/>
                  <a:gd name="T2" fmla="*/ 4155 w 21"/>
                  <a:gd name="T3" fmla="*/ 1049869 h 4"/>
                  <a:gd name="T4" fmla="*/ 0 w 21"/>
                  <a:gd name="T5" fmla="*/ 311073 h 4"/>
                  <a:gd name="T6" fmla="*/ 4155 w 21"/>
                  <a:gd name="T7" fmla="*/ 0 h 4"/>
                  <a:gd name="T8" fmla="*/ 4861 w 21"/>
                  <a:gd name="T9" fmla="*/ 311073 h 4"/>
                  <a:gd name="T10" fmla="*/ 0 60000 65536"/>
                  <a:gd name="T11" fmla="*/ 0 60000 65536"/>
                  <a:gd name="T12" fmla="*/ 0 60000 65536"/>
                  <a:gd name="T13" fmla="*/ 0 60000 65536"/>
                  <a:gd name="T14" fmla="*/ 0 60000 65536"/>
                  <a:gd name="T15" fmla="*/ 0 w 21"/>
                  <a:gd name="T16" fmla="*/ 0 h 4"/>
                  <a:gd name="T17" fmla="*/ 21 w 21"/>
                  <a:gd name="T18" fmla="*/ 4 h 4"/>
                </a:gdLst>
                <a:ahLst/>
                <a:cxnLst>
                  <a:cxn ang="T10">
                    <a:pos x="T0" y="T1"/>
                  </a:cxn>
                  <a:cxn ang="T11">
                    <a:pos x="T2" y="T3"/>
                  </a:cxn>
                  <a:cxn ang="T12">
                    <a:pos x="T4" y="T5"/>
                  </a:cxn>
                  <a:cxn ang="T13">
                    <a:pos x="T6" y="T7"/>
                  </a:cxn>
                  <a:cxn ang="T14">
                    <a:pos x="T8" y="T9"/>
                  </a:cxn>
                </a:cxnLst>
                <a:rect l="T15" t="T16" r="T17" b="T18"/>
                <a:pathLst>
                  <a:path w="21" h="4">
                    <a:moveTo>
                      <a:pt x="21" y="1"/>
                    </a:moveTo>
                    <a:lnTo>
                      <a:pt x="19" y="4"/>
                    </a:lnTo>
                    <a:lnTo>
                      <a:pt x="0" y="1"/>
                    </a:lnTo>
                    <a:lnTo>
                      <a:pt x="19" y="0"/>
                    </a:lnTo>
                    <a:lnTo>
                      <a:pt x="21" y="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6" name="Freeform 161">
                <a:extLst>
                  <a:ext uri="{FF2B5EF4-FFF2-40B4-BE49-F238E27FC236}">
                    <a16:creationId xmlns:a16="http://schemas.microsoft.com/office/drawing/2014/main" id="{85E2F4E0-749D-98FD-829C-D1E3861B6205}"/>
                  </a:ext>
                </a:extLst>
              </p:cNvPr>
              <p:cNvSpPr>
                <a:spLocks/>
              </p:cNvSpPr>
              <p:nvPr/>
            </p:nvSpPr>
            <p:spPr bwMode="auto">
              <a:xfrm>
                <a:off x="4306" y="832"/>
                <a:ext cx="24" cy="5"/>
              </a:xfrm>
              <a:custGeom>
                <a:avLst/>
                <a:gdLst>
                  <a:gd name="T0" fmla="*/ 5572 w 20"/>
                  <a:gd name="T1" fmla="*/ 0 h 4"/>
                  <a:gd name="T2" fmla="*/ 0 w 20"/>
                  <a:gd name="T3" fmla="*/ 1 h 4"/>
                  <a:gd name="T4" fmla="*/ 5722 w 20"/>
                  <a:gd name="T5" fmla="*/ 3392 h 4"/>
                  <a:gd name="T6" fmla="*/ 5572 w 20"/>
                  <a:gd name="T7" fmla="*/ 0 h 4"/>
                  <a:gd name="T8" fmla="*/ 0 60000 65536"/>
                  <a:gd name="T9" fmla="*/ 0 60000 65536"/>
                  <a:gd name="T10" fmla="*/ 0 60000 65536"/>
                  <a:gd name="T11" fmla="*/ 0 60000 65536"/>
                  <a:gd name="T12" fmla="*/ 0 w 20"/>
                  <a:gd name="T13" fmla="*/ 0 h 4"/>
                  <a:gd name="T14" fmla="*/ 20 w 20"/>
                  <a:gd name="T15" fmla="*/ 4 h 4"/>
                </a:gdLst>
                <a:ahLst/>
                <a:cxnLst>
                  <a:cxn ang="T8">
                    <a:pos x="T0" y="T1"/>
                  </a:cxn>
                  <a:cxn ang="T9">
                    <a:pos x="T2" y="T3"/>
                  </a:cxn>
                  <a:cxn ang="T10">
                    <a:pos x="T4" y="T5"/>
                  </a:cxn>
                  <a:cxn ang="T11">
                    <a:pos x="T6" y="T7"/>
                  </a:cxn>
                </a:cxnLst>
                <a:rect l="T12" t="T13" r="T14" b="T15"/>
                <a:pathLst>
                  <a:path w="20" h="4">
                    <a:moveTo>
                      <a:pt x="19" y="0"/>
                    </a:moveTo>
                    <a:lnTo>
                      <a:pt x="0" y="1"/>
                    </a:lnTo>
                    <a:lnTo>
                      <a:pt x="20" y="4"/>
                    </a:lnTo>
                    <a:lnTo>
                      <a:pt x="19"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7" name="Freeform 162">
                <a:extLst>
                  <a:ext uri="{FF2B5EF4-FFF2-40B4-BE49-F238E27FC236}">
                    <a16:creationId xmlns:a16="http://schemas.microsoft.com/office/drawing/2014/main" id="{5D7AEDFE-73D7-5DB1-834A-F0D66DBC7906}"/>
                  </a:ext>
                </a:extLst>
              </p:cNvPr>
              <p:cNvSpPr>
                <a:spLocks/>
              </p:cNvSpPr>
              <p:nvPr/>
            </p:nvSpPr>
            <p:spPr bwMode="auto">
              <a:xfrm>
                <a:off x="4161" y="1311"/>
                <a:ext cx="968" cy="843"/>
              </a:xfrm>
              <a:custGeom>
                <a:avLst/>
                <a:gdLst>
                  <a:gd name="T0" fmla="*/ 90747 w 807"/>
                  <a:gd name="T1" fmla="*/ 33839184 h 587"/>
                  <a:gd name="T2" fmla="*/ 75654 w 807"/>
                  <a:gd name="T3" fmla="*/ 33720963 h 587"/>
                  <a:gd name="T4" fmla="*/ 57338 w 807"/>
                  <a:gd name="T5" fmla="*/ 32180528 h 587"/>
                  <a:gd name="T6" fmla="*/ 43388 w 807"/>
                  <a:gd name="T7" fmla="*/ 30621918 h 587"/>
                  <a:gd name="T8" fmla="*/ 29519 w 807"/>
                  <a:gd name="T9" fmla="*/ 27388499 h 587"/>
                  <a:gd name="T10" fmla="*/ 29519 w 807"/>
                  <a:gd name="T11" fmla="*/ 25143196 h 587"/>
                  <a:gd name="T12" fmla="*/ 25737 w 807"/>
                  <a:gd name="T13" fmla="*/ 23898825 h 587"/>
                  <a:gd name="T14" fmla="*/ 12144 w 807"/>
                  <a:gd name="T15" fmla="*/ 21788723 h 587"/>
                  <a:gd name="T16" fmla="*/ 8640 w 807"/>
                  <a:gd name="T17" fmla="*/ 21066564 h 587"/>
                  <a:gd name="T18" fmla="*/ 4628 w 807"/>
                  <a:gd name="T19" fmla="*/ 16772913 h 587"/>
                  <a:gd name="T20" fmla="*/ 18859 w 807"/>
                  <a:gd name="T21" fmla="*/ 15171989 h 587"/>
                  <a:gd name="T22" fmla="*/ 20326 w 807"/>
                  <a:gd name="T23" fmla="*/ 12360638 h 587"/>
                  <a:gd name="T24" fmla="*/ 24637 w 807"/>
                  <a:gd name="T25" fmla="*/ 10129004 h 587"/>
                  <a:gd name="T26" fmla="*/ 31477 w 807"/>
                  <a:gd name="T27" fmla="*/ 6705110 h 587"/>
                  <a:gd name="T28" fmla="*/ 40229 w 807"/>
                  <a:gd name="T29" fmla="*/ 6044962 h 587"/>
                  <a:gd name="T30" fmla="*/ 57893 w 807"/>
                  <a:gd name="T31" fmla="*/ 10385132 h 587"/>
                  <a:gd name="T32" fmla="*/ 82498 w 807"/>
                  <a:gd name="T33" fmla="*/ 12768828 h 587"/>
                  <a:gd name="T34" fmla="*/ 108887 w 807"/>
                  <a:gd name="T35" fmla="*/ 14196143 h 587"/>
                  <a:gd name="T36" fmla="*/ 126690 w 807"/>
                  <a:gd name="T37" fmla="*/ 14914246 h 587"/>
                  <a:gd name="T38" fmla="*/ 146777 w 807"/>
                  <a:gd name="T39" fmla="*/ 12521564 h 587"/>
                  <a:gd name="T40" fmla="*/ 157590 w 807"/>
                  <a:gd name="T41" fmla="*/ 10280756 h 587"/>
                  <a:gd name="T42" fmla="*/ 159492 w 807"/>
                  <a:gd name="T43" fmla="*/ 6950106 h 587"/>
                  <a:gd name="T44" fmla="*/ 149660 w 807"/>
                  <a:gd name="T45" fmla="*/ 6644765 h 587"/>
                  <a:gd name="T46" fmla="*/ 155958 w 807"/>
                  <a:gd name="T47" fmla="*/ 3061914 h 587"/>
                  <a:gd name="T48" fmla="*/ 159083 w 807"/>
                  <a:gd name="T49" fmla="*/ 0 h 587"/>
                  <a:gd name="T50" fmla="*/ 185942 w 807"/>
                  <a:gd name="T51" fmla="*/ 3584278 h 587"/>
                  <a:gd name="T52" fmla="*/ 210574 w 807"/>
                  <a:gd name="T53" fmla="*/ 7392314 h 587"/>
                  <a:gd name="T54" fmla="*/ 227012 w 807"/>
                  <a:gd name="T55" fmla="*/ 10811624 h 587"/>
                  <a:gd name="T56" fmla="*/ 225301 w 807"/>
                  <a:gd name="T57" fmla="*/ 13866445 h 587"/>
                  <a:gd name="T58" fmla="*/ 217246 w 807"/>
                  <a:gd name="T59" fmla="*/ 14914246 h 587"/>
                  <a:gd name="T60" fmla="*/ 206840 w 807"/>
                  <a:gd name="T61" fmla="*/ 17286376 h 587"/>
                  <a:gd name="T62" fmla="*/ 198298 w 807"/>
                  <a:gd name="T63" fmla="*/ 18311750 h 587"/>
                  <a:gd name="T64" fmla="*/ 190114 w 807"/>
                  <a:gd name="T65" fmla="*/ 17286376 h 587"/>
                  <a:gd name="T66" fmla="*/ 189255 w 807"/>
                  <a:gd name="T67" fmla="*/ 20048646 h 587"/>
                  <a:gd name="T68" fmla="*/ 205945 w 807"/>
                  <a:gd name="T69" fmla="*/ 21066564 h 587"/>
                  <a:gd name="T70" fmla="*/ 198747 w 807"/>
                  <a:gd name="T71" fmla="*/ 23225218 h 587"/>
                  <a:gd name="T72" fmla="*/ 214533 w 807"/>
                  <a:gd name="T73" fmla="*/ 28598535 h 587"/>
                  <a:gd name="T74" fmla="*/ 211769 w 807"/>
                  <a:gd name="T75" fmla="*/ 30365393 h 587"/>
                  <a:gd name="T76" fmla="*/ 217369 w 807"/>
                  <a:gd name="T77" fmla="*/ 31538734 h 587"/>
                  <a:gd name="T78" fmla="*/ 218334 w 807"/>
                  <a:gd name="T79" fmla="*/ 32634248 h 587"/>
                  <a:gd name="T80" fmla="*/ 216314 w 807"/>
                  <a:gd name="T81" fmla="*/ 33839184 h 587"/>
                  <a:gd name="T82" fmla="*/ 211769 w 807"/>
                  <a:gd name="T83" fmla="*/ 36108521 h 587"/>
                  <a:gd name="T84" fmla="*/ 212884 w 807"/>
                  <a:gd name="T85" fmla="*/ 37159643 h 587"/>
                  <a:gd name="T86" fmla="*/ 208326 w 807"/>
                  <a:gd name="T87" fmla="*/ 38346747 h 587"/>
                  <a:gd name="T88" fmla="*/ 202548 w 807"/>
                  <a:gd name="T89" fmla="*/ 40223486 h 587"/>
                  <a:gd name="T90" fmla="*/ 196244 w 807"/>
                  <a:gd name="T91" fmla="*/ 40511168 h 587"/>
                  <a:gd name="T92" fmla="*/ 190166 w 807"/>
                  <a:gd name="T93" fmla="*/ 40313007 h 587"/>
                  <a:gd name="T94" fmla="*/ 187828 w 807"/>
                  <a:gd name="T95" fmla="*/ 41882555 h 587"/>
                  <a:gd name="T96" fmla="*/ 179518 w 807"/>
                  <a:gd name="T97" fmla="*/ 42402061 h 587"/>
                  <a:gd name="T98" fmla="*/ 176326 w 807"/>
                  <a:gd name="T99" fmla="*/ 42402061 h 587"/>
                  <a:gd name="T100" fmla="*/ 169309 w 807"/>
                  <a:gd name="T101" fmla="*/ 41929085 h 587"/>
                  <a:gd name="T102" fmla="*/ 155393 w 807"/>
                  <a:gd name="T103" fmla="*/ 39910688 h 587"/>
                  <a:gd name="T104" fmla="*/ 147743 w 807"/>
                  <a:gd name="T105" fmla="*/ 40664316 h 587"/>
                  <a:gd name="T106" fmla="*/ 139505 w 807"/>
                  <a:gd name="T107" fmla="*/ 41083822 h 587"/>
                  <a:gd name="T108" fmla="*/ 133420 w 807"/>
                  <a:gd name="T109" fmla="*/ 42156451 h 587"/>
                  <a:gd name="T110" fmla="*/ 125413 w 807"/>
                  <a:gd name="T111" fmla="*/ 38847526 h 587"/>
                  <a:gd name="T112" fmla="*/ 122365 w 807"/>
                  <a:gd name="T113" fmla="*/ 36728349 h 587"/>
                  <a:gd name="T114" fmla="*/ 115879 w 807"/>
                  <a:gd name="T115" fmla="*/ 32748747 h 587"/>
                  <a:gd name="T116" fmla="*/ 108887 w 807"/>
                  <a:gd name="T117" fmla="*/ 31850244 h 58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07"/>
                  <a:gd name="T178" fmla="*/ 0 h 587"/>
                  <a:gd name="T179" fmla="*/ 807 w 807"/>
                  <a:gd name="T180" fmla="*/ 587 h 58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07" h="587">
                    <a:moveTo>
                      <a:pt x="361" y="427"/>
                    </a:moveTo>
                    <a:lnTo>
                      <a:pt x="349" y="437"/>
                    </a:lnTo>
                    <a:lnTo>
                      <a:pt x="338" y="447"/>
                    </a:lnTo>
                    <a:lnTo>
                      <a:pt x="324" y="453"/>
                    </a:lnTo>
                    <a:lnTo>
                      <a:pt x="323" y="453"/>
                    </a:lnTo>
                    <a:lnTo>
                      <a:pt x="316" y="447"/>
                    </a:lnTo>
                    <a:lnTo>
                      <a:pt x="294" y="446"/>
                    </a:lnTo>
                    <a:lnTo>
                      <a:pt x="284" y="462"/>
                    </a:lnTo>
                    <a:lnTo>
                      <a:pt x="276" y="447"/>
                    </a:lnTo>
                    <a:lnTo>
                      <a:pt x="269" y="452"/>
                    </a:lnTo>
                    <a:lnTo>
                      <a:pt x="250" y="450"/>
                    </a:lnTo>
                    <a:lnTo>
                      <a:pt x="237" y="447"/>
                    </a:lnTo>
                    <a:lnTo>
                      <a:pt x="221" y="442"/>
                    </a:lnTo>
                    <a:lnTo>
                      <a:pt x="218" y="437"/>
                    </a:lnTo>
                    <a:lnTo>
                      <a:pt x="204" y="431"/>
                    </a:lnTo>
                    <a:lnTo>
                      <a:pt x="199" y="426"/>
                    </a:lnTo>
                    <a:lnTo>
                      <a:pt x="194" y="428"/>
                    </a:lnTo>
                    <a:lnTo>
                      <a:pt x="173" y="413"/>
                    </a:lnTo>
                    <a:lnTo>
                      <a:pt x="160" y="405"/>
                    </a:lnTo>
                    <a:lnTo>
                      <a:pt x="154" y="411"/>
                    </a:lnTo>
                    <a:lnTo>
                      <a:pt x="153" y="410"/>
                    </a:lnTo>
                    <a:lnTo>
                      <a:pt x="138" y="399"/>
                    </a:lnTo>
                    <a:lnTo>
                      <a:pt x="120" y="389"/>
                    </a:lnTo>
                    <a:lnTo>
                      <a:pt x="112" y="386"/>
                    </a:lnTo>
                    <a:lnTo>
                      <a:pt x="105" y="367"/>
                    </a:lnTo>
                    <a:lnTo>
                      <a:pt x="114" y="369"/>
                    </a:lnTo>
                    <a:lnTo>
                      <a:pt x="117" y="362"/>
                    </a:lnTo>
                    <a:lnTo>
                      <a:pt x="108" y="349"/>
                    </a:lnTo>
                    <a:lnTo>
                      <a:pt x="107" y="341"/>
                    </a:lnTo>
                    <a:lnTo>
                      <a:pt x="105" y="337"/>
                    </a:lnTo>
                    <a:lnTo>
                      <a:pt x="102" y="334"/>
                    </a:lnTo>
                    <a:lnTo>
                      <a:pt x="99" y="330"/>
                    </a:lnTo>
                    <a:lnTo>
                      <a:pt x="99" y="325"/>
                    </a:lnTo>
                    <a:lnTo>
                      <a:pt x="98" y="321"/>
                    </a:lnTo>
                    <a:lnTo>
                      <a:pt x="92" y="320"/>
                    </a:lnTo>
                    <a:lnTo>
                      <a:pt x="85" y="317"/>
                    </a:lnTo>
                    <a:lnTo>
                      <a:pt x="80" y="315"/>
                    </a:lnTo>
                    <a:lnTo>
                      <a:pt x="60" y="309"/>
                    </a:lnTo>
                    <a:lnTo>
                      <a:pt x="50" y="304"/>
                    </a:lnTo>
                    <a:lnTo>
                      <a:pt x="43" y="292"/>
                    </a:lnTo>
                    <a:lnTo>
                      <a:pt x="25" y="288"/>
                    </a:lnTo>
                    <a:lnTo>
                      <a:pt x="24" y="283"/>
                    </a:lnTo>
                    <a:lnTo>
                      <a:pt x="28" y="283"/>
                    </a:lnTo>
                    <a:lnTo>
                      <a:pt x="30" y="283"/>
                    </a:lnTo>
                    <a:lnTo>
                      <a:pt x="31" y="282"/>
                    </a:lnTo>
                    <a:lnTo>
                      <a:pt x="22" y="261"/>
                    </a:lnTo>
                    <a:lnTo>
                      <a:pt x="8" y="260"/>
                    </a:lnTo>
                    <a:lnTo>
                      <a:pt x="0" y="245"/>
                    </a:lnTo>
                    <a:lnTo>
                      <a:pt x="5" y="232"/>
                    </a:lnTo>
                    <a:lnTo>
                      <a:pt x="16" y="225"/>
                    </a:lnTo>
                    <a:lnTo>
                      <a:pt x="22" y="225"/>
                    </a:lnTo>
                    <a:lnTo>
                      <a:pt x="31" y="228"/>
                    </a:lnTo>
                    <a:lnTo>
                      <a:pt x="41" y="216"/>
                    </a:lnTo>
                    <a:lnTo>
                      <a:pt x="57" y="212"/>
                    </a:lnTo>
                    <a:lnTo>
                      <a:pt x="67" y="203"/>
                    </a:lnTo>
                    <a:lnTo>
                      <a:pt x="79" y="195"/>
                    </a:lnTo>
                    <a:lnTo>
                      <a:pt x="75" y="186"/>
                    </a:lnTo>
                    <a:lnTo>
                      <a:pt x="79" y="182"/>
                    </a:lnTo>
                    <a:lnTo>
                      <a:pt x="79" y="179"/>
                    </a:lnTo>
                    <a:lnTo>
                      <a:pt x="72" y="166"/>
                    </a:lnTo>
                    <a:lnTo>
                      <a:pt x="66" y="152"/>
                    </a:lnTo>
                    <a:lnTo>
                      <a:pt x="56" y="148"/>
                    </a:lnTo>
                    <a:lnTo>
                      <a:pt x="73" y="141"/>
                    </a:lnTo>
                    <a:lnTo>
                      <a:pt x="92" y="144"/>
                    </a:lnTo>
                    <a:lnTo>
                      <a:pt x="88" y="136"/>
                    </a:lnTo>
                    <a:lnTo>
                      <a:pt x="85" y="122"/>
                    </a:lnTo>
                    <a:lnTo>
                      <a:pt x="83" y="106"/>
                    </a:lnTo>
                    <a:lnTo>
                      <a:pt x="107" y="110"/>
                    </a:lnTo>
                    <a:lnTo>
                      <a:pt x="120" y="109"/>
                    </a:lnTo>
                    <a:lnTo>
                      <a:pt x="112" y="90"/>
                    </a:lnTo>
                    <a:lnTo>
                      <a:pt x="120" y="86"/>
                    </a:lnTo>
                    <a:lnTo>
                      <a:pt x="125" y="74"/>
                    </a:lnTo>
                    <a:lnTo>
                      <a:pt x="136" y="73"/>
                    </a:lnTo>
                    <a:lnTo>
                      <a:pt x="137" y="75"/>
                    </a:lnTo>
                    <a:lnTo>
                      <a:pt x="143" y="81"/>
                    </a:lnTo>
                    <a:lnTo>
                      <a:pt x="163" y="94"/>
                    </a:lnTo>
                    <a:lnTo>
                      <a:pt x="175" y="96"/>
                    </a:lnTo>
                    <a:lnTo>
                      <a:pt x="197" y="112"/>
                    </a:lnTo>
                    <a:lnTo>
                      <a:pt x="201" y="125"/>
                    </a:lnTo>
                    <a:lnTo>
                      <a:pt x="207" y="139"/>
                    </a:lnTo>
                    <a:lnTo>
                      <a:pt x="223" y="142"/>
                    </a:lnTo>
                    <a:lnTo>
                      <a:pt x="240" y="145"/>
                    </a:lnTo>
                    <a:lnTo>
                      <a:pt x="261" y="152"/>
                    </a:lnTo>
                    <a:lnTo>
                      <a:pt x="281" y="158"/>
                    </a:lnTo>
                    <a:lnTo>
                      <a:pt x="294" y="171"/>
                    </a:lnTo>
                    <a:lnTo>
                      <a:pt x="307" y="186"/>
                    </a:lnTo>
                    <a:lnTo>
                      <a:pt x="327" y="187"/>
                    </a:lnTo>
                    <a:lnTo>
                      <a:pt x="348" y="187"/>
                    </a:lnTo>
                    <a:lnTo>
                      <a:pt x="368" y="189"/>
                    </a:lnTo>
                    <a:lnTo>
                      <a:pt x="388" y="190"/>
                    </a:lnTo>
                    <a:lnTo>
                      <a:pt x="393" y="195"/>
                    </a:lnTo>
                    <a:lnTo>
                      <a:pt x="412" y="199"/>
                    </a:lnTo>
                    <a:lnTo>
                      <a:pt x="429" y="202"/>
                    </a:lnTo>
                    <a:lnTo>
                      <a:pt x="441" y="206"/>
                    </a:lnTo>
                    <a:lnTo>
                      <a:pt x="451" y="200"/>
                    </a:lnTo>
                    <a:lnTo>
                      <a:pt x="461" y="193"/>
                    </a:lnTo>
                    <a:lnTo>
                      <a:pt x="478" y="192"/>
                    </a:lnTo>
                    <a:lnTo>
                      <a:pt x="496" y="190"/>
                    </a:lnTo>
                    <a:lnTo>
                      <a:pt x="509" y="180"/>
                    </a:lnTo>
                    <a:lnTo>
                      <a:pt x="522" y="168"/>
                    </a:lnTo>
                    <a:lnTo>
                      <a:pt x="512" y="160"/>
                    </a:lnTo>
                    <a:lnTo>
                      <a:pt x="510" y="144"/>
                    </a:lnTo>
                    <a:lnTo>
                      <a:pt x="531" y="150"/>
                    </a:lnTo>
                    <a:lnTo>
                      <a:pt x="544" y="142"/>
                    </a:lnTo>
                    <a:lnTo>
                      <a:pt x="560" y="138"/>
                    </a:lnTo>
                    <a:lnTo>
                      <a:pt x="563" y="125"/>
                    </a:lnTo>
                    <a:lnTo>
                      <a:pt x="579" y="118"/>
                    </a:lnTo>
                    <a:lnTo>
                      <a:pt x="603" y="118"/>
                    </a:lnTo>
                    <a:lnTo>
                      <a:pt x="599" y="109"/>
                    </a:lnTo>
                    <a:lnTo>
                      <a:pt x="567" y="93"/>
                    </a:lnTo>
                    <a:lnTo>
                      <a:pt x="560" y="99"/>
                    </a:lnTo>
                    <a:lnTo>
                      <a:pt x="555" y="96"/>
                    </a:lnTo>
                    <a:lnTo>
                      <a:pt x="541" y="97"/>
                    </a:lnTo>
                    <a:lnTo>
                      <a:pt x="528" y="90"/>
                    </a:lnTo>
                    <a:lnTo>
                      <a:pt x="532" y="89"/>
                    </a:lnTo>
                    <a:lnTo>
                      <a:pt x="529" y="74"/>
                    </a:lnTo>
                    <a:lnTo>
                      <a:pt x="528" y="61"/>
                    </a:lnTo>
                    <a:lnTo>
                      <a:pt x="548" y="65"/>
                    </a:lnTo>
                    <a:lnTo>
                      <a:pt x="558" y="54"/>
                    </a:lnTo>
                    <a:lnTo>
                      <a:pt x="554" y="41"/>
                    </a:lnTo>
                    <a:lnTo>
                      <a:pt x="554" y="19"/>
                    </a:lnTo>
                    <a:lnTo>
                      <a:pt x="544" y="13"/>
                    </a:lnTo>
                    <a:lnTo>
                      <a:pt x="537" y="10"/>
                    </a:lnTo>
                    <a:lnTo>
                      <a:pt x="548" y="1"/>
                    </a:lnTo>
                    <a:lnTo>
                      <a:pt x="566" y="0"/>
                    </a:lnTo>
                    <a:lnTo>
                      <a:pt x="583" y="0"/>
                    </a:lnTo>
                    <a:lnTo>
                      <a:pt x="618" y="12"/>
                    </a:lnTo>
                    <a:lnTo>
                      <a:pt x="632" y="23"/>
                    </a:lnTo>
                    <a:lnTo>
                      <a:pt x="647" y="35"/>
                    </a:lnTo>
                    <a:lnTo>
                      <a:pt x="661" y="48"/>
                    </a:lnTo>
                    <a:lnTo>
                      <a:pt x="676" y="59"/>
                    </a:lnTo>
                    <a:lnTo>
                      <a:pt x="691" y="65"/>
                    </a:lnTo>
                    <a:lnTo>
                      <a:pt x="717" y="73"/>
                    </a:lnTo>
                    <a:lnTo>
                      <a:pt x="731" y="78"/>
                    </a:lnTo>
                    <a:lnTo>
                      <a:pt x="749" y="99"/>
                    </a:lnTo>
                    <a:lnTo>
                      <a:pt x="770" y="96"/>
                    </a:lnTo>
                    <a:lnTo>
                      <a:pt x="792" y="87"/>
                    </a:lnTo>
                    <a:lnTo>
                      <a:pt x="801" y="103"/>
                    </a:lnTo>
                    <a:lnTo>
                      <a:pt x="804" y="123"/>
                    </a:lnTo>
                    <a:lnTo>
                      <a:pt x="807" y="145"/>
                    </a:lnTo>
                    <a:lnTo>
                      <a:pt x="788" y="142"/>
                    </a:lnTo>
                    <a:lnTo>
                      <a:pt x="785" y="151"/>
                    </a:lnTo>
                    <a:lnTo>
                      <a:pt x="795" y="167"/>
                    </a:lnTo>
                    <a:lnTo>
                      <a:pt x="805" y="183"/>
                    </a:lnTo>
                    <a:lnTo>
                      <a:pt x="800" y="186"/>
                    </a:lnTo>
                    <a:lnTo>
                      <a:pt x="802" y="192"/>
                    </a:lnTo>
                    <a:lnTo>
                      <a:pt x="786" y="182"/>
                    </a:lnTo>
                    <a:lnTo>
                      <a:pt x="786" y="190"/>
                    </a:lnTo>
                    <a:lnTo>
                      <a:pt x="776" y="199"/>
                    </a:lnTo>
                    <a:lnTo>
                      <a:pt x="772" y="200"/>
                    </a:lnTo>
                    <a:lnTo>
                      <a:pt x="778" y="209"/>
                    </a:lnTo>
                    <a:lnTo>
                      <a:pt x="759" y="205"/>
                    </a:lnTo>
                    <a:lnTo>
                      <a:pt x="753" y="208"/>
                    </a:lnTo>
                    <a:lnTo>
                      <a:pt x="744" y="222"/>
                    </a:lnTo>
                    <a:lnTo>
                      <a:pt x="736" y="232"/>
                    </a:lnTo>
                    <a:lnTo>
                      <a:pt x="728" y="237"/>
                    </a:lnTo>
                    <a:lnTo>
                      <a:pt x="720" y="244"/>
                    </a:lnTo>
                    <a:lnTo>
                      <a:pt x="711" y="250"/>
                    </a:lnTo>
                    <a:lnTo>
                      <a:pt x="699" y="254"/>
                    </a:lnTo>
                    <a:lnTo>
                      <a:pt x="705" y="245"/>
                    </a:lnTo>
                    <a:lnTo>
                      <a:pt x="696" y="241"/>
                    </a:lnTo>
                    <a:lnTo>
                      <a:pt x="699" y="224"/>
                    </a:lnTo>
                    <a:lnTo>
                      <a:pt x="691" y="219"/>
                    </a:lnTo>
                    <a:lnTo>
                      <a:pt x="680" y="221"/>
                    </a:lnTo>
                    <a:lnTo>
                      <a:pt x="675" y="232"/>
                    </a:lnTo>
                    <a:lnTo>
                      <a:pt x="666" y="244"/>
                    </a:lnTo>
                    <a:lnTo>
                      <a:pt x="656" y="251"/>
                    </a:lnTo>
                    <a:lnTo>
                      <a:pt x="648" y="251"/>
                    </a:lnTo>
                    <a:lnTo>
                      <a:pt x="653" y="263"/>
                    </a:lnTo>
                    <a:lnTo>
                      <a:pt x="673" y="269"/>
                    </a:lnTo>
                    <a:lnTo>
                      <a:pt x="682" y="283"/>
                    </a:lnTo>
                    <a:lnTo>
                      <a:pt x="692" y="282"/>
                    </a:lnTo>
                    <a:lnTo>
                      <a:pt x="705" y="273"/>
                    </a:lnTo>
                    <a:lnTo>
                      <a:pt x="724" y="280"/>
                    </a:lnTo>
                    <a:lnTo>
                      <a:pt x="733" y="282"/>
                    </a:lnTo>
                    <a:lnTo>
                      <a:pt x="733" y="290"/>
                    </a:lnTo>
                    <a:lnTo>
                      <a:pt x="725" y="290"/>
                    </a:lnTo>
                    <a:lnTo>
                      <a:pt x="715" y="296"/>
                    </a:lnTo>
                    <a:lnTo>
                      <a:pt x="709" y="304"/>
                    </a:lnTo>
                    <a:lnTo>
                      <a:pt x="707" y="311"/>
                    </a:lnTo>
                    <a:lnTo>
                      <a:pt x="704" y="328"/>
                    </a:lnTo>
                    <a:lnTo>
                      <a:pt x="725" y="341"/>
                    </a:lnTo>
                    <a:lnTo>
                      <a:pt x="736" y="354"/>
                    </a:lnTo>
                    <a:lnTo>
                      <a:pt x="747" y="369"/>
                    </a:lnTo>
                    <a:lnTo>
                      <a:pt x="763" y="383"/>
                    </a:lnTo>
                    <a:lnTo>
                      <a:pt x="738" y="376"/>
                    </a:lnTo>
                    <a:lnTo>
                      <a:pt x="740" y="378"/>
                    </a:lnTo>
                    <a:lnTo>
                      <a:pt x="754" y="386"/>
                    </a:lnTo>
                    <a:lnTo>
                      <a:pt x="769" y="397"/>
                    </a:lnTo>
                    <a:lnTo>
                      <a:pt x="754" y="407"/>
                    </a:lnTo>
                    <a:lnTo>
                      <a:pt x="750" y="410"/>
                    </a:lnTo>
                    <a:lnTo>
                      <a:pt x="759" y="411"/>
                    </a:lnTo>
                    <a:lnTo>
                      <a:pt x="768" y="410"/>
                    </a:lnTo>
                    <a:lnTo>
                      <a:pt x="779" y="415"/>
                    </a:lnTo>
                    <a:lnTo>
                      <a:pt x="773" y="423"/>
                    </a:lnTo>
                    <a:lnTo>
                      <a:pt x="778" y="423"/>
                    </a:lnTo>
                    <a:lnTo>
                      <a:pt x="778" y="426"/>
                    </a:lnTo>
                    <a:lnTo>
                      <a:pt x="773" y="430"/>
                    </a:lnTo>
                    <a:lnTo>
                      <a:pt x="775" y="431"/>
                    </a:lnTo>
                    <a:lnTo>
                      <a:pt x="776" y="437"/>
                    </a:lnTo>
                    <a:lnTo>
                      <a:pt x="773" y="437"/>
                    </a:lnTo>
                    <a:lnTo>
                      <a:pt x="778" y="443"/>
                    </a:lnTo>
                    <a:lnTo>
                      <a:pt x="773" y="444"/>
                    </a:lnTo>
                    <a:lnTo>
                      <a:pt x="765" y="449"/>
                    </a:lnTo>
                    <a:lnTo>
                      <a:pt x="769" y="453"/>
                    </a:lnTo>
                    <a:lnTo>
                      <a:pt x="766" y="463"/>
                    </a:lnTo>
                    <a:lnTo>
                      <a:pt x="760" y="475"/>
                    </a:lnTo>
                    <a:lnTo>
                      <a:pt x="759" y="476"/>
                    </a:lnTo>
                    <a:lnTo>
                      <a:pt x="762" y="479"/>
                    </a:lnTo>
                    <a:lnTo>
                      <a:pt x="754" y="484"/>
                    </a:lnTo>
                    <a:lnTo>
                      <a:pt x="753" y="484"/>
                    </a:lnTo>
                    <a:lnTo>
                      <a:pt x="760" y="487"/>
                    </a:lnTo>
                    <a:lnTo>
                      <a:pt x="762" y="495"/>
                    </a:lnTo>
                    <a:lnTo>
                      <a:pt x="757" y="494"/>
                    </a:lnTo>
                    <a:lnTo>
                      <a:pt x="757" y="498"/>
                    </a:lnTo>
                    <a:lnTo>
                      <a:pt x="753" y="503"/>
                    </a:lnTo>
                    <a:lnTo>
                      <a:pt x="752" y="504"/>
                    </a:lnTo>
                    <a:lnTo>
                      <a:pt x="750" y="511"/>
                    </a:lnTo>
                    <a:lnTo>
                      <a:pt x="743" y="511"/>
                    </a:lnTo>
                    <a:lnTo>
                      <a:pt x="741" y="514"/>
                    </a:lnTo>
                    <a:lnTo>
                      <a:pt x="741" y="517"/>
                    </a:lnTo>
                    <a:lnTo>
                      <a:pt x="737" y="523"/>
                    </a:lnTo>
                    <a:lnTo>
                      <a:pt x="725" y="533"/>
                    </a:lnTo>
                    <a:lnTo>
                      <a:pt x="725" y="535"/>
                    </a:lnTo>
                    <a:lnTo>
                      <a:pt x="720" y="539"/>
                    </a:lnTo>
                    <a:lnTo>
                      <a:pt x="711" y="540"/>
                    </a:lnTo>
                    <a:lnTo>
                      <a:pt x="709" y="542"/>
                    </a:lnTo>
                    <a:lnTo>
                      <a:pt x="708" y="543"/>
                    </a:lnTo>
                    <a:lnTo>
                      <a:pt x="701" y="545"/>
                    </a:lnTo>
                    <a:lnTo>
                      <a:pt x="698" y="543"/>
                    </a:lnTo>
                    <a:lnTo>
                      <a:pt x="693" y="546"/>
                    </a:lnTo>
                    <a:lnTo>
                      <a:pt x="692" y="549"/>
                    </a:lnTo>
                    <a:lnTo>
                      <a:pt x="688" y="549"/>
                    </a:lnTo>
                    <a:lnTo>
                      <a:pt x="679" y="537"/>
                    </a:lnTo>
                    <a:lnTo>
                      <a:pt x="676" y="540"/>
                    </a:lnTo>
                    <a:lnTo>
                      <a:pt x="679" y="553"/>
                    </a:lnTo>
                    <a:lnTo>
                      <a:pt x="675" y="549"/>
                    </a:lnTo>
                    <a:lnTo>
                      <a:pt x="676" y="556"/>
                    </a:lnTo>
                    <a:lnTo>
                      <a:pt x="673" y="555"/>
                    </a:lnTo>
                    <a:lnTo>
                      <a:pt x="667" y="561"/>
                    </a:lnTo>
                    <a:lnTo>
                      <a:pt x="663" y="556"/>
                    </a:lnTo>
                    <a:lnTo>
                      <a:pt x="661" y="561"/>
                    </a:lnTo>
                    <a:lnTo>
                      <a:pt x="657" y="561"/>
                    </a:lnTo>
                    <a:lnTo>
                      <a:pt x="647" y="565"/>
                    </a:lnTo>
                    <a:lnTo>
                      <a:pt x="638" y="568"/>
                    </a:lnTo>
                    <a:lnTo>
                      <a:pt x="635" y="569"/>
                    </a:lnTo>
                    <a:lnTo>
                      <a:pt x="634" y="578"/>
                    </a:lnTo>
                    <a:lnTo>
                      <a:pt x="638" y="587"/>
                    </a:lnTo>
                    <a:lnTo>
                      <a:pt x="630" y="585"/>
                    </a:lnTo>
                    <a:lnTo>
                      <a:pt x="627" y="568"/>
                    </a:lnTo>
                    <a:lnTo>
                      <a:pt x="621" y="564"/>
                    </a:lnTo>
                    <a:lnTo>
                      <a:pt x="615" y="565"/>
                    </a:lnTo>
                    <a:lnTo>
                      <a:pt x="609" y="562"/>
                    </a:lnTo>
                    <a:lnTo>
                      <a:pt x="603" y="561"/>
                    </a:lnTo>
                    <a:lnTo>
                      <a:pt x="602" y="562"/>
                    </a:lnTo>
                    <a:lnTo>
                      <a:pt x="596" y="565"/>
                    </a:lnTo>
                    <a:lnTo>
                      <a:pt x="582" y="559"/>
                    </a:lnTo>
                    <a:lnTo>
                      <a:pt x="574" y="553"/>
                    </a:lnTo>
                    <a:lnTo>
                      <a:pt x="571" y="542"/>
                    </a:lnTo>
                    <a:lnTo>
                      <a:pt x="553" y="535"/>
                    </a:lnTo>
                    <a:lnTo>
                      <a:pt x="547" y="535"/>
                    </a:lnTo>
                    <a:lnTo>
                      <a:pt x="537" y="545"/>
                    </a:lnTo>
                    <a:lnTo>
                      <a:pt x="532" y="545"/>
                    </a:lnTo>
                    <a:lnTo>
                      <a:pt x="529" y="546"/>
                    </a:lnTo>
                    <a:lnTo>
                      <a:pt x="525" y="545"/>
                    </a:lnTo>
                    <a:lnTo>
                      <a:pt x="519" y="545"/>
                    </a:lnTo>
                    <a:lnTo>
                      <a:pt x="516" y="548"/>
                    </a:lnTo>
                    <a:lnTo>
                      <a:pt x="507" y="545"/>
                    </a:lnTo>
                    <a:lnTo>
                      <a:pt x="503" y="549"/>
                    </a:lnTo>
                    <a:lnTo>
                      <a:pt x="496" y="551"/>
                    </a:lnTo>
                    <a:lnTo>
                      <a:pt x="500" y="571"/>
                    </a:lnTo>
                    <a:lnTo>
                      <a:pt x="493" y="568"/>
                    </a:lnTo>
                    <a:lnTo>
                      <a:pt x="490" y="565"/>
                    </a:lnTo>
                    <a:lnTo>
                      <a:pt x="486" y="562"/>
                    </a:lnTo>
                    <a:lnTo>
                      <a:pt x="474" y="565"/>
                    </a:lnTo>
                    <a:lnTo>
                      <a:pt x="467" y="555"/>
                    </a:lnTo>
                    <a:lnTo>
                      <a:pt x="460" y="552"/>
                    </a:lnTo>
                    <a:lnTo>
                      <a:pt x="461" y="537"/>
                    </a:lnTo>
                    <a:lnTo>
                      <a:pt x="451" y="533"/>
                    </a:lnTo>
                    <a:lnTo>
                      <a:pt x="446" y="521"/>
                    </a:lnTo>
                    <a:lnTo>
                      <a:pt x="445" y="519"/>
                    </a:lnTo>
                    <a:lnTo>
                      <a:pt x="429" y="521"/>
                    </a:lnTo>
                    <a:lnTo>
                      <a:pt x="429" y="513"/>
                    </a:lnTo>
                    <a:lnTo>
                      <a:pt x="428" y="505"/>
                    </a:lnTo>
                    <a:lnTo>
                      <a:pt x="435" y="492"/>
                    </a:lnTo>
                    <a:lnTo>
                      <a:pt x="438" y="485"/>
                    </a:lnTo>
                    <a:lnTo>
                      <a:pt x="433" y="471"/>
                    </a:lnTo>
                    <a:lnTo>
                      <a:pt x="430" y="456"/>
                    </a:lnTo>
                    <a:lnTo>
                      <a:pt x="423" y="453"/>
                    </a:lnTo>
                    <a:lnTo>
                      <a:pt x="412" y="439"/>
                    </a:lnTo>
                    <a:lnTo>
                      <a:pt x="409" y="446"/>
                    </a:lnTo>
                    <a:lnTo>
                      <a:pt x="393" y="439"/>
                    </a:lnTo>
                    <a:lnTo>
                      <a:pt x="393" y="431"/>
                    </a:lnTo>
                    <a:lnTo>
                      <a:pt x="387" y="430"/>
                    </a:lnTo>
                    <a:lnTo>
                      <a:pt x="388" y="427"/>
                    </a:lnTo>
                    <a:lnTo>
                      <a:pt x="381" y="424"/>
                    </a:lnTo>
                    <a:lnTo>
                      <a:pt x="372" y="430"/>
                    </a:lnTo>
                    <a:lnTo>
                      <a:pt x="361" y="427"/>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348" name="Freeform 163">
                <a:extLst>
                  <a:ext uri="{FF2B5EF4-FFF2-40B4-BE49-F238E27FC236}">
                    <a16:creationId xmlns:a16="http://schemas.microsoft.com/office/drawing/2014/main" id="{09AC3E67-D31C-F088-D277-87757D14940F}"/>
                  </a:ext>
                </a:extLst>
              </p:cNvPr>
              <p:cNvSpPr>
                <a:spLocks/>
              </p:cNvSpPr>
              <p:nvPr/>
            </p:nvSpPr>
            <p:spPr bwMode="auto">
              <a:xfrm>
                <a:off x="4837" y="2641"/>
                <a:ext cx="6" cy="2"/>
              </a:xfrm>
              <a:custGeom>
                <a:avLst/>
                <a:gdLst>
                  <a:gd name="T0" fmla="*/ 6 w 6"/>
                  <a:gd name="T1" fmla="*/ 0 h 1"/>
                  <a:gd name="T2" fmla="*/ 0 w 6"/>
                  <a:gd name="T3" fmla="*/ 2147483647 h 1"/>
                  <a:gd name="T4" fmla="*/ 0 w 6"/>
                  <a:gd name="T5" fmla="*/ 0 h 1"/>
                  <a:gd name="T6" fmla="*/ 6 w 6"/>
                  <a:gd name="T7" fmla="*/ 0 h 1"/>
                  <a:gd name="T8" fmla="*/ 0 60000 65536"/>
                  <a:gd name="T9" fmla="*/ 0 60000 65536"/>
                  <a:gd name="T10" fmla="*/ 0 60000 65536"/>
                  <a:gd name="T11" fmla="*/ 0 60000 65536"/>
                  <a:gd name="T12" fmla="*/ 0 w 6"/>
                  <a:gd name="T13" fmla="*/ 0 h 1"/>
                  <a:gd name="T14" fmla="*/ 6 w 6"/>
                  <a:gd name="T15" fmla="*/ 1 h 1"/>
                </a:gdLst>
                <a:ahLst/>
                <a:cxnLst>
                  <a:cxn ang="T8">
                    <a:pos x="T0" y="T1"/>
                  </a:cxn>
                  <a:cxn ang="T9">
                    <a:pos x="T2" y="T3"/>
                  </a:cxn>
                  <a:cxn ang="T10">
                    <a:pos x="T4" y="T5"/>
                  </a:cxn>
                  <a:cxn ang="T11">
                    <a:pos x="T6" y="T7"/>
                  </a:cxn>
                </a:cxnLst>
                <a:rect l="T12" t="T13" r="T14" b="T15"/>
                <a:pathLst>
                  <a:path w="6" h="1">
                    <a:moveTo>
                      <a:pt x="6" y="0"/>
                    </a:moveTo>
                    <a:lnTo>
                      <a:pt x="0" y="1"/>
                    </a:lnTo>
                    <a:lnTo>
                      <a:pt x="0" y="0"/>
                    </a:lnTo>
                    <a:lnTo>
                      <a:pt x="6"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49" name="Freeform 164">
                <a:extLst>
                  <a:ext uri="{FF2B5EF4-FFF2-40B4-BE49-F238E27FC236}">
                    <a16:creationId xmlns:a16="http://schemas.microsoft.com/office/drawing/2014/main" id="{B9C283E7-2ED8-26C3-AE6A-9ACCA769621A}"/>
                  </a:ext>
                </a:extLst>
              </p:cNvPr>
              <p:cNvSpPr>
                <a:spLocks/>
              </p:cNvSpPr>
              <p:nvPr/>
            </p:nvSpPr>
            <p:spPr bwMode="auto">
              <a:xfrm>
                <a:off x="4938" y="2564"/>
                <a:ext cx="189" cy="217"/>
              </a:xfrm>
              <a:custGeom>
                <a:avLst/>
                <a:gdLst>
                  <a:gd name="T0" fmla="*/ 40755 w 158"/>
                  <a:gd name="T1" fmla="*/ 4830218 h 151"/>
                  <a:gd name="T2" fmla="*/ 37076 w 158"/>
                  <a:gd name="T3" fmla="*/ 4646852 h 151"/>
                  <a:gd name="T4" fmla="*/ 36677 w 158"/>
                  <a:gd name="T5" fmla="*/ 4646852 h 151"/>
                  <a:gd name="T6" fmla="*/ 34826 w 158"/>
                  <a:gd name="T7" fmla="*/ 6417251 h 151"/>
                  <a:gd name="T8" fmla="*/ 35375 w 158"/>
                  <a:gd name="T9" fmla="*/ 6574853 h 151"/>
                  <a:gd name="T10" fmla="*/ 34479 w 158"/>
                  <a:gd name="T11" fmla="*/ 7161397 h 151"/>
                  <a:gd name="T12" fmla="*/ 31758 w 158"/>
                  <a:gd name="T13" fmla="*/ 7521116 h 151"/>
                  <a:gd name="T14" fmla="*/ 30472 w 158"/>
                  <a:gd name="T15" fmla="*/ 8368094 h 151"/>
                  <a:gd name="T16" fmla="*/ 30472 w 158"/>
                  <a:gd name="T17" fmla="*/ 8996842 h 151"/>
                  <a:gd name="T18" fmla="*/ 31295 w 158"/>
                  <a:gd name="T19" fmla="*/ 8996842 h 151"/>
                  <a:gd name="T20" fmla="*/ 30092 w 158"/>
                  <a:gd name="T21" fmla="*/ 9448627 h 151"/>
                  <a:gd name="T22" fmla="*/ 29114 w 158"/>
                  <a:gd name="T23" fmla="*/ 9975440 h 151"/>
                  <a:gd name="T24" fmla="*/ 28294 w 158"/>
                  <a:gd name="T25" fmla="*/ 10965402 h 151"/>
                  <a:gd name="T26" fmla="*/ 22968 w 158"/>
                  <a:gd name="T27" fmla="*/ 11498342 h 151"/>
                  <a:gd name="T28" fmla="*/ 22194 w 158"/>
                  <a:gd name="T29" fmla="*/ 10785381 h 151"/>
                  <a:gd name="T30" fmla="*/ 21296 w 158"/>
                  <a:gd name="T31" fmla="*/ 10519963 h 151"/>
                  <a:gd name="T32" fmla="*/ 18721 w 158"/>
                  <a:gd name="T33" fmla="*/ 10519963 h 151"/>
                  <a:gd name="T34" fmla="*/ 16052 w 158"/>
                  <a:gd name="T35" fmla="*/ 10216876 h 151"/>
                  <a:gd name="T36" fmla="*/ 13973 w 158"/>
                  <a:gd name="T37" fmla="*/ 10519963 h 151"/>
                  <a:gd name="T38" fmla="*/ 11681 w 158"/>
                  <a:gd name="T39" fmla="*/ 10656199 h 151"/>
                  <a:gd name="T40" fmla="*/ 10840 w 158"/>
                  <a:gd name="T41" fmla="*/ 9975440 h 151"/>
                  <a:gd name="T42" fmla="*/ 7087 w 158"/>
                  <a:gd name="T43" fmla="*/ 10055773 h 151"/>
                  <a:gd name="T44" fmla="*/ 7576 w 158"/>
                  <a:gd name="T45" fmla="*/ 9975440 h 151"/>
                  <a:gd name="T46" fmla="*/ 6625 w 158"/>
                  <a:gd name="T47" fmla="*/ 10055773 h 151"/>
                  <a:gd name="T48" fmla="*/ 4953 w 158"/>
                  <a:gd name="T49" fmla="*/ 9975440 h 151"/>
                  <a:gd name="T50" fmla="*/ 4141 w 158"/>
                  <a:gd name="T51" fmla="*/ 8511372 h 151"/>
                  <a:gd name="T52" fmla="*/ 4141 w 158"/>
                  <a:gd name="T53" fmla="*/ 7521116 h 151"/>
                  <a:gd name="T54" fmla="*/ 1511 w 158"/>
                  <a:gd name="T55" fmla="*/ 6997339 h 151"/>
                  <a:gd name="T56" fmla="*/ 1807 w 158"/>
                  <a:gd name="T57" fmla="*/ 6826705 h 151"/>
                  <a:gd name="T58" fmla="*/ 883 w 158"/>
                  <a:gd name="T59" fmla="*/ 6170296 h 151"/>
                  <a:gd name="T60" fmla="*/ 1056 w 158"/>
                  <a:gd name="T61" fmla="*/ 5921231 h 151"/>
                  <a:gd name="T62" fmla="*/ 0 w 158"/>
                  <a:gd name="T63" fmla="*/ 4830218 h 151"/>
                  <a:gd name="T64" fmla="*/ 1056 w 158"/>
                  <a:gd name="T65" fmla="*/ 4121301 h 151"/>
                  <a:gd name="T66" fmla="*/ 1 w 158"/>
                  <a:gd name="T67" fmla="*/ 4121301 h 151"/>
                  <a:gd name="T68" fmla="*/ 2586 w 158"/>
                  <a:gd name="T69" fmla="*/ 3125941 h 151"/>
                  <a:gd name="T70" fmla="*/ 3700 w 158"/>
                  <a:gd name="T71" fmla="*/ 4121301 h 151"/>
                  <a:gd name="T72" fmla="*/ 7576 w 158"/>
                  <a:gd name="T73" fmla="*/ 4830218 h 151"/>
                  <a:gd name="T74" fmla="*/ 13083 w 158"/>
                  <a:gd name="T75" fmla="*/ 4401194 h 151"/>
                  <a:gd name="T76" fmla="*/ 14380 w 158"/>
                  <a:gd name="T77" fmla="*/ 3874246 h 151"/>
                  <a:gd name="T78" fmla="*/ 19905 w 158"/>
                  <a:gd name="T79" fmla="*/ 4214795 h 151"/>
                  <a:gd name="T80" fmla="*/ 23218 w 158"/>
                  <a:gd name="T81" fmla="*/ 3720320 h 151"/>
                  <a:gd name="T82" fmla="*/ 25156 w 158"/>
                  <a:gd name="T83" fmla="*/ 2646910 h 151"/>
                  <a:gd name="T84" fmla="*/ 25911 w 158"/>
                  <a:gd name="T85" fmla="*/ 1927572 h 151"/>
                  <a:gd name="T86" fmla="*/ 27400 w 158"/>
                  <a:gd name="T87" fmla="*/ 994117 h 151"/>
                  <a:gd name="T88" fmla="*/ 27565 w 158"/>
                  <a:gd name="T89" fmla="*/ 0 h 151"/>
                  <a:gd name="T90" fmla="*/ 31534 w 158"/>
                  <a:gd name="T91" fmla="*/ 162190 h 151"/>
                  <a:gd name="T92" fmla="*/ 34826 w 158"/>
                  <a:gd name="T93" fmla="*/ 334957 h 151"/>
                  <a:gd name="T94" fmla="*/ 34479 w 158"/>
                  <a:gd name="T95" fmla="*/ 481362 h 151"/>
                  <a:gd name="T96" fmla="*/ 34479 w 158"/>
                  <a:gd name="T97" fmla="*/ 519406 h 151"/>
                  <a:gd name="T98" fmla="*/ 35534 w 158"/>
                  <a:gd name="T99" fmla="*/ 994117 h 151"/>
                  <a:gd name="T100" fmla="*/ 34479 w 158"/>
                  <a:gd name="T101" fmla="*/ 994117 h 151"/>
                  <a:gd name="T102" fmla="*/ 33222 w 158"/>
                  <a:gd name="T103" fmla="*/ 994117 h 151"/>
                  <a:gd name="T104" fmla="*/ 34070 w 158"/>
                  <a:gd name="T105" fmla="*/ 1541542 h 151"/>
                  <a:gd name="T106" fmla="*/ 37076 w 158"/>
                  <a:gd name="T107" fmla="*/ 2950432 h 151"/>
                  <a:gd name="T108" fmla="*/ 36451 w 158"/>
                  <a:gd name="T109" fmla="*/ 3442471 h 151"/>
                  <a:gd name="T110" fmla="*/ 38618 w 158"/>
                  <a:gd name="T111" fmla="*/ 4121301 h 151"/>
                  <a:gd name="T112" fmla="*/ 40755 w 158"/>
                  <a:gd name="T113" fmla="*/ 4830218 h 15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8"/>
                  <a:gd name="T172" fmla="*/ 0 h 151"/>
                  <a:gd name="T173" fmla="*/ 158 w 158"/>
                  <a:gd name="T174" fmla="*/ 151 h 15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8" h="151">
                    <a:moveTo>
                      <a:pt x="158" y="63"/>
                    </a:moveTo>
                    <a:lnTo>
                      <a:pt x="144" y="61"/>
                    </a:lnTo>
                    <a:lnTo>
                      <a:pt x="142" y="61"/>
                    </a:lnTo>
                    <a:lnTo>
                      <a:pt x="135" y="84"/>
                    </a:lnTo>
                    <a:lnTo>
                      <a:pt x="137" y="86"/>
                    </a:lnTo>
                    <a:lnTo>
                      <a:pt x="134" y="94"/>
                    </a:lnTo>
                    <a:lnTo>
                      <a:pt x="123" y="99"/>
                    </a:lnTo>
                    <a:lnTo>
                      <a:pt x="118" y="110"/>
                    </a:lnTo>
                    <a:lnTo>
                      <a:pt x="118" y="118"/>
                    </a:lnTo>
                    <a:lnTo>
                      <a:pt x="121" y="118"/>
                    </a:lnTo>
                    <a:lnTo>
                      <a:pt x="116" y="124"/>
                    </a:lnTo>
                    <a:lnTo>
                      <a:pt x="113" y="131"/>
                    </a:lnTo>
                    <a:lnTo>
                      <a:pt x="109" y="144"/>
                    </a:lnTo>
                    <a:lnTo>
                      <a:pt x="89" y="151"/>
                    </a:lnTo>
                    <a:lnTo>
                      <a:pt x="86" y="141"/>
                    </a:lnTo>
                    <a:lnTo>
                      <a:pt x="83" y="138"/>
                    </a:lnTo>
                    <a:lnTo>
                      <a:pt x="73" y="138"/>
                    </a:lnTo>
                    <a:lnTo>
                      <a:pt x="62" y="134"/>
                    </a:lnTo>
                    <a:lnTo>
                      <a:pt x="54" y="138"/>
                    </a:lnTo>
                    <a:lnTo>
                      <a:pt x="45" y="140"/>
                    </a:lnTo>
                    <a:lnTo>
                      <a:pt x="42" y="131"/>
                    </a:lnTo>
                    <a:lnTo>
                      <a:pt x="28" y="132"/>
                    </a:lnTo>
                    <a:lnTo>
                      <a:pt x="29" y="131"/>
                    </a:lnTo>
                    <a:lnTo>
                      <a:pt x="26" y="132"/>
                    </a:lnTo>
                    <a:lnTo>
                      <a:pt x="19" y="131"/>
                    </a:lnTo>
                    <a:lnTo>
                      <a:pt x="16" y="112"/>
                    </a:lnTo>
                    <a:lnTo>
                      <a:pt x="16" y="99"/>
                    </a:lnTo>
                    <a:lnTo>
                      <a:pt x="6" y="92"/>
                    </a:lnTo>
                    <a:lnTo>
                      <a:pt x="7" y="90"/>
                    </a:lnTo>
                    <a:lnTo>
                      <a:pt x="3" y="81"/>
                    </a:lnTo>
                    <a:lnTo>
                      <a:pt x="4" y="77"/>
                    </a:lnTo>
                    <a:lnTo>
                      <a:pt x="0" y="63"/>
                    </a:lnTo>
                    <a:lnTo>
                      <a:pt x="4" y="54"/>
                    </a:lnTo>
                    <a:lnTo>
                      <a:pt x="1" y="54"/>
                    </a:lnTo>
                    <a:lnTo>
                      <a:pt x="10" y="41"/>
                    </a:lnTo>
                    <a:lnTo>
                      <a:pt x="14" y="54"/>
                    </a:lnTo>
                    <a:lnTo>
                      <a:pt x="29" y="63"/>
                    </a:lnTo>
                    <a:lnTo>
                      <a:pt x="51" y="58"/>
                    </a:lnTo>
                    <a:lnTo>
                      <a:pt x="55" y="51"/>
                    </a:lnTo>
                    <a:lnTo>
                      <a:pt x="77" y="55"/>
                    </a:lnTo>
                    <a:lnTo>
                      <a:pt x="90" y="49"/>
                    </a:lnTo>
                    <a:lnTo>
                      <a:pt x="97" y="35"/>
                    </a:lnTo>
                    <a:lnTo>
                      <a:pt x="100" y="25"/>
                    </a:lnTo>
                    <a:lnTo>
                      <a:pt x="105" y="13"/>
                    </a:lnTo>
                    <a:lnTo>
                      <a:pt x="107" y="0"/>
                    </a:lnTo>
                    <a:lnTo>
                      <a:pt x="122" y="2"/>
                    </a:lnTo>
                    <a:lnTo>
                      <a:pt x="135" y="4"/>
                    </a:lnTo>
                    <a:lnTo>
                      <a:pt x="134" y="6"/>
                    </a:lnTo>
                    <a:lnTo>
                      <a:pt x="134" y="7"/>
                    </a:lnTo>
                    <a:lnTo>
                      <a:pt x="138" y="13"/>
                    </a:lnTo>
                    <a:lnTo>
                      <a:pt x="134" y="13"/>
                    </a:lnTo>
                    <a:lnTo>
                      <a:pt x="129" y="13"/>
                    </a:lnTo>
                    <a:lnTo>
                      <a:pt x="132" y="20"/>
                    </a:lnTo>
                    <a:lnTo>
                      <a:pt x="144" y="39"/>
                    </a:lnTo>
                    <a:lnTo>
                      <a:pt x="141" y="45"/>
                    </a:lnTo>
                    <a:lnTo>
                      <a:pt x="150" y="54"/>
                    </a:lnTo>
                    <a:lnTo>
                      <a:pt x="158" y="6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0" name="Freeform 165">
                <a:extLst>
                  <a:ext uri="{FF2B5EF4-FFF2-40B4-BE49-F238E27FC236}">
                    <a16:creationId xmlns:a16="http://schemas.microsoft.com/office/drawing/2014/main" id="{289CF78D-E216-8089-D01E-0F6AAE13F1CB}"/>
                  </a:ext>
                </a:extLst>
              </p:cNvPr>
              <p:cNvSpPr>
                <a:spLocks/>
              </p:cNvSpPr>
              <p:nvPr/>
            </p:nvSpPr>
            <p:spPr bwMode="auto">
              <a:xfrm>
                <a:off x="4682" y="2558"/>
                <a:ext cx="208" cy="291"/>
              </a:xfrm>
              <a:custGeom>
                <a:avLst/>
                <a:gdLst>
                  <a:gd name="T0" fmla="*/ 44128 w 174"/>
                  <a:gd name="T1" fmla="*/ 11094032 h 203"/>
                  <a:gd name="T2" fmla="*/ 43637 w 174"/>
                  <a:gd name="T3" fmla="*/ 11100546 h 203"/>
                  <a:gd name="T4" fmla="*/ 43020 w 174"/>
                  <a:gd name="T5" fmla="*/ 12747029 h 203"/>
                  <a:gd name="T6" fmla="*/ 42363 w 174"/>
                  <a:gd name="T7" fmla="*/ 14321078 h 203"/>
                  <a:gd name="T8" fmla="*/ 40412 w 174"/>
                  <a:gd name="T9" fmla="*/ 13837576 h 203"/>
                  <a:gd name="T10" fmla="*/ 39966 w 174"/>
                  <a:gd name="T11" fmla="*/ 14097601 h 203"/>
                  <a:gd name="T12" fmla="*/ 38172 w 174"/>
                  <a:gd name="T13" fmla="*/ 13865937 h 203"/>
                  <a:gd name="T14" fmla="*/ 38172 w 174"/>
                  <a:gd name="T15" fmla="*/ 14321078 h 203"/>
                  <a:gd name="T16" fmla="*/ 34079 w 174"/>
                  <a:gd name="T17" fmla="*/ 13166493 h 203"/>
                  <a:gd name="T18" fmla="*/ 32321 w 174"/>
                  <a:gd name="T19" fmla="*/ 12571500 h 203"/>
                  <a:gd name="T20" fmla="*/ 29792 w 174"/>
                  <a:gd name="T21" fmla="*/ 12016837 h 203"/>
                  <a:gd name="T22" fmla="*/ 28017 w 174"/>
                  <a:gd name="T23" fmla="*/ 11339028 h 203"/>
                  <a:gd name="T24" fmla="*/ 25847 w 174"/>
                  <a:gd name="T25" fmla="*/ 10753691 h 203"/>
                  <a:gd name="T26" fmla="*/ 24175 w 174"/>
                  <a:gd name="T27" fmla="*/ 9731533 h 203"/>
                  <a:gd name="T28" fmla="*/ 22618 w 174"/>
                  <a:gd name="T29" fmla="*/ 8631020 h 203"/>
                  <a:gd name="T30" fmla="*/ 21785 w 174"/>
                  <a:gd name="T31" fmla="*/ 8471231 h 203"/>
                  <a:gd name="T32" fmla="*/ 19489 w 174"/>
                  <a:gd name="T33" fmla="*/ 7516425 h 203"/>
                  <a:gd name="T34" fmla="*/ 17137 w 174"/>
                  <a:gd name="T35" fmla="*/ 6658660 h 203"/>
                  <a:gd name="T36" fmla="*/ 16303 w 174"/>
                  <a:gd name="T37" fmla="*/ 5859665 h 203"/>
                  <a:gd name="T38" fmla="*/ 14517 w 174"/>
                  <a:gd name="T39" fmla="*/ 5007915 h 203"/>
                  <a:gd name="T40" fmla="*/ 11869 w 174"/>
                  <a:gd name="T41" fmla="*/ 4087670 h 203"/>
                  <a:gd name="T42" fmla="*/ 8924 w 174"/>
                  <a:gd name="T43" fmla="*/ 3056386 h 203"/>
                  <a:gd name="T44" fmla="*/ 5621 w 174"/>
                  <a:gd name="T45" fmla="*/ 2272932 h 203"/>
                  <a:gd name="T46" fmla="*/ 3058 w 174"/>
                  <a:gd name="T47" fmla="*/ 1425863 h 203"/>
                  <a:gd name="T48" fmla="*/ 0 w 174"/>
                  <a:gd name="T49" fmla="*/ 0 h 203"/>
                  <a:gd name="T50" fmla="*/ 3058 w 174"/>
                  <a:gd name="T51" fmla="*/ 1 h 203"/>
                  <a:gd name="T52" fmla="*/ 5621 w 174"/>
                  <a:gd name="T53" fmla="*/ 222007 h 203"/>
                  <a:gd name="T54" fmla="*/ 8975 w 174"/>
                  <a:gd name="T55" fmla="*/ 456205 h 203"/>
                  <a:gd name="T56" fmla="*/ 12753 w 174"/>
                  <a:gd name="T57" fmla="*/ 1585585 h 203"/>
                  <a:gd name="T58" fmla="*/ 13081 w 174"/>
                  <a:gd name="T59" fmla="*/ 1818906 h 203"/>
                  <a:gd name="T60" fmla="*/ 16555 w 174"/>
                  <a:gd name="T61" fmla="*/ 2607397 h 203"/>
                  <a:gd name="T62" fmla="*/ 20274 w 174"/>
                  <a:gd name="T63" fmla="*/ 3605545 h 203"/>
                  <a:gd name="T64" fmla="*/ 23297 w 174"/>
                  <a:gd name="T65" fmla="*/ 4515813 h 203"/>
                  <a:gd name="T66" fmla="*/ 23297 w 174"/>
                  <a:gd name="T67" fmla="*/ 4087670 h 203"/>
                  <a:gd name="T68" fmla="*/ 26712 w 174"/>
                  <a:gd name="T69" fmla="*/ 4759863 h 203"/>
                  <a:gd name="T70" fmla="*/ 28508 w 174"/>
                  <a:gd name="T71" fmla="*/ 5518005 h 203"/>
                  <a:gd name="T72" fmla="*/ 32377 w 174"/>
                  <a:gd name="T73" fmla="*/ 6351657 h 203"/>
                  <a:gd name="T74" fmla="*/ 33291 w 174"/>
                  <a:gd name="T75" fmla="*/ 6351657 h 203"/>
                  <a:gd name="T76" fmla="*/ 35438 w 174"/>
                  <a:gd name="T77" fmla="*/ 7006512 h 203"/>
                  <a:gd name="T78" fmla="*/ 33806 w 174"/>
                  <a:gd name="T79" fmla="*/ 7280849 h 203"/>
                  <a:gd name="T80" fmla="*/ 34079 w 174"/>
                  <a:gd name="T81" fmla="*/ 7501717 h 203"/>
                  <a:gd name="T82" fmla="*/ 33806 w 174"/>
                  <a:gd name="T83" fmla="*/ 7516425 h 203"/>
                  <a:gd name="T84" fmla="*/ 34079 w 174"/>
                  <a:gd name="T85" fmla="*/ 8012764 h 203"/>
                  <a:gd name="T86" fmla="*/ 37423 w 174"/>
                  <a:gd name="T87" fmla="*/ 8266763 h 203"/>
                  <a:gd name="T88" fmla="*/ 37976 w 174"/>
                  <a:gd name="T89" fmla="*/ 9168129 h 203"/>
                  <a:gd name="T90" fmla="*/ 38903 w 174"/>
                  <a:gd name="T91" fmla="*/ 9545173 h 203"/>
                  <a:gd name="T92" fmla="*/ 38903 w 174"/>
                  <a:gd name="T93" fmla="*/ 10043818 h 203"/>
                  <a:gd name="T94" fmla="*/ 41832 w 174"/>
                  <a:gd name="T95" fmla="*/ 10043818 h 203"/>
                  <a:gd name="T96" fmla="*/ 44128 w 174"/>
                  <a:gd name="T97" fmla="*/ 11094032 h 2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74"/>
                  <a:gd name="T148" fmla="*/ 0 h 203"/>
                  <a:gd name="T149" fmla="*/ 174 w 174"/>
                  <a:gd name="T150" fmla="*/ 203 h 20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74" h="203">
                    <a:moveTo>
                      <a:pt x="174" y="157"/>
                    </a:moveTo>
                    <a:lnTo>
                      <a:pt x="173" y="158"/>
                    </a:lnTo>
                    <a:lnTo>
                      <a:pt x="170" y="181"/>
                    </a:lnTo>
                    <a:lnTo>
                      <a:pt x="167" y="203"/>
                    </a:lnTo>
                    <a:lnTo>
                      <a:pt x="160" y="196"/>
                    </a:lnTo>
                    <a:lnTo>
                      <a:pt x="158" y="200"/>
                    </a:lnTo>
                    <a:lnTo>
                      <a:pt x="151" y="197"/>
                    </a:lnTo>
                    <a:lnTo>
                      <a:pt x="151" y="203"/>
                    </a:lnTo>
                    <a:lnTo>
                      <a:pt x="135" y="187"/>
                    </a:lnTo>
                    <a:lnTo>
                      <a:pt x="127" y="178"/>
                    </a:lnTo>
                    <a:lnTo>
                      <a:pt x="118" y="170"/>
                    </a:lnTo>
                    <a:lnTo>
                      <a:pt x="111" y="161"/>
                    </a:lnTo>
                    <a:lnTo>
                      <a:pt x="102" y="152"/>
                    </a:lnTo>
                    <a:lnTo>
                      <a:pt x="95" y="138"/>
                    </a:lnTo>
                    <a:lnTo>
                      <a:pt x="89" y="123"/>
                    </a:lnTo>
                    <a:lnTo>
                      <a:pt x="86" y="120"/>
                    </a:lnTo>
                    <a:lnTo>
                      <a:pt x="77" y="107"/>
                    </a:lnTo>
                    <a:lnTo>
                      <a:pt x="68" y="94"/>
                    </a:lnTo>
                    <a:lnTo>
                      <a:pt x="64" y="83"/>
                    </a:lnTo>
                    <a:lnTo>
                      <a:pt x="58" y="71"/>
                    </a:lnTo>
                    <a:lnTo>
                      <a:pt x="47" y="58"/>
                    </a:lnTo>
                    <a:lnTo>
                      <a:pt x="35" y="43"/>
                    </a:lnTo>
                    <a:lnTo>
                      <a:pt x="23" y="32"/>
                    </a:lnTo>
                    <a:lnTo>
                      <a:pt x="12" y="20"/>
                    </a:lnTo>
                    <a:lnTo>
                      <a:pt x="0" y="0"/>
                    </a:lnTo>
                    <a:lnTo>
                      <a:pt x="12" y="1"/>
                    </a:lnTo>
                    <a:lnTo>
                      <a:pt x="23" y="3"/>
                    </a:lnTo>
                    <a:lnTo>
                      <a:pt x="36" y="6"/>
                    </a:lnTo>
                    <a:lnTo>
                      <a:pt x="50" y="22"/>
                    </a:lnTo>
                    <a:lnTo>
                      <a:pt x="52" y="26"/>
                    </a:lnTo>
                    <a:lnTo>
                      <a:pt x="66" y="37"/>
                    </a:lnTo>
                    <a:lnTo>
                      <a:pt x="80" y="51"/>
                    </a:lnTo>
                    <a:lnTo>
                      <a:pt x="92" y="64"/>
                    </a:lnTo>
                    <a:lnTo>
                      <a:pt x="92" y="58"/>
                    </a:lnTo>
                    <a:lnTo>
                      <a:pt x="105" y="68"/>
                    </a:lnTo>
                    <a:lnTo>
                      <a:pt x="113" y="78"/>
                    </a:lnTo>
                    <a:lnTo>
                      <a:pt x="128" y="90"/>
                    </a:lnTo>
                    <a:lnTo>
                      <a:pt x="131" y="90"/>
                    </a:lnTo>
                    <a:lnTo>
                      <a:pt x="140" y="99"/>
                    </a:lnTo>
                    <a:lnTo>
                      <a:pt x="134" y="103"/>
                    </a:lnTo>
                    <a:lnTo>
                      <a:pt x="135" y="106"/>
                    </a:lnTo>
                    <a:lnTo>
                      <a:pt x="134" y="107"/>
                    </a:lnTo>
                    <a:lnTo>
                      <a:pt x="135" y="114"/>
                    </a:lnTo>
                    <a:lnTo>
                      <a:pt x="148" y="117"/>
                    </a:lnTo>
                    <a:lnTo>
                      <a:pt x="150" y="130"/>
                    </a:lnTo>
                    <a:lnTo>
                      <a:pt x="154" y="135"/>
                    </a:lnTo>
                    <a:lnTo>
                      <a:pt x="154" y="142"/>
                    </a:lnTo>
                    <a:lnTo>
                      <a:pt x="166" y="142"/>
                    </a:lnTo>
                    <a:lnTo>
                      <a:pt x="174" y="157"/>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1" name="Freeform 166">
                <a:extLst>
                  <a:ext uri="{FF2B5EF4-FFF2-40B4-BE49-F238E27FC236}">
                    <a16:creationId xmlns:a16="http://schemas.microsoft.com/office/drawing/2014/main" id="{890709E4-5344-024C-7ADF-D04F2E3C21FB}"/>
                  </a:ext>
                </a:extLst>
              </p:cNvPr>
              <p:cNvSpPr>
                <a:spLocks/>
              </p:cNvSpPr>
              <p:nvPr/>
            </p:nvSpPr>
            <p:spPr bwMode="auto">
              <a:xfrm>
                <a:off x="5357" y="2688"/>
                <a:ext cx="189" cy="225"/>
              </a:xfrm>
              <a:custGeom>
                <a:avLst/>
                <a:gdLst>
                  <a:gd name="T0" fmla="*/ 37350 w 157"/>
                  <a:gd name="T1" fmla="*/ 9222236 h 157"/>
                  <a:gd name="T2" fmla="*/ 38349 w 157"/>
                  <a:gd name="T3" fmla="*/ 9674993 h 157"/>
                  <a:gd name="T4" fmla="*/ 44097 w 157"/>
                  <a:gd name="T5" fmla="*/ 10145722 h 157"/>
                  <a:gd name="T6" fmla="*/ 47112 w 157"/>
                  <a:gd name="T7" fmla="*/ 9931499 h 157"/>
                  <a:gd name="T8" fmla="*/ 47992 w 157"/>
                  <a:gd name="T9" fmla="*/ 7885267 h 157"/>
                  <a:gd name="T10" fmla="*/ 48974 w 157"/>
                  <a:gd name="T11" fmla="*/ 5818843 h 157"/>
                  <a:gd name="T12" fmla="*/ 48974 w 157"/>
                  <a:gd name="T13" fmla="*/ 3747382 h 157"/>
                  <a:gd name="T14" fmla="*/ 45779 w 157"/>
                  <a:gd name="T15" fmla="*/ 2534152 h 157"/>
                  <a:gd name="T16" fmla="*/ 33794 w 157"/>
                  <a:gd name="T17" fmla="*/ 1329164 h 157"/>
                  <a:gd name="T18" fmla="*/ 25617 w 157"/>
                  <a:gd name="T19" fmla="*/ 2534152 h 157"/>
                  <a:gd name="T20" fmla="*/ 18260 w 157"/>
                  <a:gd name="T21" fmla="*/ 3229338 h 157"/>
                  <a:gd name="T22" fmla="*/ 16352 w 157"/>
                  <a:gd name="T23" fmla="*/ 2913105 h 157"/>
                  <a:gd name="T24" fmla="*/ 15168 w 157"/>
                  <a:gd name="T25" fmla="*/ 927461 h 157"/>
                  <a:gd name="T26" fmla="*/ 10218 w 157"/>
                  <a:gd name="T27" fmla="*/ 219869 h 157"/>
                  <a:gd name="T28" fmla="*/ 982 w 157"/>
                  <a:gd name="T29" fmla="*/ 690597 h 157"/>
                  <a:gd name="T30" fmla="*/ 4169 w 157"/>
                  <a:gd name="T31" fmla="*/ 1600431 h 157"/>
                  <a:gd name="T32" fmla="*/ 10218 w 157"/>
                  <a:gd name="T33" fmla="*/ 2293611 h 157"/>
                  <a:gd name="T34" fmla="*/ 14005 w 157"/>
                  <a:gd name="T35" fmla="*/ 2534152 h 157"/>
                  <a:gd name="T36" fmla="*/ 12687 w 157"/>
                  <a:gd name="T37" fmla="*/ 2614841 h 157"/>
                  <a:gd name="T38" fmla="*/ 6276 w 157"/>
                  <a:gd name="T39" fmla="*/ 2913105 h 157"/>
                  <a:gd name="T40" fmla="*/ 8755 w 157"/>
                  <a:gd name="T41" fmla="*/ 3912254 h 157"/>
                  <a:gd name="T42" fmla="*/ 10539 w 157"/>
                  <a:gd name="T43" fmla="*/ 4547628 h 157"/>
                  <a:gd name="T44" fmla="*/ 12687 w 157"/>
                  <a:gd name="T45" fmla="*/ 4060261 h 157"/>
                  <a:gd name="T46" fmla="*/ 18260 w 157"/>
                  <a:gd name="T47" fmla="*/ 4490254 h 157"/>
                  <a:gd name="T48" fmla="*/ 21409 w 157"/>
                  <a:gd name="T49" fmla="*/ 5174865 h 157"/>
                  <a:gd name="T50" fmla="*/ 29413 w 157"/>
                  <a:gd name="T51" fmla="*/ 5818843 h 157"/>
                  <a:gd name="T52" fmla="*/ 34958 w 157"/>
                  <a:gd name="T53" fmla="*/ 6580302 h 157"/>
                  <a:gd name="T54" fmla="*/ 38349 w 157"/>
                  <a:gd name="T55" fmla="*/ 8195789 h 157"/>
                  <a:gd name="T56" fmla="*/ 38849 w 157"/>
                  <a:gd name="T57" fmla="*/ 8550332 h 157"/>
                  <a:gd name="T58" fmla="*/ 37123 w 157"/>
                  <a:gd name="T59" fmla="*/ 8911868 h 157"/>
                  <a:gd name="T60" fmla="*/ 31026 w 157"/>
                  <a:gd name="T61" fmla="*/ 10045375 h 157"/>
                  <a:gd name="T62" fmla="*/ 37350 w 157"/>
                  <a:gd name="T63" fmla="*/ 9169899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7"/>
                  <a:gd name="T97" fmla="*/ 0 h 157"/>
                  <a:gd name="T98" fmla="*/ 157 w 157"/>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7" h="157">
                    <a:moveTo>
                      <a:pt x="119" y="131"/>
                    </a:moveTo>
                    <a:lnTo>
                      <a:pt x="119" y="132"/>
                    </a:lnTo>
                    <a:lnTo>
                      <a:pt x="118" y="139"/>
                    </a:lnTo>
                    <a:lnTo>
                      <a:pt x="122" y="138"/>
                    </a:lnTo>
                    <a:lnTo>
                      <a:pt x="135" y="136"/>
                    </a:lnTo>
                    <a:lnTo>
                      <a:pt x="140" y="145"/>
                    </a:lnTo>
                    <a:lnTo>
                      <a:pt x="150" y="157"/>
                    </a:lnTo>
                    <a:lnTo>
                      <a:pt x="150" y="142"/>
                    </a:lnTo>
                    <a:lnTo>
                      <a:pt x="151" y="128"/>
                    </a:lnTo>
                    <a:lnTo>
                      <a:pt x="153" y="113"/>
                    </a:lnTo>
                    <a:lnTo>
                      <a:pt x="154" y="97"/>
                    </a:lnTo>
                    <a:lnTo>
                      <a:pt x="156" y="83"/>
                    </a:lnTo>
                    <a:lnTo>
                      <a:pt x="156" y="68"/>
                    </a:lnTo>
                    <a:lnTo>
                      <a:pt x="156" y="54"/>
                    </a:lnTo>
                    <a:lnTo>
                      <a:pt x="157" y="39"/>
                    </a:lnTo>
                    <a:lnTo>
                      <a:pt x="145" y="36"/>
                    </a:lnTo>
                    <a:lnTo>
                      <a:pt x="127" y="27"/>
                    </a:lnTo>
                    <a:lnTo>
                      <a:pt x="108" y="19"/>
                    </a:lnTo>
                    <a:lnTo>
                      <a:pt x="97" y="27"/>
                    </a:lnTo>
                    <a:lnTo>
                      <a:pt x="81" y="36"/>
                    </a:lnTo>
                    <a:lnTo>
                      <a:pt x="65" y="54"/>
                    </a:lnTo>
                    <a:lnTo>
                      <a:pt x="58" y="46"/>
                    </a:lnTo>
                    <a:lnTo>
                      <a:pt x="52" y="39"/>
                    </a:lnTo>
                    <a:lnTo>
                      <a:pt x="52" y="42"/>
                    </a:lnTo>
                    <a:lnTo>
                      <a:pt x="48" y="22"/>
                    </a:lnTo>
                    <a:lnTo>
                      <a:pt x="48" y="13"/>
                    </a:lnTo>
                    <a:lnTo>
                      <a:pt x="47" y="6"/>
                    </a:lnTo>
                    <a:lnTo>
                      <a:pt x="32" y="3"/>
                    </a:lnTo>
                    <a:lnTo>
                      <a:pt x="18" y="0"/>
                    </a:lnTo>
                    <a:lnTo>
                      <a:pt x="3" y="10"/>
                    </a:lnTo>
                    <a:lnTo>
                      <a:pt x="0" y="19"/>
                    </a:lnTo>
                    <a:lnTo>
                      <a:pt x="13" y="23"/>
                    </a:lnTo>
                    <a:lnTo>
                      <a:pt x="20" y="33"/>
                    </a:lnTo>
                    <a:lnTo>
                      <a:pt x="32" y="33"/>
                    </a:lnTo>
                    <a:lnTo>
                      <a:pt x="44" y="32"/>
                    </a:lnTo>
                    <a:lnTo>
                      <a:pt x="44" y="36"/>
                    </a:lnTo>
                    <a:lnTo>
                      <a:pt x="42" y="38"/>
                    </a:lnTo>
                    <a:lnTo>
                      <a:pt x="41" y="38"/>
                    </a:lnTo>
                    <a:lnTo>
                      <a:pt x="35" y="38"/>
                    </a:lnTo>
                    <a:lnTo>
                      <a:pt x="20" y="42"/>
                    </a:lnTo>
                    <a:lnTo>
                      <a:pt x="15" y="45"/>
                    </a:lnTo>
                    <a:lnTo>
                      <a:pt x="28" y="56"/>
                    </a:lnTo>
                    <a:lnTo>
                      <a:pt x="26" y="64"/>
                    </a:lnTo>
                    <a:lnTo>
                      <a:pt x="34" y="65"/>
                    </a:lnTo>
                    <a:lnTo>
                      <a:pt x="44" y="48"/>
                    </a:lnTo>
                    <a:lnTo>
                      <a:pt x="41" y="58"/>
                    </a:lnTo>
                    <a:lnTo>
                      <a:pt x="55" y="64"/>
                    </a:lnTo>
                    <a:lnTo>
                      <a:pt x="58" y="64"/>
                    </a:lnTo>
                    <a:lnTo>
                      <a:pt x="57" y="68"/>
                    </a:lnTo>
                    <a:lnTo>
                      <a:pt x="68" y="74"/>
                    </a:lnTo>
                    <a:lnTo>
                      <a:pt x="81" y="78"/>
                    </a:lnTo>
                    <a:lnTo>
                      <a:pt x="93" y="83"/>
                    </a:lnTo>
                    <a:lnTo>
                      <a:pt x="105" y="87"/>
                    </a:lnTo>
                    <a:lnTo>
                      <a:pt x="111" y="94"/>
                    </a:lnTo>
                    <a:lnTo>
                      <a:pt x="118" y="115"/>
                    </a:lnTo>
                    <a:lnTo>
                      <a:pt x="122" y="117"/>
                    </a:lnTo>
                    <a:lnTo>
                      <a:pt x="115" y="117"/>
                    </a:lnTo>
                    <a:lnTo>
                      <a:pt x="124" y="122"/>
                    </a:lnTo>
                    <a:lnTo>
                      <a:pt x="116" y="123"/>
                    </a:lnTo>
                    <a:lnTo>
                      <a:pt x="118" y="128"/>
                    </a:lnTo>
                    <a:lnTo>
                      <a:pt x="108" y="126"/>
                    </a:lnTo>
                    <a:lnTo>
                      <a:pt x="99" y="144"/>
                    </a:lnTo>
                    <a:lnTo>
                      <a:pt x="112" y="141"/>
                    </a:lnTo>
                    <a:lnTo>
                      <a:pt x="119" y="13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2" name="Freeform 167">
                <a:extLst>
                  <a:ext uri="{FF2B5EF4-FFF2-40B4-BE49-F238E27FC236}">
                    <a16:creationId xmlns:a16="http://schemas.microsoft.com/office/drawing/2014/main" id="{8AC34BC3-6FCD-714A-01E2-95BF66C09A06}"/>
                  </a:ext>
                </a:extLst>
              </p:cNvPr>
              <p:cNvSpPr>
                <a:spLocks/>
              </p:cNvSpPr>
              <p:nvPr/>
            </p:nvSpPr>
            <p:spPr bwMode="auto">
              <a:xfrm>
                <a:off x="5124" y="2633"/>
                <a:ext cx="122" cy="189"/>
              </a:xfrm>
              <a:custGeom>
                <a:avLst/>
                <a:gdLst>
                  <a:gd name="T0" fmla="*/ 26313 w 102"/>
                  <a:gd name="T1" fmla="*/ 216121 h 132"/>
                  <a:gd name="T2" fmla="*/ 25143 w 102"/>
                  <a:gd name="T3" fmla="*/ 0 h 132"/>
                  <a:gd name="T4" fmla="*/ 21265 w 102"/>
                  <a:gd name="T5" fmla="*/ 1081462 h 132"/>
                  <a:gd name="T6" fmla="*/ 16177 w 102"/>
                  <a:gd name="T7" fmla="*/ 908340 h 132"/>
                  <a:gd name="T8" fmla="*/ 10918 w 102"/>
                  <a:gd name="T9" fmla="*/ 634396 h 132"/>
                  <a:gd name="T10" fmla="*/ 8151 w 102"/>
                  <a:gd name="T11" fmla="*/ 634396 h 132"/>
                  <a:gd name="T12" fmla="*/ 6815 w 102"/>
                  <a:gd name="T13" fmla="*/ 1081462 h 132"/>
                  <a:gd name="T14" fmla="*/ 6327 w 102"/>
                  <a:gd name="T15" fmla="*/ 1081462 h 132"/>
                  <a:gd name="T16" fmla="*/ 4136 w 102"/>
                  <a:gd name="T17" fmla="*/ 2089965 h 132"/>
                  <a:gd name="T18" fmla="*/ 4136 w 102"/>
                  <a:gd name="T19" fmla="*/ 3149293 h 132"/>
                  <a:gd name="T20" fmla="*/ 3862 w 102"/>
                  <a:gd name="T21" fmla="*/ 2992449 h 132"/>
                  <a:gd name="T22" fmla="*/ 2417 w 102"/>
                  <a:gd name="T23" fmla="*/ 4145070 h 132"/>
                  <a:gd name="T24" fmla="*/ 0 w 102"/>
                  <a:gd name="T25" fmla="*/ 5312720 h 132"/>
                  <a:gd name="T26" fmla="*/ 883 w 102"/>
                  <a:gd name="T27" fmla="*/ 6393423 h 132"/>
                  <a:gd name="T28" fmla="*/ 2891 w 102"/>
                  <a:gd name="T29" fmla="*/ 6508043 h 132"/>
                  <a:gd name="T30" fmla="*/ 2417 w 102"/>
                  <a:gd name="T31" fmla="*/ 7388542 h 132"/>
                  <a:gd name="T32" fmla="*/ 2417 w 102"/>
                  <a:gd name="T33" fmla="*/ 8318668 h 132"/>
                  <a:gd name="T34" fmla="*/ 2891 w 102"/>
                  <a:gd name="T35" fmla="*/ 8996393 h 132"/>
                  <a:gd name="T36" fmla="*/ 6327 w 102"/>
                  <a:gd name="T37" fmla="*/ 8783951 h 132"/>
                  <a:gd name="T38" fmla="*/ 6327 w 102"/>
                  <a:gd name="T39" fmla="*/ 7273888 h 132"/>
                  <a:gd name="T40" fmla="*/ 6327 w 102"/>
                  <a:gd name="T41" fmla="*/ 5841319 h 132"/>
                  <a:gd name="T42" fmla="*/ 8987 w 102"/>
                  <a:gd name="T43" fmla="*/ 5312720 h 132"/>
                  <a:gd name="T44" fmla="*/ 8987 w 102"/>
                  <a:gd name="T45" fmla="*/ 6045606 h 132"/>
                  <a:gd name="T46" fmla="*/ 9052 w 102"/>
                  <a:gd name="T47" fmla="*/ 6597005 h 132"/>
                  <a:gd name="T48" fmla="*/ 10918 w 102"/>
                  <a:gd name="T49" fmla="*/ 7232463 h 132"/>
                  <a:gd name="T50" fmla="*/ 11308 w 102"/>
                  <a:gd name="T51" fmla="*/ 8006789 h 132"/>
                  <a:gd name="T52" fmla="*/ 12950 w 102"/>
                  <a:gd name="T53" fmla="*/ 7826632 h 132"/>
                  <a:gd name="T54" fmla="*/ 15489 w 102"/>
                  <a:gd name="T55" fmla="*/ 7388542 h 132"/>
                  <a:gd name="T56" fmla="*/ 16588 w 102"/>
                  <a:gd name="T57" fmla="*/ 7232463 h 132"/>
                  <a:gd name="T58" fmla="*/ 13947 w 102"/>
                  <a:gd name="T59" fmla="*/ 6283196 h 132"/>
                  <a:gd name="T60" fmla="*/ 14679 w 102"/>
                  <a:gd name="T61" fmla="*/ 5934985 h 132"/>
                  <a:gd name="T62" fmla="*/ 12273 w 102"/>
                  <a:gd name="T63" fmla="*/ 5051247 h 132"/>
                  <a:gd name="T64" fmla="*/ 10749 w 102"/>
                  <a:gd name="T65" fmla="*/ 4222328 h 132"/>
                  <a:gd name="T66" fmla="*/ 12110 w 102"/>
                  <a:gd name="T67" fmla="*/ 4388264 h 132"/>
                  <a:gd name="T68" fmla="*/ 15378 w 102"/>
                  <a:gd name="T69" fmla="*/ 3749665 h 132"/>
                  <a:gd name="T70" fmla="*/ 18092 w 102"/>
                  <a:gd name="T71" fmla="*/ 3149293 h 132"/>
                  <a:gd name="T72" fmla="*/ 19349 w 102"/>
                  <a:gd name="T73" fmla="*/ 3149293 h 132"/>
                  <a:gd name="T74" fmla="*/ 18526 w 102"/>
                  <a:gd name="T75" fmla="*/ 2781461 h 132"/>
                  <a:gd name="T76" fmla="*/ 16817 w 102"/>
                  <a:gd name="T77" fmla="*/ 2992449 h 132"/>
                  <a:gd name="T78" fmla="*/ 11661 w 102"/>
                  <a:gd name="T79" fmla="*/ 3149293 h 132"/>
                  <a:gd name="T80" fmla="*/ 8151 w 102"/>
                  <a:gd name="T81" fmla="*/ 3749665 h 132"/>
                  <a:gd name="T82" fmla="*/ 5335 w 102"/>
                  <a:gd name="T83" fmla="*/ 2539320 h 132"/>
                  <a:gd name="T84" fmla="*/ 6815 w 102"/>
                  <a:gd name="T85" fmla="*/ 1459658 h 132"/>
                  <a:gd name="T86" fmla="*/ 12273 w 102"/>
                  <a:gd name="T87" fmla="*/ 1548457 h 132"/>
                  <a:gd name="T88" fmla="*/ 18526 w 102"/>
                  <a:gd name="T89" fmla="*/ 1548457 h 132"/>
                  <a:gd name="T90" fmla="*/ 23731 w 102"/>
                  <a:gd name="T91" fmla="*/ 1389824 h 132"/>
                  <a:gd name="T92" fmla="*/ 26313 w 102"/>
                  <a:gd name="T93" fmla="*/ 21612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2"/>
                  <a:gd name="T142" fmla="*/ 0 h 132"/>
                  <a:gd name="T143" fmla="*/ 102 w 102"/>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2" h="132">
                    <a:moveTo>
                      <a:pt x="102" y="3"/>
                    </a:moveTo>
                    <a:lnTo>
                      <a:pt x="98" y="0"/>
                    </a:lnTo>
                    <a:lnTo>
                      <a:pt x="83" y="16"/>
                    </a:lnTo>
                    <a:lnTo>
                      <a:pt x="63" y="13"/>
                    </a:lnTo>
                    <a:lnTo>
                      <a:pt x="43" y="9"/>
                    </a:lnTo>
                    <a:lnTo>
                      <a:pt x="32" y="9"/>
                    </a:lnTo>
                    <a:lnTo>
                      <a:pt x="27" y="16"/>
                    </a:lnTo>
                    <a:lnTo>
                      <a:pt x="24" y="16"/>
                    </a:lnTo>
                    <a:lnTo>
                      <a:pt x="16" y="31"/>
                    </a:lnTo>
                    <a:lnTo>
                      <a:pt x="16" y="46"/>
                    </a:lnTo>
                    <a:lnTo>
                      <a:pt x="15" y="44"/>
                    </a:lnTo>
                    <a:lnTo>
                      <a:pt x="9" y="61"/>
                    </a:lnTo>
                    <a:lnTo>
                      <a:pt x="0" y="78"/>
                    </a:lnTo>
                    <a:lnTo>
                      <a:pt x="3" y="94"/>
                    </a:lnTo>
                    <a:lnTo>
                      <a:pt x="11" y="96"/>
                    </a:lnTo>
                    <a:lnTo>
                      <a:pt x="9" y="109"/>
                    </a:lnTo>
                    <a:lnTo>
                      <a:pt x="9" y="122"/>
                    </a:lnTo>
                    <a:lnTo>
                      <a:pt x="11" y="132"/>
                    </a:lnTo>
                    <a:lnTo>
                      <a:pt x="24" y="129"/>
                    </a:lnTo>
                    <a:lnTo>
                      <a:pt x="24" y="107"/>
                    </a:lnTo>
                    <a:lnTo>
                      <a:pt x="24" y="86"/>
                    </a:lnTo>
                    <a:lnTo>
                      <a:pt x="34" y="78"/>
                    </a:lnTo>
                    <a:lnTo>
                      <a:pt x="34" y="89"/>
                    </a:lnTo>
                    <a:lnTo>
                      <a:pt x="35" y="97"/>
                    </a:lnTo>
                    <a:lnTo>
                      <a:pt x="43" y="106"/>
                    </a:lnTo>
                    <a:lnTo>
                      <a:pt x="44" y="118"/>
                    </a:lnTo>
                    <a:lnTo>
                      <a:pt x="50" y="115"/>
                    </a:lnTo>
                    <a:lnTo>
                      <a:pt x="60" y="109"/>
                    </a:lnTo>
                    <a:lnTo>
                      <a:pt x="64" y="106"/>
                    </a:lnTo>
                    <a:lnTo>
                      <a:pt x="54" y="92"/>
                    </a:lnTo>
                    <a:lnTo>
                      <a:pt x="57" y="87"/>
                    </a:lnTo>
                    <a:lnTo>
                      <a:pt x="48" y="74"/>
                    </a:lnTo>
                    <a:lnTo>
                      <a:pt x="41" y="62"/>
                    </a:lnTo>
                    <a:lnTo>
                      <a:pt x="47" y="64"/>
                    </a:lnTo>
                    <a:lnTo>
                      <a:pt x="59" y="55"/>
                    </a:lnTo>
                    <a:lnTo>
                      <a:pt x="70" y="46"/>
                    </a:lnTo>
                    <a:lnTo>
                      <a:pt x="75" y="46"/>
                    </a:lnTo>
                    <a:lnTo>
                      <a:pt x="72" y="41"/>
                    </a:lnTo>
                    <a:lnTo>
                      <a:pt x="66" y="44"/>
                    </a:lnTo>
                    <a:lnTo>
                      <a:pt x="45" y="46"/>
                    </a:lnTo>
                    <a:lnTo>
                      <a:pt x="32" y="55"/>
                    </a:lnTo>
                    <a:lnTo>
                      <a:pt x="21" y="38"/>
                    </a:lnTo>
                    <a:lnTo>
                      <a:pt x="27" y="22"/>
                    </a:lnTo>
                    <a:lnTo>
                      <a:pt x="48" y="23"/>
                    </a:lnTo>
                    <a:lnTo>
                      <a:pt x="72" y="23"/>
                    </a:lnTo>
                    <a:lnTo>
                      <a:pt x="92" y="20"/>
                    </a:lnTo>
                    <a:lnTo>
                      <a:pt x="102" y="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3" name="Freeform 168">
                <a:extLst>
                  <a:ext uri="{FF2B5EF4-FFF2-40B4-BE49-F238E27FC236}">
                    <a16:creationId xmlns:a16="http://schemas.microsoft.com/office/drawing/2014/main" id="{9F9C7DB2-F2F6-5BA9-5F3A-35234773A05A}"/>
                  </a:ext>
                </a:extLst>
              </p:cNvPr>
              <p:cNvSpPr>
                <a:spLocks/>
              </p:cNvSpPr>
              <p:nvPr/>
            </p:nvSpPr>
            <p:spPr bwMode="auto">
              <a:xfrm>
                <a:off x="4864" y="2831"/>
                <a:ext cx="173" cy="71"/>
              </a:xfrm>
              <a:custGeom>
                <a:avLst/>
                <a:gdLst>
                  <a:gd name="T0" fmla="*/ 42480 w 144"/>
                  <a:gd name="T1" fmla="*/ 4825293 h 49"/>
                  <a:gd name="T2" fmla="*/ 41974 w 144"/>
                  <a:gd name="T3" fmla="*/ 4562182 h 49"/>
                  <a:gd name="T4" fmla="*/ 41974 w 144"/>
                  <a:gd name="T5" fmla="*/ 3266797 h 49"/>
                  <a:gd name="T6" fmla="*/ 38608 w 144"/>
                  <a:gd name="T7" fmla="*/ 3148549 h 49"/>
                  <a:gd name="T8" fmla="*/ 35190 w 144"/>
                  <a:gd name="T9" fmla="*/ 2842582 h 49"/>
                  <a:gd name="T10" fmla="*/ 33754 w 144"/>
                  <a:gd name="T11" fmla="*/ 1891326 h 49"/>
                  <a:gd name="T12" fmla="*/ 28096 w 144"/>
                  <a:gd name="T13" fmla="*/ 1305281 h 49"/>
                  <a:gd name="T14" fmla="*/ 26372 w 144"/>
                  <a:gd name="T15" fmla="*/ 644858 h 49"/>
                  <a:gd name="T16" fmla="*/ 24498 w 144"/>
                  <a:gd name="T17" fmla="*/ 1555958 h 49"/>
                  <a:gd name="T18" fmla="*/ 20556 w 144"/>
                  <a:gd name="T19" fmla="*/ 1555958 h 49"/>
                  <a:gd name="T20" fmla="*/ 17110 w 144"/>
                  <a:gd name="T21" fmla="*/ 1555958 h 49"/>
                  <a:gd name="T22" fmla="*/ 15085 w 144"/>
                  <a:gd name="T23" fmla="*/ 900828 h 49"/>
                  <a:gd name="T24" fmla="*/ 9868 w 144"/>
                  <a:gd name="T25" fmla="*/ 0 h 49"/>
                  <a:gd name="T26" fmla="*/ 4035 w 144"/>
                  <a:gd name="T27" fmla="*/ 0 h 49"/>
                  <a:gd name="T28" fmla="*/ 1134 w 144"/>
                  <a:gd name="T29" fmla="*/ 1159691 h 49"/>
                  <a:gd name="T30" fmla="*/ 0 w 144"/>
                  <a:gd name="T31" fmla="*/ 1305281 h 49"/>
                  <a:gd name="T32" fmla="*/ 4848 w 144"/>
                  <a:gd name="T33" fmla="*/ 1680369 h 49"/>
                  <a:gd name="T34" fmla="*/ 4848 w 144"/>
                  <a:gd name="T35" fmla="*/ 2172943 h 49"/>
                  <a:gd name="T36" fmla="*/ 9341 w 144"/>
                  <a:gd name="T37" fmla="*/ 2583455 h 49"/>
                  <a:gd name="T38" fmla="*/ 14576 w 144"/>
                  <a:gd name="T39" fmla="*/ 3025984 h 49"/>
                  <a:gd name="T40" fmla="*/ 19137 w 144"/>
                  <a:gd name="T41" fmla="*/ 3266797 h 49"/>
                  <a:gd name="T42" fmla="*/ 23019 w 144"/>
                  <a:gd name="T43" fmla="*/ 3743372 h 49"/>
                  <a:gd name="T44" fmla="*/ 29291 w 144"/>
                  <a:gd name="T45" fmla="*/ 3882509 h 49"/>
                  <a:gd name="T46" fmla="*/ 35190 w 144"/>
                  <a:gd name="T47" fmla="*/ 4118843 h 49"/>
                  <a:gd name="T48" fmla="*/ 38608 w 144"/>
                  <a:gd name="T49" fmla="*/ 4562182 h 49"/>
                  <a:gd name="T50" fmla="*/ 42480 w 144"/>
                  <a:gd name="T51" fmla="*/ 4825293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4"/>
                  <a:gd name="T79" fmla="*/ 0 h 49"/>
                  <a:gd name="T80" fmla="*/ 144 w 144"/>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4" h="49">
                    <a:moveTo>
                      <a:pt x="144" y="49"/>
                    </a:moveTo>
                    <a:lnTo>
                      <a:pt x="142" y="46"/>
                    </a:lnTo>
                    <a:lnTo>
                      <a:pt x="142" y="33"/>
                    </a:lnTo>
                    <a:lnTo>
                      <a:pt x="131" y="32"/>
                    </a:lnTo>
                    <a:lnTo>
                      <a:pt x="119" y="29"/>
                    </a:lnTo>
                    <a:lnTo>
                      <a:pt x="115" y="19"/>
                    </a:lnTo>
                    <a:lnTo>
                      <a:pt x="96" y="13"/>
                    </a:lnTo>
                    <a:lnTo>
                      <a:pt x="89" y="7"/>
                    </a:lnTo>
                    <a:lnTo>
                      <a:pt x="83" y="16"/>
                    </a:lnTo>
                    <a:lnTo>
                      <a:pt x="70" y="16"/>
                    </a:lnTo>
                    <a:lnTo>
                      <a:pt x="58" y="16"/>
                    </a:lnTo>
                    <a:lnTo>
                      <a:pt x="51" y="9"/>
                    </a:lnTo>
                    <a:lnTo>
                      <a:pt x="33" y="0"/>
                    </a:lnTo>
                    <a:lnTo>
                      <a:pt x="13" y="0"/>
                    </a:lnTo>
                    <a:lnTo>
                      <a:pt x="4" y="12"/>
                    </a:lnTo>
                    <a:lnTo>
                      <a:pt x="0" y="13"/>
                    </a:lnTo>
                    <a:lnTo>
                      <a:pt x="16" y="17"/>
                    </a:lnTo>
                    <a:lnTo>
                      <a:pt x="16" y="22"/>
                    </a:lnTo>
                    <a:lnTo>
                      <a:pt x="32" y="26"/>
                    </a:lnTo>
                    <a:lnTo>
                      <a:pt x="49" y="31"/>
                    </a:lnTo>
                    <a:lnTo>
                      <a:pt x="64" y="33"/>
                    </a:lnTo>
                    <a:lnTo>
                      <a:pt x="78" y="38"/>
                    </a:lnTo>
                    <a:lnTo>
                      <a:pt x="99" y="39"/>
                    </a:lnTo>
                    <a:lnTo>
                      <a:pt x="119" y="42"/>
                    </a:lnTo>
                    <a:lnTo>
                      <a:pt x="131" y="46"/>
                    </a:lnTo>
                    <a:lnTo>
                      <a:pt x="144" y="4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4" name="Freeform 169">
                <a:extLst>
                  <a:ext uri="{FF2B5EF4-FFF2-40B4-BE49-F238E27FC236}">
                    <a16:creationId xmlns:a16="http://schemas.microsoft.com/office/drawing/2014/main" id="{D5204B82-E44A-9B7F-5F63-4952EE3B24C9}"/>
                  </a:ext>
                </a:extLst>
              </p:cNvPr>
              <p:cNvSpPr>
                <a:spLocks/>
              </p:cNvSpPr>
              <p:nvPr/>
            </p:nvSpPr>
            <p:spPr bwMode="auto">
              <a:xfrm>
                <a:off x="5204" y="2894"/>
                <a:ext cx="73" cy="50"/>
              </a:xfrm>
              <a:custGeom>
                <a:avLst/>
                <a:gdLst>
                  <a:gd name="T0" fmla="*/ 15839 w 61"/>
                  <a:gd name="T1" fmla="*/ 0 h 34"/>
                  <a:gd name="T2" fmla="*/ 10227 w 61"/>
                  <a:gd name="T3" fmla="*/ 1 h 34"/>
                  <a:gd name="T4" fmla="*/ 6328 w 61"/>
                  <a:gd name="T5" fmla="*/ 1266591 h 34"/>
                  <a:gd name="T6" fmla="*/ 2579 w 61"/>
                  <a:gd name="T7" fmla="*/ 2490970 h 34"/>
                  <a:gd name="T8" fmla="*/ 2 w 61"/>
                  <a:gd name="T9" fmla="*/ 4554158 h 34"/>
                  <a:gd name="T10" fmla="*/ 0 w 61"/>
                  <a:gd name="T11" fmla="*/ 4959926 h 34"/>
                  <a:gd name="T12" fmla="*/ 2 w 61"/>
                  <a:gd name="T13" fmla="*/ 5327767 h 34"/>
                  <a:gd name="T14" fmla="*/ 5576 w 61"/>
                  <a:gd name="T15" fmla="*/ 3622882 h 34"/>
                  <a:gd name="T16" fmla="*/ 10846 w 61"/>
                  <a:gd name="T17" fmla="*/ 1693860 h 34"/>
                  <a:gd name="T18" fmla="*/ 15839 w 61"/>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34"/>
                  <a:gd name="T32" fmla="*/ 61 w 61"/>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34">
                    <a:moveTo>
                      <a:pt x="61" y="0"/>
                    </a:moveTo>
                    <a:lnTo>
                      <a:pt x="39" y="1"/>
                    </a:lnTo>
                    <a:lnTo>
                      <a:pt x="23" y="8"/>
                    </a:lnTo>
                    <a:lnTo>
                      <a:pt x="9" y="16"/>
                    </a:lnTo>
                    <a:lnTo>
                      <a:pt x="2" y="29"/>
                    </a:lnTo>
                    <a:lnTo>
                      <a:pt x="0" y="32"/>
                    </a:lnTo>
                    <a:lnTo>
                      <a:pt x="2" y="34"/>
                    </a:lnTo>
                    <a:lnTo>
                      <a:pt x="22" y="23"/>
                    </a:lnTo>
                    <a:lnTo>
                      <a:pt x="41" y="11"/>
                    </a:lnTo>
                    <a:lnTo>
                      <a:pt x="61"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5" name="Freeform 170">
                <a:extLst>
                  <a:ext uri="{FF2B5EF4-FFF2-40B4-BE49-F238E27FC236}">
                    <a16:creationId xmlns:a16="http://schemas.microsoft.com/office/drawing/2014/main" id="{A53D72D1-5182-9590-F24E-C128DA6BA7FE}"/>
                  </a:ext>
                </a:extLst>
              </p:cNvPr>
              <p:cNvSpPr>
                <a:spLocks/>
              </p:cNvSpPr>
              <p:nvPr/>
            </p:nvSpPr>
            <p:spPr bwMode="auto">
              <a:xfrm>
                <a:off x="5289" y="2623"/>
                <a:ext cx="28" cy="76"/>
              </a:xfrm>
              <a:custGeom>
                <a:avLst/>
                <a:gdLst>
                  <a:gd name="T0" fmla="*/ 2906 w 24"/>
                  <a:gd name="T1" fmla="*/ 2490930 h 53"/>
                  <a:gd name="T2" fmla="*/ 1668 w 24"/>
                  <a:gd name="T3" fmla="*/ 1600233 h 53"/>
                  <a:gd name="T4" fmla="*/ 2613 w 24"/>
                  <a:gd name="T5" fmla="*/ 946345 h 53"/>
                  <a:gd name="T6" fmla="*/ 1946 w 24"/>
                  <a:gd name="T7" fmla="*/ 699878 h 53"/>
                  <a:gd name="T8" fmla="*/ 1232 w 24"/>
                  <a:gd name="T9" fmla="*/ 1003599 h 53"/>
                  <a:gd name="T10" fmla="*/ 665 w 24"/>
                  <a:gd name="T11" fmla="*/ 1621833 h 53"/>
                  <a:gd name="T12" fmla="*/ 570 w 24"/>
                  <a:gd name="T13" fmla="*/ 1357023 h 53"/>
                  <a:gd name="T14" fmla="*/ 905 w 24"/>
                  <a:gd name="T15" fmla="*/ 460229 h 53"/>
                  <a:gd name="T16" fmla="*/ 1056 w 24"/>
                  <a:gd name="T17" fmla="*/ 0 h 53"/>
                  <a:gd name="T18" fmla="*/ 0 w 24"/>
                  <a:gd name="T19" fmla="*/ 788734 h 53"/>
                  <a:gd name="T20" fmla="*/ 2 w 24"/>
                  <a:gd name="T21" fmla="*/ 1682385 h 53"/>
                  <a:gd name="T22" fmla="*/ 570 w 24"/>
                  <a:gd name="T23" fmla="*/ 2671079 h 53"/>
                  <a:gd name="T24" fmla="*/ 1668 w 24"/>
                  <a:gd name="T25" fmla="*/ 3770263 h 53"/>
                  <a:gd name="T26" fmla="*/ 905 w 24"/>
                  <a:gd name="T27" fmla="*/ 2294674 h 53"/>
                  <a:gd name="T28" fmla="*/ 2906 w 24"/>
                  <a:gd name="T29" fmla="*/ 2490930 h 5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53"/>
                  <a:gd name="T47" fmla="*/ 24 w 24"/>
                  <a:gd name="T48" fmla="*/ 53 h 5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53">
                    <a:moveTo>
                      <a:pt x="24" y="35"/>
                    </a:moveTo>
                    <a:lnTo>
                      <a:pt x="14" y="22"/>
                    </a:lnTo>
                    <a:lnTo>
                      <a:pt x="21" y="13"/>
                    </a:lnTo>
                    <a:lnTo>
                      <a:pt x="16" y="10"/>
                    </a:lnTo>
                    <a:lnTo>
                      <a:pt x="11" y="14"/>
                    </a:lnTo>
                    <a:lnTo>
                      <a:pt x="6" y="23"/>
                    </a:lnTo>
                    <a:lnTo>
                      <a:pt x="5" y="19"/>
                    </a:lnTo>
                    <a:lnTo>
                      <a:pt x="8" y="6"/>
                    </a:lnTo>
                    <a:lnTo>
                      <a:pt x="9" y="0"/>
                    </a:lnTo>
                    <a:lnTo>
                      <a:pt x="0" y="11"/>
                    </a:lnTo>
                    <a:lnTo>
                      <a:pt x="2" y="24"/>
                    </a:lnTo>
                    <a:lnTo>
                      <a:pt x="5" y="38"/>
                    </a:lnTo>
                    <a:lnTo>
                      <a:pt x="14" y="53"/>
                    </a:lnTo>
                    <a:lnTo>
                      <a:pt x="8" y="32"/>
                    </a:lnTo>
                    <a:lnTo>
                      <a:pt x="24" y="3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6" name="Freeform 171">
                <a:extLst>
                  <a:ext uri="{FF2B5EF4-FFF2-40B4-BE49-F238E27FC236}">
                    <a16:creationId xmlns:a16="http://schemas.microsoft.com/office/drawing/2014/main" id="{84380ADE-0E6E-DF93-B8E0-9A8FE26200F0}"/>
                  </a:ext>
                </a:extLst>
              </p:cNvPr>
              <p:cNvSpPr>
                <a:spLocks/>
              </p:cNvSpPr>
              <p:nvPr/>
            </p:nvSpPr>
            <p:spPr bwMode="auto">
              <a:xfrm>
                <a:off x="5296" y="2749"/>
                <a:ext cx="56" cy="26"/>
              </a:xfrm>
              <a:custGeom>
                <a:avLst/>
                <a:gdLst>
                  <a:gd name="T0" fmla="*/ 10788 w 47"/>
                  <a:gd name="T1" fmla="*/ 1346915 h 18"/>
                  <a:gd name="T2" fmla="*/ 10034 w 47"/>
                  <a:gd name="T3" fmla="*/ 1621461 h 18"/>
                  <a:gd name="T4" fmla="*/ 5859 w 47"/>
                  <a:gd name="T5" fmla="*/ 794154 h 18"/>
                  <a:gd name="T6" fmla="*/ 2808 w 47"/>
                  <a:gd name="T7" fmla="*/ 977041 h 18"/>
                  <a:gd name="T8" fmla="*/ 2 w 47"/>
                  <a:gd name="T9" fmla="*/ 732764 h 18"/>
                  <a:gd name="T10" fmla="*/ 0 w 47"/>
                  <a:gd name="T11" fmla="*/ 977041 h 18"/>
                  <a:gd name="T12" fmla="*/ 2 w 47"/>
                  <a:gd name="T13" fmla="*/ 411872 h 18"/>
                  <a:gd name="T14" fmla="*/ 2357 w 47"/>
                  <a:gd name="T15" fmla="*/ 0 h 18"/>
                  <a:gd name="T16" fmla="*/ 5859 w 47"/>
                  <a:gd name="T17" fmla="*/ 182432 h 18"/>
                  <a:gd name="T18" fmla="*/ 8887 w 47"/>
                  <a:gd name="T19" fmla="*/ 263513 h 18"/>
                  <a:gd name="T20" fmla="*/ 10788 w 47"/>
                  <a:gd name="T21" fmla="*/ 1346915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18"/>
                  <a:gd name="T35" fmla="*/ 47 w 4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18">
                    <a:moveTo>
                      <a:pt x="47" y="15"/>
                    </a:moveTo>
                    <a:lnTo>
                      <a:pt x="44" y="18"/>
                    </a:lnTo>
                    <a:lnTo>
                      <a:pt x="25" y="9"/>
                    </a:lnTo>
                    <a:lnTo>
                      <a:pt x="12" y="11"/>
                    </a:lnTo>
                    <a:lnTo>
                      <a:pt x="2" y="8"/>
                    </a:lnTo>
                    <a:lnTo>
                      <a:pt x="0" y="11"/>
                    </a:lnTo>
                    <a:lnTo>
                      <a:pt x="2" y="5"/>
                    </a:lnTo>
                    <a:lnTo>
                      <a:pt x="10" y="0"/>
                    </a:lnTo>
                    <a:lnTo>
                      <a:pt x="25" y="2"/>
                    </a:lnTo>
                    <a:lnTo>
                      <a:pt x="39" y="3"/>
                    </a:lnTo>
                    <a:lnTo>
                      <a:pt x="47" y="1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7" name="Freeform 172">
                <a:extLst>
                  <a:ext uri="{FF2B5EF4-FFF2-40B4-BE49-F238E27FC236}">
                    <a16:creationId xmlns:a16="http://schemas.microsoft.com/office/drawing/2014/main" id="{947A987E-24EE-C894-4433-F08D933636C3}"/>
                  </a:ext>
                </a:extLst>
              </p:cNvPr>
              <p:cNvSpPr>
                <a:spLocks/>
              </p:cNvSpPr>
              <p:nvPr/>
            </p:nvSpPr>
            <p:spPr bwMode="auto">
              <a:xfrm>
                <a:off x="5136" y="2890"/>
                <a:ext cx="60" cy="14"/>
              </a:xfrm>
              <a:custGeom>
                <a:avLst/>
                <a:gdLst>
                  <a:gd name="T0" fmla="*/ 14237 w 50"/>
                  <a:gd name="T1" fmla="*/ 1 h 10"/>
                  <a:gd name="T2" fmla="*/ 14237 w 50"/>
                  <a:gd name="T3" fmla="*/ 0 h 10"/>
                  <a:gd name="T4" fmla="*/ 13046 w 50"/>
                  <a:gd name="T5" fmla="*/ 0 h 10"/>
                  <a:gd name="T6" fmla="*/ 11864 w 50"/>
                  <a:gd name="T7" fmla="*/ 131390 h 10"/>
                  <a:gd name="T8" fmla="*/ 9625 w 50"/>
                  <a:gd name="T9" fmla="*/ 131390 h 10"/>
                  <a:gd name="T10" fmla="*/ 5722 w 50"/>
                  <a:gd name="T11" fmla="*/ 1 h 10"/>
                  <a:gd name="T12" fmla="*/ 1916 w 50"/>
                  <a:gd name="T13" fmla="*/ 0 h 10"/>
                  <a:gd name="T14" fmla="*/ 0 w 50"/>
                  <a:gd name="T15" fmla="*/ 246646 h 10"/>
                  <a:gd name="T16" fmla="*/ 1331 w 50"/>
                  <a:gd name="T17" fmla="*/ 345304 h 10"/>
                  <a:gd name="T18" fmla="*/ 5909 w 50"/>
                  <a:gd name="T19" fmla="*/ 345304 h 10"/>
                  <a:gd name="T20" fmla="*/ 10526 w 50"/>
                  <a:gd name="T21" fmla="*/ 257524 h 10"/>
                  <a:gd name="T22" fmla="*/ 14237 w 50"/>
                  <a:gd name="T23" fmla="*/ 1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10"/>
                  <a:gd name="T38" fmla="*/ 50 w 50"/>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10">
                    <a:moveTo>
                      <a:pt x="50" y="1"/>
                    </a:moveTo>
                    <a:lnTo>
                      <a:pt x="50" y="0"/>
                    </a:lnTo>
                    <a:lnTo>
                      <a:pt x="46" y="0"/>
                    </a:lnTo>
                    <a:lnTo>
                      <a:pt x="42" y="4"/>
                    </a:lnTo>
                    <a:lnTo>
                      <a:pt x="33" y="4"/>
                    </a:lnTo>
                    <a:lnTo>
                      <a:pt x="20" y="1"/>
                    </a:lnTo>
                    <a:lnTo>
                      <a:pt x="7" y="0"/>
                    </a:lnTo>
                    <a:lnTo>
                      <a:pt x="0" y="7"/>
                    </a:lnTo>
                    <a:lnTo>
                      <a:pt x="5" y="10"/>
                    </a:lnTo>
                    <a:lnTo>
                      <a:pt x="21" y="10"/>
                    </a:lnTo>
                    <a:lnTo>
                      <a:pt x="37" y="8"/>
                    </a:lnTo>
                    <a:lnTo>
                      <a:pt x="50" y="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8" name="Freeform 173">
                <a:extLst>
                  <a:ext uri="{FF2B5EF4-FFF2-40B4-BE49-F238E27FC236}">
                    <a16:creationId xmlns:a16="http://schemas.microsoft.com/office/drawing/2014/main" id="{26D4106D-0004-9273-C7EE-395EF0D6FCC1}"/>
                  </a:ext>
                </a:extLst>
              </p:cNvPr>
              <p:cNvSpPr>
                <a:spLocks/>
              </p:cNvSpPr>
              <p:nvPr/>
            </p:nvSpPr>
            <p:spPr bwMode="auto">
              <a:xfrm>
                <a:off x="4865" y="2716"/>
                <a:ext cx="31" cy="41"/>
              </a:xfrm>
              <a:custGeom>
                <a:avLst/>
                <a:gdLst>
                  <a:gd name="T0" fmla="*/ 19180 w 25"/>
                  <a:gd name="T1" fmla="*/ 2618645 h 28"/>
                  <a:gd name="T2" fmla="*/ 19040 w 25"/>
                  <a:gd name="T3" fmla="*/ 3834443 h 28"/>
                  <a:gd name="T4" fmla="*/ 8696 w 25"/>
                  <a:gd name="T5" fmla="*/ 2618645 h 28"/>
                  <a:gd name="T6" fmla="*/ 4561 w 25"/>
                  <a:gd name="T7" fmla="*/ 1401058 h 28"/>
                  <a:gd name="T8" fmla="*/ 0 w 25"/>
                  <a:gd name="T9" fmla="*/ 956820 h 28"/>
                  <a:gd name="T10" fmla="*/ 6494 w 25"/>
                  <a:gd name="T11" fmla="*/ 265657 h 28"/>
                  <a:gd name="T12" fmla="*/ 8696 w 25"/>
                  <a:gd name="T13" fmla="*/ 0 h 28"/>
                  <a:gd name="T14" fmla="*/ 12474 w 25"/>
                  <a:gd name="T15" fmla="*/ 2051549 h 28"/>
                  <a:gd name="T16" fmla="*/ 19180 w 25"/>
                  <a:gd name="T17" fmla="*/ 2618645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28"/>
                  <a:gd name="T29" fmla="*/ 25 w 25"/>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28">
                    <a:moveTo>
                      <a:pt x="25" y="19"/>
                    </a:moveTo>
                    <a:lnTo>
                      <a:pt x="24" y="28"/>
                    </a:lnTo>
                    <a:lnTo>
                      <a:pt x="11" y="19"/>
                    </a:lnTo>
                    <a:lnTo>
                      <a:pt x="6" y="10"/>
                    </a:lnTo>
                    <a:lnTo>
                      <a:pt x="0" y="7"/>
                    </a:lnTo>
                    <a:lnTo>
                      <a:pt x="8" y="2"/>
                    </a:lnTo>
                    <a:lnTo>
                      <a:pt x="11" y="0"/>
                    </a:lnTo>
                    <a:lnTo>
                      <a:pt x="16" y="15"/>
                    </a:lnTo>
                    <a:lnTo>
                      <a:pt x="25" y="1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59" name="Freeform 174">
                <a:extLst>
                  <a:ext uri="{FF2B5EF4-FFF2-40B4-BE49-F238E27FC236}">
                    <a16:creationId xmlns:a16="http://schemas.microsoft.com/office/drawing/2014/main" id="{54BE5B93-6902-F7B8-793B-C035957A2041}"/>
                  </a:ext>
                </a:extLst>
              </p:cNvPr>
              <p:cNvSpPr>
                <a:spLocks/>
              </p:cNvSpPr>
              <p:nvPr/>
            </p:nvSpPr>
            <p:spPr bwMode="auto">
              <a:xfrm>
                <a:off x="5077" y="2886"/>
                <a:ext cx="47" cy="23"/>
              </a:xfrm>
              <a:custGeom>
                <a:avLst/>
                <a:gdLst>
                  <a:gd name="T0" fmla="*/ 12813 w 39"/>
                  <a:gd name="T1" fmla="*/ 750218 h 16"/>
                  <a:gd name="T2" fmla="*/ 12022 w 39"/>
                  <a:gd name="T3" fmla="*/ 483816 h 16"/>
                  <a:gd name="T4" fmla="*/ 10632 w 39"/>
                  <a:gd name="T5" fmla="*/ 483816 h 16"/>
                  <a:gd name="T6" fmla="*/ 6155 w 39"/>
                  <a:gd name="T7" fmla="*/ 0 h 16"/>
                  <a:gd name="T8" fmla="*/ 8106 w 39"/>
                  <a:gd name="T9" fmla="*/ 609634 h 16"/>
                  <a:gd name="T10" fmla="*/ 5227 w 39"/>
                  <a:gd name="T11" fmla="*/ 609634 h 16"/>
                  <a:gd name="T12" fmla="*/ 1452 w 39"/>
                  <a:gd name="T13" fmla="*/ 521891 h 16"/>
                  <a:gd name="T14" fmla="*/ 0 w 39"/>
                  <a:gd name="T15" fmla="*/ 1232281 h 16"/>
                  <a:gd name="T16" fmla="*/ 5107 w 39"/>
                  <a:gd name="T17" fmla="*/ 1078438 h 16"/>
                  <a:gd name="T18" fmla="*/ 9148 w 39"/>
                  <a:gd name="T19" fmla="*/ 857239 h 16"/>
                  <a:gd name="T20" fmla="*/ 11025 w 39"/>
                  <a:gd name="T21" fmla="*/ 999760 h 16"/>
                  <a:gd name="T22" fmla="*/ 10632 w 39"/>
                  <a:gd name="T23" fmla="*/ 857239 h 16"/>
                  <a:gd name="T24" fmla="*/ 12813 w 39"/>
                  <a:gd name="T25" fmla="*/ 750218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16"/>
                  <a:gd name="T41" fmla="*/ 39 w 39"/>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16">
                    <a:moveTo>
                      <a:pt x="39" y="10"/>
                    </a:moveTo>
                    <a:lnTo>
                      <a:pt x="37" y="6"/>
                    </a:lnTo>
                    <a:lnTo>
                      <a:pt x="32" y="6"/>
                    </a:lnTo>
                    <a:lnTo>
                      <a:pt x="18" y="0"/>
                    </a:lnTo>
                    <a:lnTo>
                      <a:pt x="25" y="8"/>
                    </a:lnTo>
                    <a:lnTo>
                      <a:pt x="16" y="8"/>
                    </a:lnTo>
                    <a:lnTo>
                      <a:pt x="5" y="7"/>
                    </a:lnTo>
                    <a:lnTo>
                      <a:pt x="0" y="16"/>
                    </a:lnTo>
                    <a:lnTo>
                      <a:pt x="15" y="14"/>
                    </a:lnTo>
                    <a:lnTo>
                      <a:pt x="28" y="11"/>
                    </a:lnTo>
                    <a:lnTo>
                      <a:pt x="34" y="13"/>
                    </a:lnTo>
                    <a:lnTo>
                      <a:pt x="32" y="11"/>
                    </a:lnTo>
                    <a:lnTo>
                      <a:pt x="39" y="1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0" name="Freeform 175">
                <a:extLst>
                  <a:ext uri="{FF2B5EF4-FFF2-40B4-BE49-F238E27FC236}">
                    <a16:creationId xmlns:a16="http://schemas.microsoft.com/office/drawing/2014/main" id="{2F3457EE-FD1D-2067-873B-ECDBFEFA0FA6}"/>
                  </a:ext>
                </a:extLst>
              </p:cNvPr>
              <p:cNvSpPr>
                <a:spLocks/>
              </p:cNvSpPr>
              <p:nvPr/>
            </p:nvSpPr>
            <p:spPr bwMode="auto">
              <a:xfrm>
                <a:off x="5120" y="2920"/>
                <a:ext cx="34" cy="20"/>
              </a:xfrm>
              <a:custGeom>
                <a:avLst/>
                <a:gdLst>
                  <a:gd name="T0" fmla="*/ 34220 w 27"/>
                  <a:gd name="T1" fmla="*/ 745090 h 14"/>
                  <a:gd name="T2" fmla="*/ 19247 w 27"/>
                  <a:gd name="T3" fmla="*/ 893933 h 14"/>
                  <a:gd name="T4" fmla="*/ 3103 w 27"/>
                  <a:gd name="T5" fmla="*/ 306619 h 14"/>
                  <a:gd name="T6" fmla="*/ 0 w 27"/>
                  <a:gd name="T7" fmla="*/ 0 h 14"/>
                  <a:gd name="T8" fmla="*/ 19247 w 27"/>
                  <a:gd name="T9" fmla="*/ 0 h 14"/>
                  <a:gd name="T10" fmla="*/ 34220 w 27"/>
                  <a:gd name="T11" fmla="*/ 745090 h 14"/>
                  <a:gd name="T12" fmla="*/ 0 60000 65536"/>
                  <a:gd name="T13" fmla="*/ 0 60000 65536"/>
                  <a:gd name="T14" fmla="*/ 0 60000 65536"/>
                  <a:gd name="T15" fmla="*/ 0 60000 65536"/>
                  <a:gd name="T16" fmla="*/ 0 60000 65536"/>
                  <a:gd name="T17" fmla="*/ 0 60000 65536"/>
                  <a:gd name="T18" fmla="*/ 0 w 27"/>
                  <a:gd name="T19" fmla="*/ 0 h 14"/>
                  <a:gd name="T20" fmla="*/ 27 w 27"/>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7" h="14">
                    <a:moveTo>
                      <a:pt x="27" y="12"/>
                    </a:moveTo>
                    <a:lnTo>
                      <a:pt x="15" y="14"/>
                    </a:lnTo>
                    <a:lnTo>
                      <a:pt x="2" y="5"/>
                    </a:lnTo>
                    <a:lnTo>
                      <a:pt x="0" y="0"/>
                    </a:lnTo>
                    <a:lnTo>
                      <a:pt x="15" y="0"/>
                    </a:lnTo>
                    <a:lnTo>
                      <a:pt x="27" y="1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1" name="Freeform 176">
                <a:extLst>
                  <a:ext uri="{FF2B5EF4-FFF2-40B4-BE49-F238E27FC236}">
                    <a16:creationId xmlns:a16="http://schemas.microsoft.com/office/drawing/2014/main" id="{72E01E85-1370-9290-14E7-36D4F64CFB86}"/>
                  </a:ext>
                </a:extLst>
              </p:cNvPr>
              <p:cNvSpPr>
                <a:spLocks/>
              </p:cNvSpPr>
              <p:nvPr/>
            </p:nvSpPr>
            <p:spPr bwMode="auto">
              <a:xfrm>
                <a:off x="5261" y="2757"/>
                <a:ext cx="23" cy="18"/>
              </a:xfrm>
              <a:custGeom>
                <a:avLst/>
                <a:gdLst>
                  <a:gd name="T0" fmla="*/ 1502 w 20"/>
                  <a:gd name="T1" fmla="*/ 134659 h 13"/>
                  <a:gd name="T2" fmla="*/ 859 w 20"/>
                  <a:gd name="T3" fmla="*/ 310085 h 13"/>
                  <a:gd name="T4" fmla="*/ 0 w 20"/>
                  <a:gd name="T5" fmla="*/ 97254 h 13"/>
                  <a:gd name="T6" fmla="*/ 528 w 20"/>
                  <a:gd name="T7" fmla="*/ 0 h 13"/>
                  <a:gd name="T8" fmla="*/ 1502 w 20"/>
                  <a:gd name="T9" fmla="*/ 134659 h 13"/>
                  <a:gd name="T10" fmla="*/ 0 60000 65536"/>
                  <a:gd name="T11" fmla="*/ 0 60000 65536"/>
                  <a:gd name="T12" fmla="*/ 0 60000 65536"/>
                  <a:gd name="T13" fmla="*/ 0 60000 65536"/>
                  <a:gd name="T14" fmla="*/ 0 60000 65536"/>
                  <a:gd name="T15" fmla="*/ 0 w 20"/>
                  <a:gd name="T16" fmla="*/ 0 h 13"/>
                  <a:gd name="T17" fmla="*/ 20 w 20"/>
                  <a:gd name="T18" fmla="*/ 13 h 13"/>
                </a:gdLst>
                <a:ahLst/>
                <a:cxnLst>
                  <a:cxn ang="T10">
                    <a:pos x="T0" y="T1"/>
                  </a:cxn>
                  <a:cxn ang="T11">
                    <a:pos x="T2" y="T3"/>
                  </a:cxn>
                  <a:cxn ang="T12">
                    <a:pos x="T4" y="T5"/>
                  </a:cxn>
                  <a:cxn ang="T13">
                    <a:pos x="T6" y="T7"/>
                  </a:cxn>
                  <a:cxn ang="T14">
                    <a:pos x="T8" y="T9"/>
                  </a:cxn>
                </a:cxnLst>
                <a:rect l="T15" t="T16" r="T17" b="T18"/>
                <a:pathLst>
                  <a:path w="20" h="13">
                    <a:moveTo>
                      <a:pt x="20" y="6"/>
                    </a:moveTo>
                    <a:lnTo>
                      <a:pt x="11" y="13"/>
                    </a:lnTo>
                    <a:lnTo>
                      <a:pt x="0" y="4"/>
                    </a:lnTo>
                    <a:lnTo>
                      <a:pt x="7" y="0"/>
                    </a:lnTo>
                    <a:lnTo>
                      <a:pt x="20"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2" name="Freeform 177">
                <a:extLst>
                  <a:ext uri="{FF2B5EF4-FFF2-40B4-BE49-F238E27FC236}">
                    <a16:creationId xmlns:a16="http://schemas.microsoft.com/office/drawing/2014/main" id="{CB5170F2-A93D-B5F6-D675-01D8FCCF9502}"/>
                  </a:ext>
                </a:extLst>
              </p:cNvPr>
              <p:cNvSpPr>
                <a:spLocks/>
              </p:cNvSpPr>
              <p:nvPr/>
            </p:nvSpPr>
            <p:spPr bwMode="auto">
              <a:xfrm>
                <a:off x="5037" y="2886"/>
                <a:ext cx="22" cy="13"/>
              </a:xfrm>
              <a:custGeom>
                <a:avLst/>
                <a:gdLst>
                  <a:gd name="T0" fmla="*/ 1757 w 19"/>
                  <a:gd name="T1" fmla="*/ 20496 h 10"/>
                  <a:gd name="T2" fmla="*/ 1517 w 19"/>
                  <a:gd name="T3" fmla="*/ 1 h 10"/>
                  <a:gd name="T4" fmla="*/ 0 w 19"/>
                  <a:gd name="T5" fmla="*/ 0 h 10"/>
                  <a:gd name="T6" fmla="*/ 729 w 19"/>
                  <a:gd name="T7" fmla="*/ 34638 h 10"/>
                  <a:gd name="T8" fmla="*/ 1757 w 19"/>
                  <a:gd name="T9" fmla="*/ 20496 h 10"/>
                  <a:gd name="T10" fmla="*/ 0 60000 65536"/>
                  <a:gd name="T11" fmla="*/ 0 60000 65536"/>
                  <a:gd name="T12" fmla="*/ 0 60000 65536"/>
                  <a:gd name="T13" fmla="*/ 0 60000 65536"/>
                  <a:gd name="T14" fmla="*/ 0 60000 65536"/>
                  <a:gd name="T15" fmla="*/ 0 w 19"/>
                  <a:gd name="T16" fmla="*/ 0 h 10"/>
                  <a:gd name="T17" fmla="*/ 19 w 19"/>
                  <a:gd name="T18" fmla="*/ 10 h 10"/>
                </a:gdLst>
                <a:ahLst/>
                <a:cxnLst>
                  <a:cxn ang="T10">
                    <a:pos x="T0" y="T1"/>
                  </a:cxn>
                  <a:cxn ang="T11">
                    <a:pos x="T2" y="T3"/>
                  </a:cxn>
                  <a:cxn ang="T12">
                    <a:pos x="T4" y="T5"/>
                  </a:cxn>
                  <a:cxn ang="T13">
                    <a:pos x="T6" y="T7"/>
                  </a:cxn>
                  <a:cxn ang="T14">
                    <a:pos x="T8" y="T9"/>
                  </a:cxn>
                </a:cxnLst>
                <a:rect l="T15" t="T16" r="T17" b="T18"/>
                <a:pathLst>
                  <a:path w="19" h="10">
                    <a:moveTo>
                      <a:pt x="19" y="6"/>
                    </a:moveTo>
                    <a:lnTo>
                      <a:pt x="16" y="1"/>
                    </a:lnTo>
                    <a:lnTo>
                      <a:pt x="0" y="0"/>
                    </a:lnTo>
                    <a:lnTo>
                      <a:pt x="8" y="10"/>
                    </a:lnTo>
                    <a:lnTo>
                      <a:pt x="19"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3" name="Freeform 178">
                <a:extLst>
                  <a:ext uri="{FF2B5EF4-FFF2-40B4-BE49-F238E27FC236}">
                    <a16:creationId xmlns:a16="http://schemas.microsoft.com/office/drawing/2014/main" id="{41D07466-A549-FECA-2BD7-4CF7FB42ACE2}"/>
                  </a:ext>
                </a:extLst>
              </p:cNvPr>
              <p:cNvSpPr>
                <a:spLocks/>
              </p:cNvSpPr>
              <p:nvPr/>
            </p:nvSpPr>
            <p:spPr bwMode="auto">
              <a:xfrm>
                <a:off x="4713" y="2639"/>
                <a:ext cx="16" cy="23"/>
              </a:xfrm>
              <a:custGeom>
                <a:avLst/>
                <a:gdLst>
                  <a:gd name="T0" fmla="*/ 8391 w 13"/>
                  <a:gd name="T1" fmla="*/ 695485 h 16"/>
                  <a:gd name="T2" fmla="*/ 7110 w 13"/>
                  <a:gd name="T3" fmla="*/ 1232281 h 16"/>
                  <a:gd name="T4" fmla="*/ 0 w 13"/>
                  <a:gd name="T5" fmla="*/ 162876 h 16"/>
                  <a:gd name="T6" fmla="*/ 2 w 13"/>
                  <a:gd name="T7" fmla="*/ 0 h 16"/>
                  <a:gd name="T8" fmla="*/ 8391 w 13"/>
                  <a:gd name="T9" fmla="*/ 695485 h 16"/>
                  <a:gd name="T10" fmla="*/ 0 60000 65536"/>
                  <a:gd name="T11" fmla="*/ 0 60000 65536"/>
                  <a:gd name="T12" fmla="*/ 0 60000 65536"/>
                  <a:gd name="T13" fmla="*/ 0 60000 65536"/>
                  <a:gd name="T14" fmla="*/ 0 60000 65536"/>
                  <a:gd name="T15" fmla="*/ 0 w 13"/>
                  <a:gd name="T16" fmla="*/ 0 h 16"/>
                  <a:gd name="T17" fmla="*/ 13 w 13"/>
                  <a:gd name="T18" fmla="*/ 16 h 16"/>
                </a:gdLst>
                <a:ahLst/>
                <a:cxnLst>
                  <a:cxn ang="T10">
                    <a:pos x="T0" y="T1"/>
                  </a:cxn>
                  <a:cxn ang="T11">
                    <a:pos x="T2" y="T3"/>
                  </a:cxn>
                  <a:cxn ang="T12">
                    <a:pos x="T4" y="T5"/>
                  </a:cxn>
                  <a:cxn ang="T13">
                    <a:pos x="T6" y="T7"/>
                  </a:cxn>
                  <a:cxn ang="T14">
                    <a:pos x="T8" y="T9"/>
                  </a:cxn>
                </a:cxnLst>
                <a:rect l="T15" t="T16" r="T17" b="T18"/>
                <a:pathLst>
                  <a:path w="13" h="16">
                    <a:moveTo>
                      <a:pt x="13" y="9"/>
                    </a:moveTo>
                    <a:lnTo>
                      <a:pt x="11" y="16"/>
                    </a:lnTo>
                    <a:lnTo>
                      <a:pt x="0" y="2"/>
                    </a:lnTo>
                    <a:lnTo>
                      <a:pt x="2" y="0"/>
                    </a:lnTo>
                    <a:lnTo>
                      <a:pt x="13" y="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4" name="Freeform 179">
                <a:extLst>
                  <a:ext uri="{FF2B5EF4-FFF2-40B4-BE49-F238E27FC236}">
                    <a16:creationId xmlns:a16="http://schemas.microsoft.com/office/drawing/2014/main" id="{3EBE1554-129B-DA6A-C890-1A8E0BD66BEC}"/>
                  </a:ext>
                </a:extLst>
              </p:cNvPr>
              <p:cNvSpPr>
                <a:spLocks/>
              </p:cNvSpPr>
              <p:nvPr/>
            </p:nvSpPr>
            <p:spPr bwMode="auto">
              <a:xfrm>
                <a:off x="5064" y="2887"/>
                <a:ext cx="15" cy="19"/>
              </a:xfrm>
              <a:custGeom>
                <a:avLst/>
                <a:gdLst>
                  <a:gd name="T0" fmla="*/ 1101 w 13"/>
                  <a:gd name="T1" fmla="*/ 625348 h 13"/>
                  <a:gd name="T2" fmla="*/ 659 w 13"/>
                  <a:gd name="T3" fmla="*/ 0 h 13"/>
                  <a:gd name="T4" fmla="*/ 0 w 13"/>
                  <a:gd name="T5" fmla="*/ 1335802 h 13"/>
                  <a:gd name="T6" fmla="*/ 429 w 13"/>
                  <a:gd name="T7" fmla="*/ 1702985 h 13"/>
                  <a:gd name="T8" fmla="*/ 1101 w 13"/>
                  <a:gd name="T9" fmla="*/ 625348 h 13"/>
                  <a:gd name="T10" fmla="*/ 0 60000 65536"/>
                  <a:gd name="T11" fmla="*/ 0 60000 65536"/>
                  <a:gd name="T12" fmla="*/ 0 60000 65536"/>
                  <a:gd name="T13" fmla="*/ 0 60000 65536"/>
                  <a:gd name="T14" fmla="*/ 0 60000 65536"/>
                  <a:gd name="T15" fmla="*/ 0 w 13"/>
                  <a:gd name="T16" fmla="*/ 0 h 13"/>
                  <a:gd name="T17" fmla="*/ 13 w 13"/>
                  <a:gd name="T18" fmla="*/ 13 h 13"/>
                </a:gdLst>
                <a:ahLst/>
                <a:cxnLst>
                  <a:cxn ang="T10">
                    <a:pos x="T0" y="T1"/>
                  </a:cxn>
                  <a:cxn ang="T11">
                    <a:pos x="T2" y="T3"/>
                  </a:cxn>
                  <a:cxn ang="T12">
                    <a:pos x="T4" y="T5"/>
                  </a:cxn>
                  <a:cxn ang="T13">
                    <a:pos x="T6" y="T7"/>
                  </a:cxn>
                  <a:cxn ang="T14">
                    <a:pos x="T8" y="T9"/>
                  </a:cxn>
                </a:cxnLst>
                <a:rect l="T15" t="T16" r="T17" b="T18"/>
                <a:pathLst>
                  <a:path w="13" h="13">
                    <a:moveTo>
                      <a:pt x="13" y="5"/>
                    </a:moveTo>
                    <a:lnTo>
                      <a:pt x="8" y="0"/>
                    </a:lnTo>
                    <a:lnTo>
                      <a:pt x="0" y="10"/>
                    </a:lnTo>
                    <a:lnTo>
                      <a:pt x="5" y="13"/>
                    </a:lnTo>
                    <a:lnTo>
                      <a:pt x="13" y="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5" name="Freeform 180">
                <a:extLst>
                  <a:ext uri="{FF2B5EF4-FFF2-40B4-BE49-F238E27FC236}">
                    <a16:creationId xmlns:a16="http://schemas.microsoft.com/office/drawing/2014/main" id="{105ECEB6-4BD5-B9B8-81BB-4EE35A65DAC4}"/>
                  </a:ext>
                </a:extLst>
              </p:cNvPr>
              <p:cNvSpPr>
                <a:spLocks/>
              </p:cNvSpPr>
              <p:nvPr/>
            </p:nvSpPr>
            <p:spPr bwMode="auto">
              <a:xfrm>
                <a:off x="4911" y="2745"/>
                <a:ext cx="12" cy="16"/>
              </a:xfrm>
              <a:custGeom>
                <a:avLst/>
                <a:gdLst>
                  <a:gd name="T0" fmla="*/ 2759 w 10"/>
                  <a:gd name="T1" fmla="*/ 332310 h 11"/>
                  <a:gd name="T2" fmla="*/ 1331 w 10"/>
                  <a:gd name="T3" fmla="*/ 1022646 h 11"/>
                  <a:gd name="T4" fmla="*/ 0 w 10"/>
                  <a:gd name="T5" fmla="*/ 1189809 h 11"/>
                  <a:gd name="T6" fmla="*/ 0 w 10"/>
                  <a:gd name="T7" fmla="*/ 0 h 11"/>
                  <a:gd name="T8" fmla="*/ 2759 w 10"/>
                  <a:gd name="T9" fmla="*/ 332310 h 11"/>
                  <a:gd name="T10" fmla="*/ 0 60000 65536"/>
                  <a:gd name="T11" fmla="*/ 0 60000 65536"/>
                  <a:gd name="T12" fmla="*/ 0 60000 65536"/>
                  <a:gd name="T13" fmla="*/ 0 60000 65536"/>
                  <a:gd name="T14" fmla="*/ 0 60000 65536"/>
                  <a:gd name="T15" fmla="*/ 0 w 10"/>
                  <a:gd name="T16" fmla="*/ 0 h 11"/>
                  <a:gd name="T17" fmla="*/ 10 w 10"/>
                  <a:gd name="T18" fmla="*/ 11 h 11"/>
                </a:gdLst>
                <a:ahLst/>
                <a:cxnLst>
                  <a:cxn ang="T10">
                    <a:pos x="T0" y="T1"/>
                  </a:cxn>
                  <a:cxn ang="T11">
                    <a:pos x="T2" y="T3"/>
                  </a:cxn>
                  <a:cxn ang="T12">
                    <a:pos x="T4" y="T5"/>
                  </a:cxn>
                  <a:cxn ang="T13">
                    <a:pos x="T6" y="T7"/>
                  </a:cxn>
                  <a:cxn ang="T14">
                    <a:pos x="T8" y="T9"/>
                  </a:cxn>
                </a:cxnLst>
                <a:rect l="T15" t="T16" r="T17" b="T18"/>
                <a:pathLst>
                  <a:path w="10" h="11">
                    <a:moveTo>
                      <a:pt x="10" y="3"/>
                    </a:moveTo>
                    <a:lnTo>
                      <a:pt x="5" y="9"/>
                    </a:lnTo>
                    <a:lnTo>
                      <a:pt x="0" y="11"/>
                    </a:lnTo>
                    <a:lnTo>
                      <a:pt x="0" y="0"/>
                    </a:lnTo>
                    <a:lnTo>
                      <a:pt x="10" y="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6" name="Freeform 181">
                <a:extLst>
                  <a:ext uri="{FF2B5EF4-FFF2-40B4-BE49-F238E27FC236}">
                    <a16:creationId xmlns:a16="http://schemas.microsoft.com/office/drawing/2014/main" id="{4B078F6C-ECC5-6F62-FD2D-85B302D91A07}"/>
                  </a:ext>
                </a:extLst>
              </p:cNvPr>
              <p:cNvSpPr>
                <a:spLocks/>
              </p:cNvSpPr>
              <p:nvPr/>
            </p:nvSpPr>
            <p:spPr bwMode="auto">
              <a:xfrm>
                <a:off x="5194" y="2791"/>
                <a:ext cx="12" cy="31"/>
              </a:xfrm>
              <a:custGeom>
                <a:avLst/>
                <a:gdLst>
                  <a:gd name="T0" fmla="*/ 2759 w 10"/>
                  <a:gd name="T1" fmla="*/ 619825 h 22"/>
                  <a:gd name="T2" fmla="*/ 1916 w 10"/>
                  <a:gd name="T3" fmla="*/ 514298 h 22"/>
                  <a:gd name="T4" fmla="*/ 2299 w 10"/>
                  <a:gd name="T5" fmla="*/ 236045 h 22"/>
                  <a:gd name="T6" fmla="*/ 2299 w 10"/>
                  <a:gd name="T7" fmla="*/ 0 h 22"/>
                  <a:gd name="T8" fmla="*/ 0 w 10"/>
                  <a:gd name="T9" fmla="*/ 916600 h 22"/>
                  <a:gd name="T10" fmla="*/ 2759 w 10"/>
                  <a:gd name="T11" fmla="*/ 619825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10" y="15"/>
                    </a:moveTo>
                    <a:lnTo>
                      <a:pt x="7" y="13"/>
                    </a:lnTo>
                    <a:lnTo>
                      <a:pt x="8" y="6"/>
                    </a:lnTo>
                    <a:lnTo>
                      <a:pt x="8" y="0"/>
                    </a:lnTo>
                    <a:lnTo>
                      <a:pt x="0" y="22"/>
                    </a:lnTo>
                    <a:lnTo>
                      <a:pt x="10" y="1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7" name="Freeform 182">
                <a:extLst>
                  <a:ext uri="{FF2B5EF4-FFF2-40B4-BE49-F238E27FC236}">
                    <a16:creationId xmlns:a16="http://schemas.microsoft.com/office/drawing/2014/main" id="{B55ECC6A-4D78-6AA7-1FD1-220C5464F77A}"/>
                  </a:ext>
                </a:extLst>
              </p:cNvPr>
              <p:cNvSpPr>
                <a:spLocks/>
              </p:cNvSpPr>
              <p:nvPr/>
            </p:nvSpPr>
            <p:spPr bwMode="auto">
              <a:xfrm>
                <a:off x="5418" y="2821"/>
                <a:ext cx="5" cy="16"/>
              </a:xfrm>
              <a:custGeom>
                <a:avLst/>
                <a:gdLst>
                  <a:gd name="T0" fmla="*/ 5 w 5"/>
                  <a:gd name="T1" fmla="*/ 1155071 h 11"/>
                  <a:gd name="T2" fmla="*/ 4 w 5"/>
                  <a:gd name="T3" fmla="*/ 0 h 11"/>
                  <a:gd name="T4" fmla="*/ 0 w 5"/>
                  <a:gd name="T5" fmla="*/ 1 h 11"/>
                  <a:gd name="T6" fmla="*/ 0 w 5"/>
                  <a:gd name="T7" fmla="*/ 1189809 h 11"/>
                  <a:gd name="T8" fmla="*/ 5 w 5"/>
                  <a:gd name="T9" fmla="*/ 1155071 h 11"/>
                  <a:gd name="T10" fmla="*/ 0 60000 65536"/>
                  <a:gd name="T11" fmla="*/ 0 60000 65536"/>
                  <a:gd name="T12" fmla="*/ 0 60000 65536"/>
                  <a:gd name="T13" fmla="*/ 0 60000 65536"/>
                  <a:gd name="T14" fmla="*/ 0 60000 65536"/>
                  <a:gd name="T15" fmla="*/ 0 w 5"/>
                  <a:gd name="T16" fmla="*/ 0 h 11"/>
                  <a:gd name="T17" fmla="*/ 5 w 5"/>
                  <a:gd name="T18" fmla="*/ 11 h 11"/>
                </a:gdLst>
                <a:ahLst/>
                <a:cxnLst>
                  <a:cxn ang="T10">
                    <a:pos x="T0" y="T1"/>
                  </a:cxn>
                  <a:cxn ang="T11">
                    <a:pos x="T2" y="T3"/>
                  </a:cxn>
                  <a:cxn ang="T12">
                    <a:pos x="T4" y="T5"/>
                  </a:cxn>
                  <a:cxn ang="T13">
                    <a:pos x="T6" y="T7"/>
                  </a:cxn>
                  <a:cxn ang="T14">
                    <a:pos x="T8" y="T9"/>
                  </a:cxn>
                </a:cxnLst>
                <a:rect l="T15" t="T16" r="T17" b="T18"/>
                <a:pathLst>
                  <a:path w="5" h="11">
                    <a:moveTo>
                      <a:pt x="5" y="10"/>
                    </a:moveTo>
                    <a:lnTo>
                      <a:pt x="4" y="0"/>
                    </a:lnTo>
                    <a:lnTo>
                      <a:pt x="0" y="1"/>
                    </a:lnTo>
                    <a:lnTo>
                      <a:pt x="0" y="11"/>
                    </a:lnTo>
                    <a:lnTo>
                      <a:pt x="5" y="1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8" name="Freeform 183">
                <a:extLst>
                  <a:ext uri="{FF2B5EF4-FFF2-40B4-BE49-F238E27FC236}">
                    <a16:creationId xmlns:a16="http://schemas.microsoft.com/office/drawing/2014/main" id="{E0D22A73-774B-F3C2-4A1F-0CCA8360E8FE}"/>
                  </a:ext>
                </a:extLst>
              </p:cNvPr>
              <p:cNvSpPr>
                <a:spLocks/>
              </p:cNvSpPr>
              <p:nvPr/>
            </p:nvSpPr>
            <p:spPr bwMode="auto">
              <a:xfrm>
                <a:off x="4742" y="2702"/>
                <a:ext cx="10" cy="18"/>
              </a:xfrm>
              <a:custGeom>
                <a:avLst/>
                <a:gdLst>
                  <a:gd name="T0" fmla="*/ 224 w 9"/>
                  <a:gd name="T1" fmla="*/ 310085 h 13"/>
                  <a:gd name="T2" fmla="*/ 3 w 9"/>
                  <a:gd name="T3" fmla="*/ 310085 h 13"/>
                  <a:gd name="T4" fmla="*/ 0 w 9"/>
                  <a:gd name="T5" fmla="*/ 0 h 13"/>
                  <a:gd name="T6" fmla="*/ 224 w 9"/>
                  <a:gd name="T7" fmla="*/ 310085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9" y="13"/>
                    </a:moveTo>
                    <a:lnTo>
                      <a:pt x="3" y="13"/>
                    </a:lnTo>
                    <a:lnTo>
                      <a:pt x="0" y="0"/>
                    </a:lnTo>
                    <a:lnTo>
                      <a:pt x="9" y="1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69" name="Freeform 184">
                <a:extLst>
                  <a:ext uri="{FF2B5EF4-FFF2-40B4-BE49-F238E27FC236}">
                    <a16:creationId xmlns:a16="http://schemas.microsoft.com/office/drawing/2014/main" id="{FF3DBB3E-EE1B-4367-D16D-6E6E25048D86}"/>
                  </a:ext>
                </a:extLst>
              </p:cNvPr>
              <p:cNvSpPr>
                <a:spLocks/>
              </p:cNvSpPr>
              <p:nvPr/>
            </p:nvSpPr>
            <p:spPr bwMode="auto">
              <a:xfrm>
                <a:off x="5191" y="2795"/>
                <a:ext cx="5" cy="18"/>
              </a:xfrm>
              <a:custGeom>
                <a:avLst/>
                <a:gdLst>
                  <a:gd name="T0" fmla="*/ 5 w 5"/>
                  <a:gd name="T1" fmla="*/ 134659 h 13"/>
                  <a:gd name="T2" fmla="*/ 5 w 5"/>
                  <a:gd name="T3" fmla="*/ 0 h 13"/>
                  <a:gd name="T4" fmla="*/ 1 w 5"/>
                  <a:gd name="T5" fmla="*/ 50728 h 13"/>
                  <a:gd name="T6" fmla="*/ 0 w 5"/>
                  <a:gd name="T7" fmla="*/ 310085 h 13"/>
                  <a:gd name="T8" fmla="*/ 5 w 5"/>
                  <a:gd name="T9" fmla="*/ 134659 h 13"/>
                  <a:gd name="T10" fmla="*/ 0 60000 65536"/>
                  <a:gd name="T11" fmla="*/ 0 60000 65536"/>
                  <a:gd name="T12" fmla="*/ 0 60000 65536"/>
                  <a:gd name="T13" fmla="*/ 0 60000 65536"/>
                  <a:gd name="T14" fmla="*/ 0 60000 65536"/>
                  <a:gd name="T15" fmla="*/ 0 w 5"/>
                  <a:gd name="T16" fmla="*/ 0 h 13"/>
                  <a:gd name="T17" fmla="*/ 5 w 5"/>
                  <a:gd name="T18" fmla="*/ 13 h 13"/>
                </a:gdLst>
                <a:ahLst/>
                <a:cxnLst>
                  <a:cxn ang="T10">
                    <a:pos x="T0" y="T1"/>
                  </a:cxn>
                  <a:cxn ang="T11">
                    <a:pos x="T2" y="T3"/>
                  </a:cxn>
                  <a:cxn ang="T12">
                    <a:pos x="T4" y="T5"/>
                  </a:cxn>
                  <a:cxn ang="T13">
                    <a:pos x="T6" y="T7"/>
                  </a:cxn>
                  <a:cxn ang="T14">
                    <a:pos x="T8" y="T9"/>
                  </a:cxn>
                </a:cxnLst>
                <a:rect l="T15" t="T16" r="T17" b="T18"/>
                <a:pathLst>
                  <a:path w="5" h="13">
                    <a:moveTo>
                      <a:pt x="5" y="6"/>
                    </a:moveTo>
                    <a:lnTo>
                      <a:pt x="5" y="0"/>
                    </a:lnTo>
                    <a:lnTo>
                      <a:pt x="1" y="2"/>
                    </a:lnTo>
                    <a:lnTo>
                      <a:pt x="0" y="13"/>
                    </a:lnTo>
                    <a:lnTo>
                      <a:pt x="5"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0" name="Freeform 185">
                <a:extLst>
                  <a:ext uri="{FF2B5EF4-FFF2-40B4-BE49-F238E27FC236}">
                    <a16:creationId xmlns:a16="http://schemas.microsoft.com/office/drawing/2014/main" id="{B6E8E371-C5FE-B49E-B212-11739C4E2380}"/>
                  </a:ext>
                </a:extLst>
              </p:cNvPr>
              <p:cNvSpPr>
                <a:spLocks/>
              </p:cNvSpPr>
              <p:nvPr/>
            </p:nvSpPr>
            <p:spPr bwMode="auto">
              <a:xfrm>
                <a:off x="5228" y="2720"/>
                <a:ext cx="20" cy="5"/>
              </a:xfrm>
              <a:custGeom>
                <a:avLst/>
                <a:gdLst>
                  <a:gd name="T0" fmla="*/ 16025 w 16"/>
                  <a:gd name="T1" fmla="*/ 21788986 h 3"/>
                  <a:gd name="T2" fmla="*/ 6625 w 16"/>
                  <a:gd name="T3" fmla="*/ 0 h 3"/>
                  <a:gd name="T4" fmla="*/ 0 w 16"/>
                  <a:gd name="T5" fmla="*/ 21788986 h 3"/>
                  <a:gd name="T6" fmla="*/ 16025 w 16"/>
                  <a:gd name="T7" fmla="*/ 21788986 h 3"/>
                  <a:gd name="T8" fmla="*/ 0 60000 65536"/>
                  <a:gd name="T9" fmla="*/ 0 60000 65536"/>
                  <a:gd name="T10" fmla="*/ 0 60000 65536"/>
                  <a:gd name="T11" fmla="*/ 0 60000 65536"/>
                  <a:gd name="T12" fmla="*/ 0 w 16"/>
                  <a:gd name="T13" fmla="*/ 0 h 3"/>
                  <a:gd name="T14" fmla="*/ 16 w 16"/>
                  <a:gd name="T15" fmla="*/ 3 h 3"/>
                </a:gdLst>
                <a:ahLst/>
                <a:cxnLst>
                  <a:cxn ang="T8">
                    <a:pos x="T0" y="T1"/>
                  </a:cxn>
                  <a:cxn ang="T9">
                    <a:pos x="T2" y="T3"/>
                  </a:cxn>
                  <a:cxn ang="T10">
                    <a:pos x="T4" y="T5"/>
                  </a:cxn>
                  <a:cxn ang="T11">
                    <a:pos x="T6" y="T7"/>
                  </a:cxn>
                </a:cxnLst>
                <a:rect l="T12" t="T13" r="T14" b="T15"/>
                <a:pathLst>
                  <a:path w="16" h="3">
                    <a:moveTo>
                      <a:pt x="16" y="3"/>
                    </a:moveTo>
                    <a:lnTo>
                      <a:pt x="7" y="0"/>
                    </a:lnTo>
                    <a:lnTo>
                      <a:pt x="0" y="3"/>
                    </a:lnTo>
                    <a:lnTo>
                      <a:pt x="16" y="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1" name="Freeform 186">
                <a:extLst>
                  <a:ext uri="{FF2B5EF4-FFF2-40B4-BE49-F238E27FC236}">
                    <a16:creationId xmlns:a16="http://schemas.microsoft.com/office/drawing/2014/main" id="{96D09356-66D2-9FF7-D0C0-76A04D962F2B}"/>
                  </a:ext>
                </a:extLst>
              </p:cNvPr>
              <p:cNvSpPr>
                <a:spLocks/>
              </p:cNvSpPr>
              <p:nvPr/>
            </p:nvSpPr>
            <p:spPr bwMode="auto">
              <a:xfrm>
                <a:off x="5410" y="2839"/>
                <a:ext cx="9" cy="15"/>
              </a:xfrm>
              <a:custGeom>
                <a:avLst/>
                <a:gdLst>
                  <a:gd name="T0" fmla="*/ 16552 w 7"/>
                  <a:gd name="T1" fmla="*/ 1165518 h 10"/>
                  <a:gd name="T2" fmla="*/ 1 w 7"/>
                  <a:gd name="T3" fmla="*/ 2832165 h 10"/>
                  <a:gd name="T4" fmla="*/ 0 w 7"/>
                  <a:gd name="T5" fmla="*/ 0 h 10"/>
                  <a:gd name="T6" fmla="*/ 16552 w 7"/>
                  <a:gd name="T7" fmla="*/ 1165518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7" y="4"/>
                    </a:moveTo>
                    <a:lnTo>
                      <a:pt x="1" y="10"/>
                    </a:lnTo>
                    <a:lnTo>
                      <a:pt x="0" y="0"/>
                    </a:lnTo>
                    <a:lnTo>
                      <a:pt x="7" y="4"/>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2" name="Freeform 187">
                <a:extLst>
                  <a:ext uri="{FF2B5EF4-FFF2-40B4-BE49-F238E27FC236}">
                    <a16:creationId xmlns:a16="http://schemas.microsoft.com/office/drawing/2014/main" id="{2C3D3B68-A1D6-9B2D-1906-C37DE462B55E}"/>
                  </a:ext>
                </a:extLst>
              </p:cNvPr>
              <p:cNvSpPr>
                <a:spLocks/>
              </p:cNvSpPr>
              <p:nvPr/>
            </p:nvSpPr>
            <p:spPr bwMode="auto">
              <a:xfrm>
                <a:off x="5006" y="2855"/>
                <a:ext cx="23" cy="5"/>
              </a:xfrm>
              <a:custGeom>
                <a:avLst/>
                <a:gdLst>
                  <a:gd name="T0" fmla="*/ 1502 w 20"/>
                  <a:gd name="T1" fmla="*/ 0 h 3"/>
                  <a:gd name="T2" fmla="*/ 399 w 20"/>
                  <a:gd name="T3" fmla="*/ 21788986 h 3"/>
                  <a:gd name="T4" fmla="*/ 0 w 20"/>
                  <a:gd name="T5" fmla="*/ 13073399 h 3"/>
                  <a:gd name="T6" fmla="*/ 1502 w 20"/>
                  <a:gd name="T7" fmla="*/ 0 h 3"/>
                  <a:gd name="T8" fmla="*/ 0 60000 65536"/>
                  <a:gd name="T9" fmla="*/ 0 60000 65536"/>
                  <a:gd name="T10" fmla="*/ 0 60000 65536"/>
                  <a:gd name="T11" fmla="*/ 0 60000 65536"/>
                  <a:gd name="T12" fmla="*/ 0 w 20"/>
                  <a:gd name="T13" fmla="*/ 0 h 3"/>
                  <a:gd name="T14" fmla="*/ 20 w 20"/>
                  <a:gd name="T15" fmla="*/ 3 h 3"/>
                </a:gdLst>
                <a:ahLst/>
                <a:cxnLst>
                  <a:cxn ang="T8">
                    <a:pos x="T0" y="T1"/>
                  </a:cxn>
                  <a:cxn ang="T9">
                    <a:pos x="T2" y="T3"/>
                  </a:cxn>
                  <a:cxn ang="T10">
                    <a:pos x="T4" y="T5"/>
                  </a:cxn>
                  <a:cxn ang="T11">
                    <a:pos x="T6" y="T7"/>
                  </a:cxn>
                </a:cxnLst>
                <a:rect l="T12" t="T13" r="T14" b="T15"/>
                <a:pathLst>
                  <a:path w="20" h="3">
                    <a:moveTo>
                      <a:pt x="20" y="0"/>
                    </a:moveTo>
                    <a:lnTo>
                      <a:pt x="5" y="3"/>
                    </a:lnTo>
                    <a:lnTo>
                      <a:pt x="0" y="2"/>
                    </a:lnTo>
                    <a:lnTo>
                      <a:pt x="20"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3" name="Freeform 188">
                <a:extLst>
                  <a:ext uri="{FF2B5EF4-FFF2-40B4-BE49-F238E27FC236}">
                    <a16:creationId xmlns:a16="http://schemas.microsoft.com/office/drawing/2014/main" id="{4E725AEA-1E78-4FD4-AD06-AE2380623F8C}"/>
                  </a:ext>
                </a:extLst>
              </p:cNvPr>
              <p:cNvSpPr>
                <a:spLocks/>
              </p:cNvSpPr>
              <p:nvPr/>
            </p:nvSpPr>
            <p:spPr bwMode="auto">
              <a:xfrm>
                <a:off x="5034" y="2549"/>
                <a:ext cx="16" cy="24"/>
              </a:xfrm>
              <a:custGeom>
                <a:avLst/>
                <a:gdLst>
                  <a:gd name="T0" fmla="*/ 415 w 14"/>
                  <a:gd name="T1" fmla="*/ 4549442 h 16"/>
                  <a:gd name="T2" fmla="*/ 0 w 14"/>
                  <a:gd name="T3" fmla="*/ 1574803 h 16"/>
                  <a:gd name="T4" fmla="*/ 877 w 14"/>
                  <a:gd name="T5" fmla="*/ 0 h 16"/>
                  <a:gd name="T6" fmla="*/ 877 w 14"/>
                  <a:gd name="T7" fmla="*/ 311073 h 16"/>
                  <a:gd name="T8" fmla="*/ 707 w 14"/>
                  <a:gd name="T9" fmla="*/ 2362204 h 16"/>
                  <a:gd name="T10" fmla="*/ 415 w 14"/>
                  <a:gd name="T11" fmla="*/ 4549442 h 16"/>
                  <a:gd name="T12" fmla="*/ 0 60000 65536"/>
                  <a:gd name="T13" fmla="*/ 0 60000 65536"/>
                  <a:gd name="T14" fmla="*/ 0 60000 65536"/>
                  <a:gd name="T15" fmla="*/ 0 60000 65536"/>
                  <a:gd name="T16" fmla="*/ 0 60000 65536"/>
                  <a:gd name="T17" fmla="*/ 0 60000 65536"/>
                  <a:gd name="T18" fmla="*/ 0 w 14"/>
                  <a:gd name="T19" fmla="*/ 0 h 16"/>
                  <a:gd name="T20" fmla="*/ 14 w 1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4" h="16">
                    <a:moveTo>
                      <a:pt x="7" y="16"/>
                    </a:moveTo>
                    <a:lnTo>
                      <a:pt x="0" y="6"/>
                    </a:lnTo>
                    <a:lnTo>
                      <a:pt x="14" y="0"/>
                    </a:lnTo>
                    <a:lnTo>
                      <a:pt x="14" y="1"/>
                    </a:lnTo>
                    <a:lnTo>
                      <a:pt x="11" y="9"/>
                    </a:lnTo>
                    <a:lnTo>
                      <a:pt x="7" y="1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4" name="Freeform 189">
                <a:extLst>
                  <a:ext uri="{FF2B5EF4-FFF2-40B4-BE49-F238E27FC236}">
                    <a16:creationId xmlns:a16="http://schemas.microsoft.com/office/drawing/2014/main" id="{CA75CEC6-F029-B52E-B8CD-EBD9965DD94B}"/>
                  </a:ext>
                </a:extLst>
              </p:cNvPr>
              <p:cNvSpPr>
                <a:spLocks/>
              </p:cNvSpPr>
              <p:nvPr/>
            </p:nvSpPr>
            <p:spPr bwMode="auto">
              <a:xfrm>
                <a:off x="5480" y="2430"/>
                <a:ext cx="3" cy="5"/>
              </a:xfrm>
              <a:custGeom>
                <a:avLst/>
                <a:gdLst>
                  <a:gd name="T0" fmla="*/ 1 w 3"/>
                  <a:gd name="T1" fmla="*/ 13073399 h 3"/>
                  <a:gd name="T2" fmla="*/ 1 w 3"/>
                  <a:gd name="T3" fmla="*/ 0 h 3"/>
                  <a:gd name="T4" fmla="*/ 0 w 3"/>
                  <a:gd name="T5" fmla="*/ 21788986 h 3"/>
                  <a:gd name="T6" fmla="*/ 1 w 3"/>
                  <a:gd name="T7" fmla="*/ 13073399 h 3"/>
                  <a:gd name="T8" fmla="*/ 1 w 3"/>
                  <a:gd name="T9" fmla="*/ 0 h 3"/>
                  <a:gd name="T10" fmla="*/ 3 w 3"/>
                  <a:gd name="T11" fmla="*/ 0 h 3"/>
                  <a:gd name="T12" fmla="*/ 1 w 3"/>
                  <a:gd name="T13" fmla="*/ 13073399 h 3"/>
                  <a:gd name="T14" fmla="*/ 0 60000 65536"/>
                  <a:gd name="T15" fmla="*/ 0 60000 65536"/>
                  <a:gd name="T16" fmla="*/ 0 60000 65536"/>
                  <a:gd name="T17" fmla="*/ 0 60000 65536"/>
                  <a:gd name="T18" fmla="*/ 0 60000 65536"/>
                  <a:gd name="T19" fmla="*/ 0 60000 65536"/>
                  <a:gd name="T20" fmla="*/ 0 60000 65536"/>
                  <a:gd name="T21" fmla="*/ 0 w 3"/>
                  <a:gd name="T22" fmla="*/ 0 h 3"/>
                  <a:gd name="T23" fmla="*/ 3 w 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3">
                    <a:moveTo>
                      <a:pt x="1" y="2"/>
                    </a:moveTo>
                    <a:lnTo>
                      <a:pt x="1" y="0"/>
                    </a:lnTo>
                    <a:lnTo>
                      <a:pt x="0" y="3"/>
                    </a:lnTo>
                    <a:lnTo>
                      <a:pt x="1" y="2"/>
                    </a:lnTo>
                    <a:lnTo>
                      <a:pt x="1" y="0"/>
                    </a:lnTo>
                    <a:lnTo>
                      <a:pt x="3" y="0"/>
                    </a:lnTo>
                    <a:lnTo>
                      <a:pt x="1" y="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5" name="Freeform 190">
                <a:extLst>
                  <a:ext uri="{FF2B5EF4-FFF2-40B4-BE49-F238E27FC236}">
                    <a16:creationId xmlns:a16="http://schemas.microsoft.com/office/drawing/2014/main" id="{F1364B1A-43DA-514F-4D4C-EE0D32628D75}"/>
                  </a:ext>
                </a:extLst>
              </p:cNvPr>
              <p:cNvSpPr>
                <a:spLocks/>
              </p:cNvSpPr>
              <p:nvPr/>
            </p:nvSpPr>
            <p:spPr bwMode="auto">
              <a:xfrm>
                <a:off x="4949" y="2499"/>
                <a:ext cx="181" cy="156"/>
              </a:xfrm>
              <a:custGeom>
                <a:avLst/>
                <a:gdLst>
                  <a:gd name="T0" fmla="*/ 30911 w 151"/>
                  <a:gd name="T1" fmla="*/ 0 h 108"/>
                  <a:gd name="T2" fmla="*/ 34386 w 151"/>
                  <a:gd name="T3" fmla="*/ 594926 h 108"/>
                  <a:gd name="T4" fmla="*/ 33555 w 151"/>
                  <a:gd name="T5" fmla="*/ 1528855 h 108"/>
                  <a:gd name="T6" fmla="*/ 35560 w 151"/>
                  <a:gd name="T7" fmla="*/ 1346916 h 108"/>
                  <a:gd name="T8" fmla="*/ 35560 w 151"/>
                  <a:gd name="T9" fmla="*/ 1656938 h 108"/>
                  <a:gd name="T10" fmla="*/ 36368 w 151"/>
                  <a:gd name="T11" fmla="*/ 1792940 h 108"/>
                  <a:gd name="T12" fmla="*/ 41572 w 151"/>
                  <a:gd name="T13" fmla="*/ 2589802 h 108"/>
                  <a:gd name="T14" fmla="*/ 37052 w 151"/>
                  <a:gd name="T15" fmla="*/ 2944524 h 108"/>
                  <a:gd name="T16" fmla="*/ 38474 w 151"/>
                  <a:gd name="T17" fmla="*/ 3740825 h 108"/>
                  <a:gd name="T18" fmla="*/ 35074 w 151"/>
                  <a:gd name="T19" fmla="*/ 4023613 h 108"/>
                  <a:gd name="T20" fmla="*/ 34542 w 151"/>
                  <a:gd name="T21" fmla="*/ 4411556 h 108"/>
                  <a:gd name="T22" fmla="*/ 30822 w 151"/>
                  <a:gd name="T23" fmla="*/ 4207095 h 108"/>
                  <a:gd name="T24" fmla="*/ 26758 w 151"/>
                  <a:gd name="T25" fmla="*/ 4023613 h 108"/>
                  <a:gd name="T26" fmla="*/ 26259 w 151"/>
                  <a:gd name="T27" fmla="*/ 5176762 h 108"/>
                  <a:gd name="T28" fmla="*/ 24749 w 151"/>
                  <a:gd name="T29" fmla="*/ 6260345 h 108"/>
                  <a:gd name="T30" fmla="*/ 24041 w 151"/>
                  <a:gd name="T31" fmla="*/ 7193502 h 108"/>
                  <a:gd name="T32" fmla="*/ 21943 w 151"/>
                  <a:gd name="T33" fmla="*/ 8394944 h 108"/>
                  <a:gd name="T34" fmla="*/ 18306 w 151"/>
                  <a:gd name="T35" fmla="*/ 8873962 h 108"/>
                  <a:gd name="T36" fmla="*/ 12300 w 151"/>
                  <a:gd name="T37" fmla="*/ 8586160 h 108"/>
                  <a:gd name="T38" fmla="*/ 11312 w 151"/>
                  <a:gd name="T39" fmla="*/ 9204359 h 108"/>
                  <a:gd name="T40" fmla="*/ 5479 w 151"/>
                  <a:gd name="T41" fmla="*/ 9613252 h 108"/>
                  <a:gd name="T42" fmla="*/ 1076 w 151"/>
                  <a:gd name="T43" fmla="*/ 8850695 h 108"/>
                  <a:gd name="T44" fmla="*/ 0 w 151"/>
                  <a:gd name="T45" fmla="*/ 7670243 h 108"/>
                  <a:gd name="T46" fmla="*/ 2 w 151"/>
                  <a:gd name="T47" fmla="*/ 7793033 h 108"/>
                  <a:gd name="T48" fmla="*/ 3813 w 151"/>
                  <a:gd name="T49" fmla="*/ 8394944 h 108"/>
                  <a:gd name="T50" fmla="*/ 7119 w 151"/>
                  <a:gd name="T51" fmla="*/ 8850695 h 108"/>
                  <a:gd name="T52" fmla="*/ 6568 w 151"/>
                  <a:gd name="T53" fmla="*/ 8661687 h 108"/>
                  <a:gd name="T54" fmla="*/ 6866 w 151"/>
                  <a:gd name="T55" fmla="*/ 8394944 h 108"/>
                  <a:gd name="T56" fmla="*/ 7873 w 151"/>
                  <a:gd name="T57" fmla="*/ 7477543 h 108"/>
                  <a:gd name="T58" fmla="*/ 7873 w 151"/>
                  <a:gd name="T59" fmla="*/ 7212892 h 108"/>
                  <a:gd name="T60" fmla="*/ 7897 w 151"/>
                  <a:gd name="T61" fmla="*/ 6812533 h 108"/>
                  <a:gd name="T62" fmla="*/ 10629 w 151"/>
                  <a:gd name="T63" fmla="*/ 6372249 h 108"/>
                  <a:gd name="T64" fmla="*/ 14015 w 151"/>
                  <a:gd name="T65" fmla="*/ 6076912 h 108"/>
                  <a:gd name="T66" fmla="*/ 16303 w 151"/>
                  <a:gd name="T67" fmla="*/ 4886625 h 108"/>
                  <a:gd name="T68" fmla="*/ 19471 w 151"/>
                  <a:gd name="T69" fmla="*/ 3647202 h 108"/>
                  <a:gd name="T70" fmla="*/ 21116 w 151"/>
                  <a:gd name="T71" fmla="*/ 4599157 h 108"/>
                  <a:gd name="T72" fmla="*/ 22323 w 151"/>
                  <a:gd name="T73" fmla="*/ 3932983 h 108"/>
                  <a:gd name="T74" fmla="*/ 23339 w 151"/>
                  <a:gd name="T75" fmla="*/ 3189834 h 108"/>
                  <a:gd name="T76" fmla="*/ 24041 w 151"/>
                  <a:gd name="T77" fmla="*/ 4023613 h 108"/>
                  <a:gd name="T78" fmla="*/ 24041 w 151"/>
                  <a:gd name="T79" fmla="*/ 3383048 h 108"/>
                  <a:gd name="T80" fmla="*/ 25311 w 151"/>
                  <a:gd name="T81" fmla="*/ 2944524 h 108"/>
                  <a:gd name="T82" fmla="*/ 24749 w 151"/>
                  <a:gd name="T83" fmla="*/ 2589802 h 108"/>
                  <a:gd name="T84" fmla="*/ 25393 w 151"/>
                  <a:gd name="T85" fmla="*/ 2208346 h 108"/>
                  <a:gd name="T86" fmla="*/ 27592 w 151"/>
                  <a:gd name="T87" fmla="*/ 1058438 h 108"/>
                  <a:gd name="T88" fmla="*/ 30041 w 151"/>
                  <a:gd name="T89" fmla="*/ 0 h 108"/>
                  <a:gd name="T90" fmla="*/ 30438 w 151"/>
                  <a:gd name="T91" fmla="*/ 380630 h 108"/>
                  <a:gd name="T92" fmla="*/ 30911 w 151"/>
                  <a:gd name="T93" fmla="*/ 0 h 10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1"/>
                  <a:gd name="T142" fmla="*/ 0 h 108"/>
                  <a:gd name="T143" fmla="*/ 151 w 151"/>
                  <a:gd name="T144" fmla="*/ 108 h 10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1" h="108">
                    <a:moveTo>
                      <a:pt x="113" y="0"/>
                    </a:moveTo>
                    <a:lnTo>
                      <a:pt x="124" y="7"/>
                    </a:lnTo>
                    <a:lnTo>
                      <a:pt x="122" y="17"/>
                    </a:lnTo>
                    <a:lnTo>
                      <a:pt x="129" y="15"/>
                    </a:lnTo>
                    <a:lnTo>
                      <a:pt x="129" y="19"/>
                    </a:lnTo>
                    <a:lnTo>
                      <a:pt x="132" y="20"/>
                    </a:lnTo>
                    <a:lnTo>
                      <a:pt x="151" y="29"/>
                    </a:lnTo>
                    <a:lnTo>
                      <a:pt x="135" y="33"/>
                    </a:lnTo>
                    <a:lnTo>
                      <a:pt x="140" y="42"/>
                    </a:lnTo>
                    <a:lnTo>
                      <a:pt x="128" y="45"/>
                    </a:lnTo>
                    <a:lnTo>
                      <a:pt x="125" y="49"/>
                    </a:lnTo>
                    <a:lnTo>
                      <a:pt x="112" y="47"/>
                    </a:lnTo>
                    <a:lnTo>
                      <a:pt x="97" y="45"/>
                    </a:lnTo>
                    <a:lnTo>
                      <a:pt x="95" y="58"/>
                    </a:lnTo>
                    <a:lnTo>
                      <a:pt x="90" y="70"/>
                    </a:lnTo>
                    <a:lnTo>
                      <a:pt x="87" y="80"/>
                    </a:lnTo>
                    <a:lnTo>
                      <a:pt x="80" y="94"/>
                    </a:lnTo>
                    <a:lnTo>
                      <a:pt x="67" y="100"/>
                    </a:lnTo>
                    <a:lnTo>
                      <a:pt x="45" y="96"/>
                    </a:lnTo>
                    <a:lnTo>
                      <a:pt x="41" y="103"/>
                    </a:lnTo>
                    <a:lnTo>
                      <a:pt x="19" y="108"/>
                    </a:lnTo>
                    <a:lnTo>
                      <a:pt x="4" y="99"/>
                    </a:lnTo>
                    <a:lnTo>
                      <a:pt x="0" y="86"/>
                    </a:lnTo>
                    <a:lnTo>
                      <a:pt x="2" y="87"/>
                    </a:lnTo>
                    <a:lnTo>
                      <a:pt x="13" y="94"/>
                    </a:lnTo>
                    <a:lnTo>
                      <a:pt x="26" y="99"/>
                    </a:lnTo>
                    <a:lnTo>
                      <a:pt x="23" y="97"/>
                    </a:lnTo>
                    <a:lnTo>
                      <a:pt x="25" y="94"/>
                    </a:lnTo>
                    <a:lnTo>
                      <a:pt x="28" y="84"/>
                    </a:lnTo>
                    <a:lnTo>
                      <a:pt x="28" y="81"/>
                    </a:lnTo>
                    <a:lnTo>
                      <a:pt x="29" y="76"/>
                    </a:lnTo>
                    <a:lnTo>
                      <a:pt x="39" y="71"/>
                    </a:lnTo>
                    <a:lnTo>
                      <a:pt x="51" y="68"/>
                    </a:lnTo>
                    <a:lnTo>
                      <a:pt x="60" y="55"/>
                    </a:lnTo>
                    <a:lnTo>
                      <a:pt x="70" y="41"/>
                    </a:lnTo>
                    <a:lnTo>
                      <a:pt x="77" y="51"/>
                    </a:lnTo>
                    <a:lnTo>
                      <a:pt x="81" y="44"/>
                    </a:lnTo>
                    <a:lnTo>
                      <a:pt x="84" y="36"/>
                    </a:lnTo>
                    <a:lnTo>
                      <a:pt x="87" y="45"/>
                    </a:lnTo>
                    <a:lnTo>
                      <a:pt x="87" y="38"/>
                    </a:lnTo>
                    <a:lnTo>
                      <a:pt x="92" y="33"/>
                    </a:lnTo>
                    <a:lnTo>
                      <a:pt x="90" y="29"/>
                    </a:lnTo>
                    <a:lnTo>
                      <a:pt x="93" y="25"/>
                    </a:lnTo>
                    <a:lnTo>
                      <a:pt x="100" y="12"/>
                    </a:lnTo>
                    <a:lnTo>
                      <a:pt x="109" y="0"/>
                    </a:lnTo>
                    <a:lnTo>
                      <a:pt x="111" y="4"/>
                    </a:lnTo>
                    <a:lnTo>
                      <a:pt x="113"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6" name="Freeform 191">
                <a:extLst>
                  <a:ext uri="{FF2B5EF4-FFF2-40B4-BE49-F238E27FC236}">
                    <a16:creationId xmlns:a16="http://schemas.microsoft.com/office/drawing/2014/main" id="{1BB3D261-0F88-B246-94FA-DE3C268F3E1A}"/>
                  </a:ext>
                </a:extLst>
              </p:cNvPr>
              <p:cNvSpPr>
                <a:spLocks/>
              </p:cNvSpPr>
              <p:nvPr/>
            </p:nvSpPr>
            <p:spPr bwMode="auto">
              <a:xfrm>
                <a:off x="4767" y="2509"/>
                <a:ext cx="82" cy="132"/>
              </a:xfrm>
              <a:custGeom>
                <a:avLst/>
                <a:gdLst>
                  <a:gd name="T0" fmla="*/ 19071 w 68"/>
                  <a:gd name="T1" fmla="*/ 4807758 h 93"/>
                  <a:gd name="T2" fmla="*/ 13099 w 68"/>
                  <a:gd name="T3" fmla="*/ 4167816 h 93"/>
                  <a:gd name="T4" fmla="*/ 6600 w 68"/>
                  <a:gd name="T5" fmla="*/ 3375817 h 93"/>
                  <a:gd name="T6" fmla="*/ 3625 w 68"/>
                  <a:gd name="T7" fmla="*/ 2342468 h 93"/>
                  <a:gd name="T8" fmla="*/ 1524 w 68"/>
                  <a:gd name="T9" fmla="*/ 1289409 h 93"/>
                  <a:gd name="T10" fmla="*/ 0 w 68"/>
                  <a:gd name="T11" fmla="*/ 165123 h 93"/>
                  <a:gd name="T12" fmla="*/ 0 w 68"/>
                  <a:gd name="T13" fmla="*/ 0 h 93"/>
                  <a:gd name="T14" fmla="*/ 4371 w 68"/>
                  <a:gd name="T15" fmla="*/ 332651 h 93"/>
                  <a:gd name="T16" fmla="*/ 4371 w 68"/>
                  <a:gd name="T17" fmla="*/ 727411 h 93"/>
                  <a:gd name="T18" fmla="*/ 7959 w 68"/>
                  <a:gd name="T19" fmla="*/ 670148 h 93"/>
                  <a:gd name="T20" fmla="*/ 9908 w 68"/>
                  <a:gd name="T21" fmla="*/ 332651 h 93"/>
                  <a:gd name="T22" fmla="*/ 13115 w 68"/>
                  <a:gd name="T23" fmla="*/ 857811 h 93"/>
                  <a:gd name="T24" fmla="*/ 16488 w 68"/>
                  <a:gd name="T25" fmla="*/ 1350059 h 93"/>
                  <a:gd name="T26" fmla="*/ 17374 w 68"/>
                  <a:gd name="T27" fmla="*/ 2236636 h 93"/>
                  <a:gd name="T28" fmla="*/ 17650 w 68"/>
                  <a:gd name="T29" fmla="*/ 3174581 h 93"/>
                  <a:gd name="T30" fmla="*/ 20295 w 68"/>
                  <a:gd name="T31" fmla="*/ 3860342 h 93"/>
                  <a:gd name="T32" fmla="*/ 22318 w 68"/>
                  <a:gd name="T33" fmla="*/ 4719062 h 93"/>
                  <a:gd name="T34" fmla="*/ 20563 w 68"/>
                  <a:gd name="T35" fmla="*/ 4550003 h 93"/>
                  <a:gd name="T36" fmla="*/ 19071 w 68"/>
                  <a:gd name="T37" fmla="*/ 4807758 h 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8"/>
                  <a:gd name="T58" fmla="*/ 0 h 93"/>
                  <a:gd name="T59" fmla="*/ 68 w 68"/>
                  <a:gd name="T60" fmla="*/ 93 h 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8" h="93">
                    <a:moveTo>
                      <a:pt x="58" y="93"/>
                    </a:moveTo>
                    <a:lnTo>
                      <a:pt x="39" y="80"/>
                    </a:lnTo>
                    <a:lnTo>
                      <a:pt x="20" y="65"/>
                    </a:lnTo>
                    <a:lnTo>
                      <a:pt x="11" y="45"/>
                    </a:lnTo>
                    <a:lnTo>
                      <a:pt x="5" y="25"/>
                    </a:lnTo>
                    <a:lnTo>
                      <a:pt x="0" y="3"/>
                    </a:lnTo>
                    <a:lnTo>
                      <a:pt x="0" y="0"/>
                    </a:lnTo>
                    <a:lnTo>
                      <a:pt x="13" y="6"/>
                    </a:lnTo>
                    <a:lnTo>
                      <a:pt x="13" y="14"/>
                    </a:lnTo>
                    <a:lnTo>
                      <a:pt x="24" y="13"/>
                    </a:lnTo>
                    <a:lnTo>
                      <a:pt x="30" y="6"/>
                    </a:lnTo>
                    <a:lnTo>
                      <a:pt x="40" y="16"/>
                    </a:lnTo>
                    <a:lnTo>
                      <a:pt x="50" y="26"/>
                    </a:lnTo>
                    <a:lnTo>
                      <a:pt x="52" y="43"/>
                    </a:lnTo>
                    <a:lnTo>
                      <a:pt x="53" y="61"/>
                    </a:lnTo>
                    <a:lnTo>
                      <a:pt x="61" y="75"/>
                    </a:lnTo>
                    <a:lnTo>
                      <a:pt x="68" y="91"/>
                    </a:lnTo>
                    <a:lnTo>
                      <a:pt x="62" y="88"/>
                    </a:lnTo>
                    <a:lnTo>
                      <a:pt x="58" y="93"/>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377" name="Freeform 192">
                <a:extLst>
                  <a:ext uri="{FF2B5EF4-FFF2-40B4-BE49-F238E27FC236}">
                    <a16:creationId xmlns:a16="http://schemas.microsoft.com/office/drawing/2014/main" id="{731E058B-7C29-196B-1673-25E2B302A7B1}"/>
                  </a:ext>
                </a:extLst>
              </p:cNvPr>
              <p:cNvSpPr>
                <a:spLocks/>
              </p:cNvSpPr>
              <p:nvPr/>
            </p:nvSpPr>
            <p:spPr bwMode="auto">
              <a:xfrm>
                <a:off x="5415" y="2478"/>
                <a:ext cx="4" cy="9"/>
              </a:xfrm>
              <a:custGeom>
                <a:avLst/>
                <a:gdLst>
                  <a:gd name="T0" fmla="*/ 15503 w 3"/>
                  <a:gd name="T1" fmla="*/ 1516126 h 6"/>
                  <a:gd name="T2" fmla="*/ 15503 w 3"/>
                  <a:gd name="T3" fmla="*/ 1010751 h 6"/>
                  <a:gd name="T4" fmla="*/ 15503 w 3"/>
                  <a:gd name="T5" fmla="*/ 673834 h 6"/>
                  <a:gd name="T6" fmla="*/ 20671 w 3"/>
                  <a:gd name="T7" fmla="*/ 673834 h 6"/>
                  <a:gd name="T8" fmla="*/ 20671 w 3"/>
                  <a:gd name="T9" fmla="*/ 0 h 6"/>
                  <a:gd name="T10" fmla="*/ 20671 w 3"/>
                  <a:gd name="T11" fmla="*/ 673834 h 6"/>
                  <a:gd name="T12" fmla="*/ 20671 w 3"/>
                  <a:gd name="T13" fmla="*/ 1010751 h 6"/>
                  <a:gd name="T14" fmla="*/ 20671 w 3"/>
                  <a:gd name="T15" fmla="*/ 1815228 h 6"/>
                  <a:gd name="T16" fmla="*/ 15503 w 3"/>
                  <a:gd name="T17" fmla="*/ 1815228 h 6"/>
                  <a:gd name="T18" fmla="*/ 0 w 3"/>
                  <a:gd name="T19" fmla="*/ 1516126 h 6"/>
                  <a:gd name="T20" fmla="*/ 15503 w 3"/>
                  <a:gd name="T21" fmla="*/ 1516126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6"/>
                  <a:gd name="T35" fmla="*/ 3 w 3"/>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6">
                    <a:moveTo>
                      <a:pt x="2" y="5"/>
                    </a:moveTo>
                    <a:lnTo>
                      <a:pt x="2" y="3"/>
                    </a:lnTo>
                    <a:lnTo>
                      <a:pt x="2" y="2"/>
                    </a:lnTo>
                    <a:lnTo>
                      <a:pt x="3" y="2"/>
                    </a:lnTo>
                    <a:lnTo>
                      <a:pt x="3" y="0"/>
                    </a:lnTo>
                    <a:lnTo>
                      <a:pt x="3" y="2"/>
                    </a:lnTo>
                    <a:lnTo>
                      <a:pt x="3" y="3"/>
                    </a:lnTo>
                    <a:lnTo>
                      <a:pt x="3" y="6"/>
                    </a:lnTo>
                    <a:lnTo>
                      <a:pt x="2" y="6"/>
                    </a:lnTo>
                    <a:lnTo>
                      <a:pt x="0" y="5"/>
                    </a:lnTo>
                    <a:lnTo>
                      <a:pt x="2" y="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8" name="Freeform 193">
                <a:extLst>
                  <a:ext uri="{FF2B5EF4-FFF2-40B4-BE49-F238E27FC236}">
                    <a16:creationId xmlns:a16="http://schemas.microsoft.com/office/drawing/2014/main" id="{46D85933-7988-A8AC-FED7-EF8FF5F42089}"/>
                  </a:ext>
                </a:extLst>
              </p:cNvPr>
              <p:cNvSpPr>
                <a:spLocks/>
              </p:cNvSpPr>
              <p:nvPr/>
            </p:nvSpPr>
            <p:spPr bwMode="auto">
              <a:xfrm>
                <a:off x="5413" y="2489"/>
                <a:ext cx="2" cy="1"/>
              </a:xfrm>
              <a:custGeom>
                <a:avLst/>
                <a:gdLst>
                  <a:gd name="T0" fmla="*/ 2147483647 w 1"/>
                  <a:gd name="T1" fmla="*/ 1 h 1"/>
                  <a:gd name="T2" fmla="*/ 0 w 1"/>
                  <a:gd name="T3" fmla="*/ 0 h 1"/>
                  <a:gd name="T4" fmla="*/ 0 w 1"/>
                  <a:gd name="T5" fmla="*/ 1 h 1"/>
                  <a:gd name="T6" fmla="*/ 2147483647 w 1"/>
                  <a:gd name="T7" fmla="*/ 0 h 1"/>
                  <a:gd name="T8" fmla="*/ 2147483647 w 1"/>
                  <a:gd name="T9" fmla="*/ 1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1"/>
                    </a:moveTo>
                    <a:lnTo>
                      <a:pt x="0" y="0"/>
                    </a:lnTo>
                    <a:lnTo>
                      <a:pt x="0" y="1"/>
                    </a:lnTo>
                    <a:lnTo>
                      <a:pt x="1" y="0"/>
                    </a:lnTo>
                    <a:lnTo>
                      <a:pt x="1" y="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79" name="Freeform 194">
                <a:extLst>
                  <a:ext uri="{FF2B5EF4-FFF2-40B4-BE49-F238E27FC236}">
                    <a16:creationId xmlns:a16="http://schemas.microsoft.com/office/drawing/2014/main" id="{6B50FD26-1691-B8AB-3D14-C5E7FABDC161}"/>
                  </a:ext>
                </a:extLst>
              </p:cNvPr>
              <p:cNvSpPr>
                <a:spLocks/>
              </p:cNvSpPr>
              <p:nvPr/>
            </p:nvSpPr>
            <p:spPr bwMode="auto">
              <a:xfrm>
                <a:off x="5415" y="2487"/>
                <a:ext cx="3" cy="2"/>
              </a:xfrm>
              <a:custGeom>
                <a:avLst/>
                <a:gdLst>
                  <a:gd name="T0" fmla="*/ 466609 w 2"/>
                  <a:gd name="T1" fmla="*/ 2 h 2"/>
                  <a:gd name="T2" fmla="*/ 466609 w 2"/>
                  <a:gd name="T3" fmla="*/ 0 h 2"/>
                  <a:gd name="T4" fmla="*/ 0 w 2"/>
                  <a:gd name="T5" fmla="*/ 0 h 2"/>
                  <a:gd name="T6" fmla="*/ 466609 w 2"/>
                  <a:gd name="T7" fmla="*/ 2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2"/>
                    </a:moveTo>
                    <a:lnTo>
                      <a:pt x="2" y="0"/>
                    </a:lnTo>
                    <a:lnTo>
                      <a:pt x="0" y="0"/>
                    </a:lnTo>
                    <a:lnTo>
                      <a:pt x="2" y="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0" name="Freeform 195">
                <a:extLst>
                  <a:ext uri="{FF2B5EF4-FFF2-40B4-BE49-F238E27FC236}">
                    <a16:creationId xmlns:a16="http://schemas.microsoft.com/office/drawing/2014/main" id="{6C029CDA-2CCD-ACC7-2AFE-2A2DD6311DFF}"/>
                  </a:ext>
                </a:extLst>
              </p:cNvPr>
              <p:cNvSpPr>
                <a:spLocks/>
              </p:cNvSpPr>
              <p:nvPr/>
            </p:nvSpPr>
            <p:spPr bwMode="auto">
              <a:xfrm>
                <a:off x="5410" y="2498"/>
                <a:ext cx="1" cy="1"/>
              </a:xfrm>
              <a:custGeom>
                <a:avLst/>
                <a:gdLst>
                  <a:gd name="T0" fmla="*/ 1 w 1"/>
                  <a:gd name="T1" fmla="*/ 1 h 1"/>
                  <a:gd name="T2" fmla="*/ 0 w 1"/>
                  <a:gd name="T3" fmla="*/ 1 h 1"/>
                  <a:gd name="T4" fmla="*/ 0 w 1"/>
                  <a:gd name="T5" fmla="*/ 0 h 1"/>
                  <a:gd name="T6" fmla="*/ 1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0" y="1"/>
                    </a:lnTo>
                    <a:lnTo>
                      <a:pt x="0" y="0"/>
                    </a:lnTo>
                    <a:lnTo>
                      <a:pt x="1" y="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1" name="Freeform 196">
                <a:extLst>
                  <a:ext uri="{FF2B5EF4-FFF2-40B4-BE49-F238E27FC236}">
                    <a16:creationId xmlns:a16="http://schemas.microsoft.com/office/drawing/2014/main" id="{BCF92C03-61AB-7616-CEEE-F3BFD998720A}"/>
                  </a:ext>
                </a:extLst>
              </p:cNvPr>
              <p:cNvSpPr>
                <a:spLocks/>
              </p:cNvSpPr>
              <p:nvPr/>
            </p:nvSpPr>
            <p:spPr bwMode="auto">
              <a:xfrm>
                <a:off x="5411" y="2495"/>
                <a:ext cx="1" cy="3"/>
              </a:xfrm>
              <a:custGeom>
                <a:avLst/>
                <a:gdLst>
                  <a:gd name="T0" fmla="*/ 0 w 1"/>
                  <a:gd name="T1" fmla="*/ 0 h 2"/>
                  <a:gd name="T2" fmla="*/ 0 w 1"/>
                  <a:gd name="T3" fmla="*/ 466609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lnTo>
                      <a:pt x="0" y="2"/>
                    </a:lnTo>
                    <a:lnTo>
                      <a:pt x="0"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2" name="Freeform 197">
                <a:extLst>
                  <a:ext uri="{FF2B5EF4-FFF2-40B4-BE49-F238E27FC236}">
                    <a16:creationId xmlns:a16="http://schemas.microsoft.com/office/drawing/2014/main" id="{0E89616F-D008-4854-FBEA-F7D09E5868B6}"/>
                  </a:ext>
                </a:extLst>
              </p:cNvPr>
              <p:cNvSpPr>
                <a:spLocks/>
              </p:cNvSpPr>
              <p:nvPr/>
            </p:nvSpPr>
            <p:spPr bwMode="auto">
              <a:xfrm>
                <a:off x="5538" y="2743"/>
                <a:ext cx="185" cy="207"/>
              </a:xfrm>
              <a:custGeom>
                <a:avLst/>
                <a:gdLst>
                  <a:gd name="T0" fmla="*/ 45482 w 154"/>
                  <a:gd name="T1" fmla="*/ 10532607 h 144"/>
                  <a:gd name="T2" fmla="*/ 42870 w 154"/>
                  <a:gd name="T3" fmla="*/ 10873168 h 144"/>
                  <a:gd name="T4" fmla="*/ 42870 w 154"/>
                  <a:gd name="T5" fmla="*/ 11073883 h 144"/>
                  <a:gd name="T6" fmla="*/ 40486 w 154"/>
                  <a:gd name="T7" fmla="*/ 10901751 h 144"/>
                  <a:gd name="T8" fmla="*/ 36416 w 154"/>
                  <a:gd name="T9" fmla="*/ 10699138 h 144"/>
                  <a:gd name="T10" fmla="*/ 32081 w 154"/>
                  <a:gd name="T11" fmla="*/ 10372538 h 144"/>
                  <a:gd name="T12" fmla="*/ 29321 w 154"/>
                  <a:gd name="T13" fmla="*/ 9683143 h 144"/>
                  <a:gd name="T14" fmla="*/ 26705 w 154"/>
                  <a:gd name="T15" fmla="*/ 9099081 h 144"/>
                  <a:gd name="T16" fmla="*/ 24666 w 154"/>
                  <a:gd name="T17" fmla="*/ 8105613 h 144"/>
                  <a:gd name="T18" fmla="*/ 21995 w 154"/>
                  <a:gd name="T19" fmla="*/ 7383074 h 144"/>
                  <a:gd name="T20" fmla="*/ 16180 w 154"/>
                  <a:gd name="T21" fmla="*/ 6839510 h 144"/>
                  <a:gd name="T22" fmla="*/ 16180 w 154"/>
                  <a:gd name="T23" fmla="*/ 7163632 h 144"/>
                  <a:gd name="T24" fmla="*/ 13271 w 154"/>
                  <a:gd name="T25" fmla="*/ 6839510 h 144"/>
                  <a:gd name="T26" fmla="*/ 13469 w 154"/>
                  <a:gd name="T27" fmla="*/ 7442880 h 144"/>
                  <a:gd name="T28" fmla="*/ 11214 w 154"/>
                  <a:gd name="T29" fmla="*/ 7442880 h 144"/>
                  <a:gd name="T30" fmla="*/ 12128 w 154"/>
                  <a:gd name="T31" fmla="*/ 7852516 h 144"/>
                  <a:gd name="T32" fmla="*/ 5824 w 154"/>
                  <a:gd name="T33" fmla="*/ 7703574 h 144"/>
                  <a:gd name="T34" fmla="*/ 11212 w 154"/>
                  <a:gd name="T35" fmla="*/ 8441770 h 144"/>
                  <a:gd name="T36" fmla="*/ 8749 w 154"/>
                  <a:gd name="T37" fmla="*/ 9099081 h 144"/>
                  <a:gd name="T38" fmla="*/ 4036 w 154"/>
                  <a:gd name="T39" fmla="*/ 9099081 h 144"/>
                  <a:gd name="T40" fmla="*/ 0 w 154"/>
                  <a:gd name="T41" fmla="*/ 9099081 h 144"/>
                  <a:gd name="T42" fmla="*/ 0 w 154"/>
                  <a:gd name="T43" fmla="*/ 7911074 h 144"/>
                  <a:gd name="T44" fmla="*/ 1 w 154"/>
                  <a:gd name="T45" fmla="*/ 6839510 h 144"/>
                  <a:gd name="T46" fmla="*/ 931 w 154"/>
                  <a:gd name="T47" fmla="*/ 5638688 h 144"/>
                  <a:gd name="T48" fmla="*/ 1118 w 154"/>
                  <a:gd name="T49" fmla="*/ 4434742 h 144"/>
                  <a:gd name="T50" fmla="*/ 1613 w 154"/>
                  <a:gd name="T51" fmla="*/ 3380891 h 144"/>
                  <a:gd name="T52" fmla="*/ 1613 w 154"/>
                  <a:gd name="T53" fmla="*/ 2228497 h 144"/>
                  <a:gd name="T54" fmla="*/ 1613 w 154"/>
                  <a:gd name="T55" fmla="*/ 1193684 h 144"/>
                  <a:gd name="T56" fmla="*/ 1938 w 154"/>
                  <a:gd name="T57" fmla="*/ 0 h 144"/>
                  <a:gd name="T58" fmla="*/ 6363 w 154"/>
                  <a:gd name="T59" fmla="*/ 521892 h 144"/>
                  <a:gd name="T60" fmla="*/ 10510 w 154"/>
                  <a:gd name="T61" fmla="*/ 999760 h 144"/>
                  <a:gd name="T62" fmla="*/ 15168 w 154"/>
                  <a:gd name="T63" fmla="*/ 1550259 h 144"/>
                  <a:gd name="T64" fmla="*/ 19441 w 154"/>
                  <a:gd name="T65" fmla="*/ 2130917 h 144"/>
                  <a:gd name="T66" fmla="*/ 23908 w 154"/>
                  <a:gd name="T67" fmla="*/ 3466712 h 144"/>
                  <a:gd name="T68" fmla="*/ 23908 w 154"/>
                  <a:gd name="T69" fmla="*/ 4017438 h 144"/>
                  <a:gd name="T70" fmla="*/ 28055 w 154"/>
                  <a:gd name="T71" fmla="*/ 4434742 h 144"/>
                  <a:gd name="T72" fmla="*/ 32081 w 154"/>
                  <a:gd name="T73" fmla="*/ 4902708 h 144"/>
                  <a:gd name="T74" fmla="*/ 32305 w 154"/>
                  <a:gd name="T75" fmla="*/ 5638688 h 144"/>
                  <a:gd name="T76" fmla="*/ 28721 w 154"/>
                  <a:gd name="T77" fmla="*/ 5849115 h 144"/>
                  <a:gd name="T78" fmla="*/ 30490 w 154"/>
                  <a:gd name="T79" fmla="*/ 7047643 h 144"/>
                  <a:gd name="T80" fmla="*/ 33702 w 154"/>
                  <a:gd name="T81" fmla="*/ 7852516 h 144"/>
                  <a:gd name="T82" fmla="*/ 35223 w 154"/>
                  <a:gd name="T83" fmla="*/ 8926627 h 144"/>
                  <a:gd name="T84" fmla="*/ 38539 w 154"/>
                  <a:gd name="T85" fmla="*/ 9099081 h 144"/>
                  <a:gd name="T86" fmla="*/ 38539 w 154"/>
                  <a:gd name="T87" fmla="*/ 9627103 h 144"/>
                  <a:gd name="T88" fmla="*/ 40928 w 154"/>
                  <a:gd name="T89" fmla="*/ 9879344 h 144"/>
                  <a:gd name="T90" fmla="*/ 40486 w 154"/>
                  <a:gd name="T91" fmla="*/ 10130981 h 144"/>
                  <a:gd name="T92" fmla="*/ 45482 w 154"/>
                  <a:gd name="T93" fmla="*/ 10532607 h 1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4"/>
                  <a:gd name="T142" fmla="*/ 0 h 144"/>
                  <a:gd name="T143" fmla="*/ 154 w 154"/>
                  <a:gd name="T144" fmla="*/ 144 h 1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4" h="144">
                    <a:moveTo>
                      <a:pt x="154" y="137"/>
                    </a:moveTo>
                    <a:lnTo>
                      <a:pt x="146" y="141"/>
                    </a:lnTo>
                    <a:lnTo>
                      <a:pt x="146" y="144"/>
                    </a:lnTo>
                    <a:lnTo>
                      <a:pt x="138" y="142"/>
                    </a:lnTo>
                    <a:lnTo>
                      <a:pt x="123" y="139"/>
                    </a:lnTo>
                    <a:lnTo>
                      <a:pt x="109" y="135"/>
                    </a:lnTo>
                    <a:lnTo>
                      <a:pt x="100" y="126"/>
                    </a:lnTo>
                    <a:lnTo>
                      <a:pt x="91" y="118"/>
                    </a:lnTo>
                    <a:lnTo>
                      <a:pt x="84" y="106"/>
                    </a:lnTo>
                    <a:lnTo>
                      <a:pt x="75" y="96"/>
                    </a:lnTo>
                    <a:lnTo>
                      <a:pt x="55" y="89"/>
                    </a:lnTo>
                    <a:lnTo>
                      <a:pt x="55" y="93"/>
                    </a:lnTo>
                    <a:lnTo>
                      <a:pt x="45" y="89"/>
                    </a:lnTo>
                    <a:lnTo>
                      <a:pt x="46" y="97"/>
                    </a:lnTo>
                    <a:lnTo>
                      <a:pt x="39" y="97"/>
                    </a:lnTo>
                    <a:lnTo>
                      <a:pt x="42" y="102"/>
                    </a:lnTo>
                    <a:lnTo>
                      <a:pt x="20" y="100"/>
                    </a:lnTo>
                    <a:lnTo>
                      <a:pt x="38" y="110"/>
                    </a:lnTo>
                    <a:lnTo>
                      <a:pt x="30" y="118"/>
                    </a:lnTo>
                    <a:lnTo>
                      <a:pt x="14" y="118"/>
                    </a:lnTo>
                    <a:lnTo>
                      <a:pt x="0" y="118"/>
                    </a:lnTo>
                    <a:lnTo>
                      <a:pt x="0" y="103"/>
                    </a:lnTo>
                    <a:lnTo>
                      <a:pt x="1" y="89"/>
                    </a:lnTo>
                    <a:lnTo>
                      <a:pt x="3" y="74"/>
                    </a:lnTo>
                    <a:lnTo>
                      <a:pt x="4" y="58"/>
                    </a:lnTo>
                    <a:lnTo>
                      <a:pt x="6" y="44"/>
                    </a:lnTo>
                    <a:lnTo>
                      <a:pt x="6" y="29"/>
                    </a:lnTo>
                    <a:lnTo>
                      <a:pt x="6" y="15"/>
                    </a:lnTo>
                    <a:lnTo>
                      <a:pt x="7" y="0"/>
                    </a:lnTo>
                    <a:lnTo>
                      <a:pt x="22" y="7"/>
                    </a:lnTo>
                    <a:lnTo>
                      <a:pt x="36" y="13"/>
                    </a:lnTo>
                    <a:lnTo>
                      <a:pt x="52" y="20"/>
                    </a:lnTo>
                    <a:lnTo>
                      <a:pt x="67" y="28"/>
                    </a:lnTo>
                    <a:lnTo>
                      <a:pt x="81" y="45"/>
                    </a:lnTo>
                    <a:lnTo>
                      <a:pt x="81" y="52"/>
                    </a:lnTo>
                    <a:lnTo>
                      <a:pt x="96" y="58"/>
                    </a:lnTo>
                    <a:lnTo>
                      <a:pt x="109" y="64"/>
                    </a:lnTo>
                    <a:lnTo>
                      <a:pt x="110" y="74"/>
                    </a:lnTo>
                    <a:lnTo>
                      <a:pt x="97" y="76"/>
                    </a:lnTo>
                    <a:lnTo>
                      <a:pt x="104" y="92"/>
                    </a:lnTo>
                    <a:lnTo>
                      <a:pt x="115" y="102"/>
                    </a:lnTo>
                    <a:lnTo>
                      <a:pt x="120" y="116"/>
                    </a:lnTo>
                    <a:lnTo>
                      <a:pt x="131" y="118"/>
                    </a:lnTo>
                    <a:lnTo>
                      <a:pt x="131" y="125"/>
                    </a:lnTo>
                    <a:lnTo>
                      <a:pt x="139" y="129"/>
                    </a:lnTo>
                    <a:lnTo>
                      <a:pt x="138" y="132"/>
                    </a:lnTo>
                    <a:lnTo>
                      <a:pt x="154" y="137"/>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3" name="Freeform 198">
                <a:extLst>
                  <a:ext uri="{FF2B5EF4-FFF2-40B4-BE49-F238E27FC236}">
                    <a16:creationId xmlns:a16="http://schemas.microsoft.com/office/drawing/2014/main" id="{5A09CAC5-889B-9BA8-AEB4-48144656DBA5}"/>
                  </a:ext>
                </a:extLst>
              </p:cNvPr>
              <p:cNvSpPr>
                <a:spLocks/>
              </p:cNvSpPr>
              <p:nvPr/>
            </p:nvSpPr>
            <p:spPr bwMode="auto">
              <a:xfrm>
                <a:off x="5681" y="2786"/>
                <a:ext cx="79" cy="53"/>
              </a:xfrm>
              <a:custGeom>
                <a:avLst/>
                <a:gdLst>
                  <a:gd name="T0" fmla="*/ 17465 w 66"/>
                  <a:gd name="T1" fmla="*/ 152028 h 37"/>
                  <a:gd name="T2" fmla="*/ 15889 w 66"/>
                  <a:gd name="T3" fmla="*/ 979486 h 37"/>
                  <a:gd name="T4" fmla="*/ 15123 w 66"/>
                  <a:gd name="T5" fmla="*/ 1104302 h 37"/>
                  <a:gd name="T6" fmla="*/ 15782 w 66"/>
                  <a:gd name="T7" fmla="*/ 1556192 h 37"/>
                  <a:gd name="T8" fmla="*/ 12414 w 66"/>
                  <a:gd name="T9" fmla="*/ 1881232 h 37"/>
                  <a:gd name="T10" fmla="*/ 6684 w 66"/>
                  <a:gd name="T11" fmla="*/ 2545863 h 37"/>
                  <a:gd name="T12" fmla="*/ 3707 w 66"/>
                  <a:gd name="T13" fmla="*/ 2229140 h 37"/>
                  <a:gd name="T14" fmla="*/ 1274 w 66"/>
                  <a:gd name="T15" fmla="*/ 1920272 h 37"/>
                  <a:gd name="T16" fmla="*/ 0 w 66"/>
                  <a:gd name="T17" fmla="*/ 1556192 h 37"/>
                  <a:gd name="T18" fmla="*/ 5584 w 66"/>
                  <a:gd name="T19" fmla="*/ 1637206 h 37"/>
                  <a:gd name="T20" fmla="*/ 7609 w 66"/>
                  <a:gd name="T21" fmla="*/ 979486 h 37"/>
                  <a:gd name="T22" fmla="*/ 7609 w 66"/>
                  <a:gd name="T23" fmla="*/ 1313313 h 37"/>
                  <a:gd name="T24" fmla="*/ 9577 w 66"/>
                  <a:gd name="T25" fmla="*/ 1637206 h 37"/>
                  <a:gd name="T26" fmla="*/ 13274 w 66"/>
                  <a:gd name="T27" fmla="*/ 797912 h 37"/>
                  <a:gd name="T28" fmla="*/ 13274 w 66"/>
                  <a:gd name="T29" fmla="*/ 0 h 37"/>
                  <a:gd name="T30" fmla="*/ 15782 w 66"/>
                  <a:gd name="T31" fmla="*/ 0 h 37"/>
                  <a:gd name="T32" fmla="*/ 17465 w 66"/>
                  <a:gd name="T33" fmla="*/ 152028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6"/>
                  <a:gd name="T52" fmla="*/ 0 h 37"/>
                  <a:gd name="T53" fmla="*/ 66 w 66"/>
                  <a:gd name="T54" fmla="*/ 37 h 3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6" h="37">
                    <a:moveTo>
                      <a:pt x="66" y="2"/>
                    </a:moveTo>
                    <a:lnTo>
                      <a:pt x="61" y="14"/>
                    </a:lnTo>
                    <a:lnTo>
                      <a:pt x="58" y="16"/>
                    </a:lnTo>
                    <a:lnTo>
                      <a:pt x="60" y="22"/>
                    </a:lnTo>
                    <a:lnTo>
                      <a:pt x="48" y="27"/>
                    </a:lnTo>
                    <a:lnTo>
                      <a:pt x="26" y="37"/>
                    </a:lnTo>
                    <a:lnTo>
                      <a:pt x="13" y="32"/>
                    </a:lnTo>
                    <a:lnTo>
                      <a:pt x="5" y="28"/>
                    </a:lnTo>
                    <a:lnTo>
                      <a:pt x="0" y="22"/>
                    </a:lnTo>
                    <a:lnTo>
                      <a:pt x="22" y="24"/>
                    </a:lnTo>
                    <a:lnTo>
                      <a:pt x="28" y="14"/>
                    </a:lnTo>
                    <a:lnTo>
                      <a:pt x="28" y="19"/>
                    </a:lnTo>
                    <a:lnTo>
                      <a:pt x="37" y="24"/>
                    </a:lnTo>
                    <a:lnTo>
                      <a:pt x="51" y="12"/>
                    </a:lnTo>
                    <a:lnTo>
                      <a:pt x="51" y="0"/>
                    </a:lnTo>
                    <a:lnTo>
                      <a:pt x="60" y="0"/>
                    </a:lnTo>
                    <a:lnTo>
                      <a:pt x="66" y="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4" name="Freeform 199">
                <a:extLst>
                  <a:ext uri="{FF2B5EF4-FFF2-40B4-BE49-F238E27FC236}">
                    <a16:creationId xmlns:a16="http://schemas.microsoft.com/office/drawing/2014/main" id="{74DF2559-4D8F-3AA1-AD11-4188F610C27F}"/>
                  </a:ext>
                </a:extLst>
              </p:cNvPr>
              <p:cNvSpPr>
                <a:spLocks/>
              </p:cNvSpPr>
              <p:nvPr/>
            </p:nvSpPr>
            <p:spPr bwMode="auto">
              <a:xfrm>
                <a:off x="5723" y="2929"/>
                <a:ext cx="7" cy="8"/>
              </a:xfrm>
              <a:custGeom>
                <a:avLst/>
                <a:gdLst>
                  <a:gd name="T0" fmla="*/ 7 w 7"/>
                  <a:gd name="T1" fmla="*/ 20671 h 6"/>
                  <a:gd name="T2" fmla="*/ 1 w 7"/>
                  <a:gd name="T3" fmla="*/ 47519 h 6"/>
                  <a:gd name="T4" fmla="*/ 0 w 7"/>
                  <a:gd name="T5" fmla="*/ 0 h 6"/>
                  <a:gd name="T6" fmla="*/ 7 w 7"/>
                  <a:gd name="T7" fmla="*/ 20671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7" y="3"/>
                    </a:moveTo>
                    <a:lnTo>
                      <a:pt x="1" y="6"/>
                    </a:lnTo>
                    <a:lnTo>
                      <a:pt x="0" y="0"/>
                    </a:lnTo>
                    <a:lnTo>
                      <a:pt x="7" y="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5" name="Freeform 200">
                <a:extLst>
                  <a:ext uri="{FF2B5EF4-FFF2-40B4-BE49-F238E27FC236}">
                    <a16:creationId xmlns:a16="http://schemas.microsoft.com/office/drawing/2014/main" id="{36C2FD8A-50EC-50D7-8204-5AF0E42CD652}"/>
                  </a:ext>
                </a:extLst>
              </p:cNvPr>
              <p:cNvSpPr>
                <a:spLocks/>
              </p:cNvSpPr>
              <p:nvPr/>
            </p:nvSpPr>
            <p:spPr bwMode="auto">
              <a:xfrm>
                <a:off x="5608" y="2283"/>
                <a:ext cx="2" cy="6"/>
              </a:xfrm>
              <a:custGeom>
                <a:avLst/>
                <a:gdLst>
                  <a:gd name="T0" fmla="*/ 2 w 2"/>
                  <a:gd name="T1" fmla="*/ 0 h 4"/>
                  <a:gd name="T2" fmla="*/ 0 w 2"/>
                  <a:gd name="T3" fmla="*/ 311073 h 4"/>
                  <a:gd name="T4" fmla="*/ 0 w 2"/>
                  <a:gd name="T5" fmla="*/ 1049869 h 4"/>
                  <a:gd name="T6" fmla="*/ 0 w 2"/>
                  <a:gd name="T7" fmla="*/ 699913 h 4"/>
                  <a:gd name="T8" fmla="*/ 2 w 2"/>
                  <a:gd name="T9" fmla="*/ 699913 h 4"/>
                  <a:gd name="T10" fmla="*/ 0 w 2"/>
                  <a:gd name="T11" fmla="*/ 311073 h 4"/>
                  <a:gd name="T12" fmla="*/ 2 w 2"/>
                  <a:gd name="T13" fmla="*/ 0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2" y="0"/>
                    </a:moveTo>
                    <a:lnTo>
                      <a:pt x="0" y="1"/>
                    </a:lnTo>
                    <a:lnTo>
                      <a:pt x="0" y="4"/>
                    </a:lnTo>
                    <a:lnTo>
                      <a:pt x="0" y="3"/>
                    </a:lnTo>
                    <a:lnTo>
                      <a:pt x="2" y="3"/>
                    </a:lnTo>
                    <a:lnTo>
                      <a:pt x="0" y="1"/>
                    </a:lnTo>
                    <a:lnTo>
                      <a:pt x="2"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6" name="Freeform 201">
                <a:extLst>
                  <a:ext uri="{FF2B5EF4-FFF2-40B4-BE49-F238E27FC236}">
                    <a16:creationId xmlns:a16="http://schemas.microsoft.com/office/drawing/2014/main" id="{774F78C5-8430-59A9-1A00-F596CE7BD010}"/>
                  </a:ext>
                </a:extLst>
              </p:cNvPr>
              <p:cNvSpPr>
                <a:spLocks/>
              </p:cNvSpPr>
              <p:nvPr/>
            </p:nvSpPr>
            <p:spPr bwMode="auto">
              <a:xfrm>
                <a:off x="5607" y="2289"/>
                <a:ext cx="1" cy="3"/>
              </a:xfrm>
              <a:custGeom>
                <a:avLst/>
                <a:gdLst>
                  <a:gd name="T0" fmla="*/ 0 w 1"/>
                  <a:gd name="T1" fmla="*/ 0 h 3"/>
                  <a:gd name="T2" fmla="*/ 0 w 1"/>
                  <a:gd name="T3" fmla="*/ 2 h 3"/>
                  <a:gd name="T4" fmla="*/ 0 w 1"/>
                  <a:gd name="T5" fmla="*/ 3 h 3"/>
                  <a:gd name="T6" fmla="*/ 1 w 1"/>
                  <a:gd name="T7" fmla="*/ 2 h 3"/>
                  <a:gd name="T8" fmla="*/ 0 w 1"/>
                  <a:gd name="T9" fmla="*/ 0 h 3"/>
                  <a:gd name="T10" fmla="*/ 0 60000 65536"/>
                  <a:gd name="T11" fmla="*/ 0 60000 65536"/>
                  <a:gd name="T12" fmla="*/ 0 60000 65536"/>
                  <a:gd name="T13" fmla="*/ 0 60000 65536"/>
                  <a:gd name="T14" fmla="*/ 0 60000 65536"/>
                  <a:gd name="T15" fmla="*/ 0 w 1"/>
                  <a:gd name="T16" fmla="*/ 0 h 3"/>
                  <a:gd name="T17" fmla="*/ 1 w 1"/>
                  <a:gd name="T18" fmla="*/ 3 h 3"/>
                </a:gdLst>
                <a:ahLst/>
                <a:cxnLst>
                  <a:cxn ang="T10">
                    <a:pos x="T0" y="T1"/>
                  </a:cxn>
                  <a:cxn ang="T11">
                    <a:pos x="T2" y="T3"/>
                  </a:cxn>
                  <a:cxn ang="T12">
                    <a:pos x="T4" y="T5"/>
                  </a:cxn>
                  <a:cxn ang="T13">
                    <a:pos x="T6" y="T7"/>
                  </a:cxn>
                  <a:cxn ang="T14">
                    <a:pos x="T8" y="T9"/>
                  </a:cxn>
                </a:cxnLst>
                <a:rect l="T15" t="T16" r="T17" b="T18"/>
                <a:pathLst>
                  <a:path w="1" h="3">
                    <a:moveTo>
                      <a:pt x="0" y="0"/>
                    </a:moveTo>
                    <a:lnTo>
                      <a:pt x="0" y="2"/>
                    </a:lnTo>
                    <a:lnTo>
                      <a:pt x="0" y="3"/>
                    </a:lnTo>
                    <a:lnTo>
                      <a:pt x="1" y="2"/>
                    </a:lnTo>
                    <a:lnTo>
                      <a:pt x="0"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7" name="Freeform 202">
                <a:extLst>
                  <a:ext uri="{FF2B5EF4-FFF2-40B4-BE49-F238E27FC236}">
                    <a16:creationId xmlns:a16="http://schemas.microsoft.com/office/drawing/2014/main" id="{CF220055-6918-6541-690D-E4DF36DA616A}"/>
                  </a:ext>
                </a:extLst>
              </p:cNvPr>
              <p:cNvSpPr>
                <a:spLocks/>
              </p:cNvSpPr>
              <p:nvPr/>
            </p:nvSpPr>
            <p:spPr bwMode="auto">
              <a:xfrm>
                <a:off x="5600" y="2311"/>
                <a:ext cx="3" cy="4"/>
              </a:xfrm>
              <a:custGeom>
                <a:avLst/>
                <a:gdLst>
                  <a:gd name="T0" fmla="*/ 2 w 3"/>
                  <a:gd name="T1" fmla="*/ 2147483647 h 2"/>
                  <a:gd name="T2" fmla="*/ 0 w 3"/>
                  <a:gd name="T3" fmla="*/ 2147483647 h 2"/>
                  <a:gd name="T4" fmla="*/ 3 w 3"/>
                  <a:gd name="T5" fmla="*/ 0 h 2"/>
                  <a:gd name="T6" fmla="*/ 2 w 3"/>
                  <a:gd name="T7" fmla="*/ 2147483647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2" y="2"/>
                    </a:moveTo>
                    <a:lnTo>
                      <a:pt x="0" y="2"/>
                    </a:lnTo>
                    <a:lnTo>
                      <a:pt x="3" y="0"/>
                    </a:lnTo>
                    <a:lnTo>
                      <a:pt x="2" y="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8" name="Freeform 203">
                <a:extLst>
                  <a:ext uri="{FF2B5EF4-FFF2-40B4-BE49-F238E27FC236}">
                    <a16:creationId xmlns:a16="http://schemas.microsoft.com/office/drawing/2014/main" id="{A0EF8B0C-ABC1-9381-2831-B5D1F4645BAB}"/>
                  </a:ext>
                </a:extLst>
              </p:cNvPr>
              <p:cNvSpPr>
                <a:spLocks/>
              </p:cNvSpPr>
              <p:nvPr/>
            </p:nvSpPr>
            <p:spPr bwMode="auto">
              <a:xfrm>
                <a:off x="5596" y="2209"/>
                <a:ext cx="2" cy="4"/>
              </a:xfrm>
              <a:custGeom>
                <a:avLst/>
                <a:gdLst>
                  <a:gd name="T0" fmla="*/ 2 w 2"/>
                  <a:gd name="T1" fmla="*/ 0 h 2"/>
                  <a:gd name="T2" fmla="*/ 0 w 2"/>
                  <a:gd name="T3" fmla="*/ 2147483647 h 2"/>
                  <a:gd name="T4" fmla="*/ 0 w 2"/>
                  <a:gd name="T5" fmla="*/ 0 h 2"/>
                  <a:gd name="T6" fmla="*/ 2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2"/>
                    </a:lnTo>
                    <a:lnTo>
                      <a:pt x="0" y="0"/>
                    </a:lnTo>
                    <a:lnTo>
                      <a:pt x="2"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89" name="Rectangle 204">
                <a:extLst>
                  <a:ext uri="{FF2B5EF4-FFF2-40B4-BE49-F238E27FC236}">
                    <a16:creationId xmlns:a16="http://schemas.microsoft.com/office/drawing/2014/main" id="{AD892511-46C8-6116-8F33-4074809916FC}"/>
                  </a:ext>
                </a:extLst>
              </p:cNvPr>
              <p:cNvSpPr>
                <a:spLocks noChangeArrowheads="1"/>
              </p:cNvSpPr>
              <p:nvPr/>
            </p:nvSpPr>
            <p:spPr bwMode="auto">
              <a:xfrm>
                <a:off x="5591" y="2192"/>
                <a:ext cx="1" cy="3"/>
              </a:xfrm>
              <a:prstGeom prst="rect">
                <a:avLst/>
              </a:prstGeom>
              <a:grpFill/>
              <a:ln w="1651" algn="ctr">
                <a:solidFill>
                  <a:schemeClr val="bg1"/>
                </a:solidFill>
                <a:miter lim="800000"/>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0" name="Freeform 205">
                <a:extLst>
                  <a:ext uri="{FF2B5EF4-FFF2-40B4-BE49-F238E27FC236}">
                    <a16:creationId xmlns:a16="http://schemas.microsoft.com/office/drawing/2014/main" id="{55083C12-ED43-B067-10D3-C3DBEC68D296}"/>
                  </a:ext>
                </a:extLst>
              </p:cNvPr>
              <p:cNvSpPr>
                <a:spLocks/>
              </p:cNvSpPr>
              <p:nvPr/>
            </p:nvSpPr>
            <p:spPr bwMode="auto">
              <a:xfrm>
                <a:off x="5602" y="2256"/>
                <a:ext cx="1" cy="1"/>
              </a:xfrm>
              <a:custGeom>
                <a:avLst/>
                <a:gdLst>
                  <a:gd name="T0" fmla="*/ 1 w 1"/>
                  <a:gd name="T1" fmla="*/ 0 h 1"/>
                  <a:gd name="T2" fmla="*/ 0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lnTo>
                      <a:pt x="0" y="0"/>
                    </a:lnTo>
                    <a:lnTo>
                      <a:pt x="1"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1" name="Freeform 206">
                <a:extLst>
                  <a:ext uri="{FF2B5EF4-FFF2-40B4-BE49-F238E27FC236}">
                    <a16:creationId xmlns:a16="http://schemas.microsoft.com/office/drawing/2014/main" id="{C8F0B7CF-F4D0-4C63-D633-3C8138F63327}"/>
                  </a:ext>
                </a:extLst>
              </p:cNvPr>
              <p:cNvSpPr>
                <a:spLocks/>
              </p:cNvSpPr>
              <p:nvPr/>
            </p:nvSpPr>
            <p:spPr bwMode="auto">
              <a:xfrm>
                <a:off x="4495" y="1993"/>
                <a:ext cx="96" cy="146"/>
              </a:xfrm>
              <a:custGeom>
                <a:avLst/>
                <a:gdLst>
                  <a:gd name="T0" fmla="*/ 8239 w 80"/>
                  <a:gd name="T1" fmla="*/ 5644486 h 102"/>
                  <a:gd name="T2" fmla="*/ 8023 w 80"/>
                  <a:gd name="T3" fmla="*/ 5794342 h 102"/>
                  <a:gd name="T4" fmla="*/ 7091 w 80"/>
                  <a:gd name="T5" fmla="*/ 5478006 h 102"/>
                  <a:gd name="T6" fmla="*/ 7091 w 80"/>
                  <a:gd name="T7" fmla="*/ 5583157 h 102"/>
                  <a:gd name="T8" fmla="*/ 5722 w 80"/>
                  <a:gd name="T9" fmla="*/ 4702276 h 102"/>
                  <a:gd name="T10" fmla="*/ 4643 w 80"/>
                  <a:gd name="T11" fmla="*/ 3719273 h 102"/>
                  <a:gd name="T12" fmla="*/ 3973 w 80"/>
                  <a:gd name="T13" fmla="*/ 3035967 h 102"/>
                  <a:gd name="T14" fmla="*/ 924 w 80"/>
                  <a:gd name="T15" fmla="*/ 2357375 h 102"/>
                  <a:gd name="T16" fmla="*/ 1597 w 80"/>
                  <a:gd name="T17" fmla="*/ 1871002 h 102"/>
                  <a:gd name="T18" fmla="*/ 3869 w 80"/>
                  <a:gd name="T19" fmla="*/ 1709195 h 102"/>
                  <a:gd name="T20" fmla="*/ 0 w 80"/>
                  <a:gd name="T21" fmla="*/ 903498 h 102"/>
                  <a:gd name="T22" fmla="*/ 1 w 80"/>
                  <a:gd name="T23" fmla="*/ 0 h 102"/>
                  <a:gd name="T24" fmla="*/ 3311 w 80"/>
                  <a:gd name="T25" fmla="*/ 308084 h 102"/>
                  <a:gd name="T26" fmla="*/ 4643 w 80"/>
                  <a:gd name="T27" fmla="*/ 673734 h 102"/>
                  <a:gd name="T28" fmla="*/ 5722 w 80"/>
                  <a:gd name="T29" fmla="*/ 470691 h 102"/>
                  <a:gd name="T30" fmla="*/ 7310 w 80"/>
                  <a:gd name="T31" fmla="*/ 1447693 h 102"/>
                  <a:gd name="T32" fmla="*/ 12631 w 80"/>
                  <a:gd name="T33" fmla="*/ 1535143 h 102"/>
                  <a:gd name="T34" fmla="*/ 17084 w 80"/>
                  <a:gd name="T35" fmla="*/ 1709195 h 102"/>
                  <a:gd name="T36" fmla="*/ 19512 w 80"/>
                  <a:gd name="T37" fmla="*/ 2045054 h 102"/>
                  <a:gd name="T38" fmla="*/ 18662 w 80"/>
                  <a:gd name="T39" fmla="*/ 2524847 h 102"/>
                  <a:gd name="T40" fmla="*/ 15552 w 80"/>
                  <a:gd name="T41" fmla="*/ 3092916 h 102"/>
                  <a:gd name="T42" fmla="*/ 16260 w 80"/>
                  <a:gd name="T43" fmla="*/ 4048102 h 102"/>
                  <a:gd name="T44" fmla="*/ 17084 w 80"/>
                  <a:gd name="T45" fmla="*/ 4345599 h 102"/>
                  <a:gd name="T46" fmla="*/ 19008 w 80"/>
                  <a:gd name="T47" fmla="*/ 3425541 h 102"/>
                  <a:gd name="T48" fmla="*/ 20770 w 80"/>
                  <a:gd name="T49" fmla="*/ 4502016 h 102"/>
                  <a:gd name="T50" fmla="*/ 22394 w 80"/>
                  <a:gd name="T51" fmla="*/ 5478006 h 102"/>
                  <a:gd name="T52" fmla="*/ 22810 w 80"/>
                  <a:gd name="T53" fmla="*/ 6239531 h 102"/>
                  <a:gd name="T54" fmla="*/ 21174 w 80"/>
                  <a:gd name="T55" fmla="*/ 6444063 h 102"/>
                  <a:gd name="T56" fmla="*/ 21826 w 80"/>
                  <a:gd name="T57" fmla="*/ 6864503 h 102"/>
                  <a:gd name="T58" fmla="*/ 19512 w 80"/>
                  <a:gd name="T59" fmla="*/ 5644486 h 102"/>
                  <a:gd name="T60" fmla="*/ 17084 w 80"/>
                  <a:gd name="T61" fmla="*/ 4574343 h 102"/>
                  <a:gd name="T62" fmla="*/ 13865 w 80"/>
                  <a:gd name="T63" fmla="*/ 4359125 h 102"/>
                  <a:gd name="T64" fmla="*/ 12631 w 80"/>
                  <a:gd name="T65" fmla="*/ 3719273 h 102"/>
                  <a:gd name="T66" fmla="*/ 8239 w 80"/>
                  <a:gd name="T67" fmla="*/ 3092916 h 102"/>
                  <a:gd name="T68" fmla="*/ 6686 w 80"/>
                  <a:gd name="T69" fmla="*/ 3092916 h 102"/>
                  <a:gd name="T70" fmla="*/ 11554 w 80"/>
                  <a:gd name="T71" fmla="*/ 3833359 h 102"/>
                  <a:gd name="T72" fmla="*/ 12960 w 80"/>
                  <a:gd name="T73" fmla="*/ 4502016 h 102"/>
                  <a:gd name="T74" fmla="*/ 13046 w 80"/>
                  <a:gd name="T75" fmla="*/ 4795751 h 102"/>
                  <a:gd name="T76" fmla="*/ 11864 w 80"/>
                  <a:gd name="T77" fmla="*/ 5794342 h 102"/>
                  <a:gd name="T78" fmla="*/ 11000 w 80"/>
                  <a:gd name="T79" fmla="*/ 5428629 h 102"/>
                  <a:gd name="T80" fmla="*/ 10211 w 80"/>
                  <a:gd name="T81" fmla="*/ 5478006 h 102"/>
                  <a:gd name="T82" fmla="*/ 9625 w 80"/>
                  <a:gd name="T83" fmla="*/ 5644486 h 102"/>
                  <a:gd name="T84" fmla="*/ 8239 w 80"/>
                  <a:gd name="T85" fmla="*/ 5644486 h 10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0"/>
                  <a:gd name="T130" fmla="*/ 0 h 102"/>
                  <a:gd name="T131" fmla="*/ 80 w 80"/>
                  <a:gd name="T132" fmla="*/ 102 h 10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0" h="102">
                    <a:moveTo>
                      <a:pt x="29" y="84"/>
                    </a:moveTo>
                    <a:lnTo>
                      <a:pt x="28" y="86"/>
                    </a:lnTo>
                    <a:lnTo>
                      <a:pt x="25" y="81"/>
                    </a:lnTo>
                    <a:lnTo>
                      <a:pt x="25" y="83"/>
                    </a:lnTo>
                    <a:lnTo>
                      <a:pt x="20" y="70"/>
                    </a:lnTo>
                    <a:lnTo>
                      <a:pt x="16" y="55"/>
                    </a:lnTo>
                    <a:lnTo>
                      <a:pt x="14" y="45"/>
                    </a:lnTo>
                    <a:lnTo>
                      <a:pt x="3" y="35"/>
                    </a:lnTo>
                    <a:lnTo>
                      <a:pt x="6" y="28"/>
                    </a:lnTo>
                    <a:lnTo>
                      <a:pt x="13" y="25"/>
                    </a:lnTo>
                    <a:lnTo>
                      <a:pt x="0" y="13"/>
                    </a:lnTo>
                    <a:lnTo>
                      <a:pt x="1" y="0"/>
                    </a:lnTo>
                    <a:lnTo>
                      <a:pt x="12" y="4"/>
                    </a:lnTo>
                    <a:lnTo>
                      <a:pt x="16" y="10"/>
                    </a:lnTo>
                    <a:lnTo>
                      <a:pt x="20" y="7"/>
                    </a:lnTo>
                    <a:lnTo>
                      <a:pt x="26" y="22"/>
                    </a:lnTo>
                    <a:lnTo>
                      <a:pt x="44" y="23"/>
                    </a:lnTo>
                    <a:lnTo>
                      <a:pt x="60" y="25"/>
                    </a:lnTo>
                    <a:lnTo>
                      <a:pt x="68" y="30"/>
                    </a:lnTo>
                    <a:lnTo>
                      <a:pt x="65" y="38"/>
                    </a:lnTo>
                    <a:lnTo>
                      <a:pt x="54" y="46"/>
                    </a:lnTo>
                    <a:lnTo>
                      <a:pt x="57" y="60"/>
                    </a:lnTo>
                    <a:lnTo>
                      <a:pt x="60" y="64"/>
                    </a:lnTo>
                    <a:lnTo>
                      <a:pt x="67" y="51"/>
                    </a:lnTo>
                    <a:lnTo>
                      <a:pt x="73" y="67"/>
                    </a:lnTo>
                    <a:lnTo>
                      <a:pt x="78" y="81"/>
                    </a:lnTo>
                    <a:lnTo>
                      <a:pt x="80" y="93"/>
                    </a:lnTo>
                    <a:lnTo>
                      <a:pt x="74" y="96"/>
                    </a:lnTo>
                    <a:lnTo>
                      <a:pt x="77" y="102"/>
                    </a:lnTo>
                    <a:lnTo>
                      <a:pt x="68" y="84"/>
                    </a:lnTo>
                    <a:lnTo>
                      <a:pt x="60" y="68"/>
                    </a:lnTo>
                    <a:lnTo>
                      <a:pt x="49" y="65"/>
                    </a:lnTo>
                    <a:lnTo>
                      <a:pt x="44" y="55"/>
                    </a:lnTo>
                    <a:lnTo>
                      <a:pt x="29" y="46"/>
                    </a:lnTo>
                    <a:lnTo>
                      <a:pt x="23" y="46"/>
                    </a:lnTo>
                    <a:lnTo>
                      <a:pt x="41" y="57"/>
                    </a:lnTo>
                    <a:lnTo>
                      <a:pt x="45" y="67"/>
                    </a:lnTo>
                    <a:lnTo>
                      <a:pt x="46" y="71"/>
                    </a:lnTo>
                    <a:lnTo>
                      <a:pt x="42" y="86"/>
                    </a:lnTo>
                    <a:lnTo>
                      <a:pt x="39" y="80"/>
                    </a:lnTo>
                    <a:lnTo>
                      <a:pt x="36" y="81"/>
                    </a:lnTo>
                    <a:lnTo>
                      <a:pt x="33" y="84"/>
                    </a:lnTo>
                    <a:lnTo>
                      <a:pt x="29" y="84"/>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2" name="Freeform 207">
                <a:extLst>
                  <a:ext uri="{FF2B5EF4-FFF2-40B4-BE49-F238E27FC236}">
                    <a16:creationId xmlns:a16="http://schemas.microsoft.com/office/drawing/2014/main" id="{0CECCC4F-80CC-36A9-890D-F0F5100CDC9D}"/>
                  </a:ext>
                </a:extLst>
              </p:cNvPr>
              <p:cNvSpPr>
                <a:spLocks/>
              </p:cNvSpPr>
              <p:nvPr/>
            </p:nvSpPr>
            <p:spPr bwMode="auto">
              <a:xfrm>
                <a:off x="4502" y="1951"/>
                <a:ext cx="59" cy="36"/>
              </a:xfrm>
              <a:custGeom>
                <a:avLst/>
                <a:gdLst>
                  <a:gd name="T0" fmla="*/ 10242 w 49"/>
                  <a:gd name="T1" fmla="*/ 1 h 25"/>
                  <a:gd name="T2" fmla="*/ 3014 w 49"/>
                  <a:gd name="T3" fmla="*/ 0 h 25"/>
                  <a:gd name="T4" fmla="*/ 0 w 49"/>
                  <a:gd name="T5" fmla="*/ 1303390 h 25"/>
                  <a:gd name="T6" fmla="*/ 1 w 49"/>
                  <a:gd name="T7" fmla="*/ 1876882 h 25"/>
                  <a:gd name="T8" fmla="*/ 6336 w 49"/>
                  <a:gd name="T9" fmla="*/ 2048533 h 25"/>
                  <a:gd name="T10" fmla="*/ 11061 w 49"/>
                  <a:gd name="T11" fmla="*/ 1876882 h 25"/>
                  <a:gd name="T12" fmla="*/ 15336 w 49"/>
                  <a:gd name="T13" fmla="*/ 1794473 h 25"/>
                  <a:gd name="T14" fmla="*/ 13917 w 49"/>
                  <a:gd name="T15" fmla="*/ 1059604 h 25"/>
                  <a:gd name="T16" fmla="*/ 12332 w 49"/>
                  <a:gd name="T17" fmla="*/ 547092 h 25"/>
                  <a:gd name="T18" fmla="*/ 10242 w 49"/>
                  <a:gd name="T19" fmla="*/ 1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25"/>
                  <a:gd name="T32" fmla="*/ 49 w 49"/>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25">
                    <a:moveTo>
                      <a:pt x="32" y="1"/>
                    </a:moveTo>
                    <a:lnTo>
                      <a:pt x="10" y="0"/>
                    </a:lnTo>
                    <a:lnTo>
                      <a:pt x="0" y="16"/>
                    </a:lnTo>
                    <a:lnTo>
                      <a:pt x="1" y="23"/>
                    </a:lnTo>
                    <a:lnTo>
                      <a:pt x="20" y="25"/>
                    </a:lnTo>
                    <a:lnTo>
                      <a:pt x="35" y="23"/>
                    </a:lnTo>
                    <a:lnTo>
                      <a:pt x="49" y="22"/>
                    </a:lnTo>
                    <a:lnTo>
                      <a:pt x="43" y="13"/>
                    </a:lnTo>
                    <a:lnTo>
                      <a:pt x="39" y="7"/>
                    </a:lnTo>
                    <a:lnTo>
                      <a:pt x="32" y="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3" name="Freeform 208">
                <a:extLst>
                  <a:ext uri="{FF2B5EF4-FFF2-40B4-BE49-F238E27FC236}">
                    <a16:creationId xmlns:a16="http://schemas.microsoft.com/office/drawing/2014/main" id="{B41AD4B4-C8B1-6753-4FB8-08AAA3311725}"/>
                  </a:ext>
                </a:extLst>
              </p:cNvPr>
              <p:cNvSpPr>
                <a:spLocks/>
              </p:cNvSpPr>
              <p:nvPr/>
            </p:nvSpPr>
            <p:spPr bwMode="auto">
              <a:xfrm>
                <a:off x="4795" y="2297"/>
                <a:ext cx="99" cy="111"/>
              </a:xfrm>
              <a:custGeom>
                <a:avLst/>
                <a:gdLst>
                  <a:gd name="T0" fmla="*/ 20448 w 82"/>
                  <a:gd name="T1" fmla="*/ 4759475 h 77"/>
                  <a:gd name="T2" fmla="*/ 21920 w 82"/>
                  <a:gd name="T3" fmla="*/ 5948426 h 77"/>
                  <a:gd name="T4" fmla="*/ 18156 w 82"/>
                  <a:gd name="T5" fmla="*/ 5683456 h 77"/>
                  <a:gd name="T6" fmla="*/ 16640 w 82"/>
                  <a:gd name="T7" fmla="*/ 5948426 h 77"/>
                  <a:gd name="T8" fmla="*/ 13335 w 82"/>
                  <a:gd name="T9" fmla="*/ 6472967 h 77"/>
                  <a:gd name="T10" fmla="*/ 10168 w 82"/>
                  <a:gd name="T11" fmla="*/ 6417709 h 77"/>
                  <a:gd name="T12" fmla="*/ 8422 w 82"/>
                  <a:gd name="T13" fmla="*/ 6105612 h 77"/>
                  <a:gd name="T14" fmla="*/ 7832 w 82"/>
                  <a:gd name="T15" fmla="*/ 5378073 h 77"/>
                  <a:gd name="T16" fmla="*/ 6487 w 82"/>
                  <a:gd name="T17" fmla="*/ 5683456 h 77"/>
                  <a:gd name="T18" fmla="*/ 4530 w 82"/>
                  <a:gd name="T19" fmla="*/ 4759475 h 77"/>
                  <a:gd name="T20" fmla="*/ 3993 w 82"/>
                  <a:gd name="T21" fmla="*/ 4581463 h 77"/>
                  <a:gd name="T22" fmla="*/ 1879 w 82"/>
                  <a:gd name="T23" fmla="*/ 3435681 h 77"/>
                  <a:gd name="T24" fmla="*/ 0 w 82"/>
                  <a:gd name="T25" fmla="*/ 2142316 h 77"/>
                  <a:gd name="T26" fmla="*/ 3307 w 82"/>
                  <a:gd name="T27" fmla="*/ 571275 h 77"/>
                  <a:gd name="T28" fmla="*/ 8562 w 82"/>
                  <a:gd name="T29" fmla="*/ 571275 h 77"/>
                  <a:gd name="T30" fmla="*/ 15038 w 82"/>
                  <a:gd name="T31" fmla="*/ 571275 h 77"/>
                  <a:gd name="T32" fmla="*/ 19480 w 82"/>
                  <a:gd name="T33" fmla="*/ 1278396 h 77"/>
                  <a:gd name="T34" fmla="*/ 19480 w 82"/>
                  <a:gd name="T35" fmla="*/ 761660 h 77"/>
                  <a:gd name="T36" fmla="*/ 21763 w 82"/>
                  <a:gd name="T37" fmla="*/ 366519 h 77"/>
                  <a:gd name="T38" fmla="*/ 23519 w 82"/>
                  <a:gd name="T39" fmla="*/ 571275 h 77"/>
                  <a:gd name="T40" fmla="*/ 27439 w 82"/>
                  <a:gd name="T41" fmla="*/ 0 h 77"/>
                  <a:gd name="T42" fmla="*/ 27439 w 82"/>
                  <a:gd name="T43" fmla="*/ 1486111 h 77"/>
                  <a:gd name="T44" fmla="*/ 28333 w 82"/>
                  <a:gd name="T45" fmla="*/ 2646627 h 77"/>
                  <a:gd name="T46" fmla="*/ 28333 w 82"/>
                  <a:gd name="T47" fmla="*/ 3815266 h 77"/>
                  <a:gd name="T48" fmla="*/ 22904 w 82"/>
                  <a:gd name="T49" fmla="*/ 4363404 h 77"/>
                  <a:gd name="T50" fmla="*/ 20448 w 82"/>
                  <a:gd name="T51" fmla="*/ 4759475 h 7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2"/>
                  <a:gd name="T79" fmla="*/ 0 h 77"/>
                  <a:gd name="T80" fmla="*/ 82 w 82"/>
                  <a:gd name="T81" fmla="*/ 77 h 7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2" h="77">
                    <a:moveTo>
                      <a:pt x="60" y="57"/>
                    </a:moveTo>
                    <a:lnTo>
                      <a:pt x="64" y="71"/>
                    </a:lnTo>
                    <a:lnTo>
                      <a:pt x="53" y="68"/>
                    </a:lnTo>
                    <a:lnTo>
                      <a:pt x="48" y="71"/>
                    </a:lnTo>
                    <a:lnTo>
                      <a:pt x="38" y="77"/>
                    </a:lnTo>
                    <a:lnTo>
                      <a:pt x="29" y="76"/>
                    </a:lnTo>
                    <a:lnTo>
                      <a:pt x="24" y="73"/>
                    </a:lnTo>
                    <a:lnTo>
                      <a:pt x="22" y="64"/>
                    </a:lnTo>
                    <a:lnTo>
                      <a:pt x="18" y="68"/>
                    </a:lnTo>
                    <a:lnTo>
                      <a:pt x="13" y="57"/>
                    </a:lnTo>
                    <a:lnTo>
                      <a:pt x="12" y="55"/>
                    </a:lnTo>
                    <a:lnTo>
                      <a:pt x="6" y="41"/>
                    </a:lnTo>
                    <a:lnTo>
                      <a:pt x="0" y="26"/>
                    </a:lnTo>
                    <a:lnTo>
                      <a:pt x="10" y="7"/>
                    </a:lnTo>
                    <a:lnTo>
                      <a:pt x="26" y="7"/>
                    </a:lnTo>
                    <a:lnTo>
                      <a:pt x="44" y="7"/>
                    </a:lnTo>
                    <a:lnTo>
                      <a:pt x="57" y="15"/>
                    </a:lnTo>
                    <a:lnTo>
                      <a:pt x="57" y="9"/>
                    </a:lnTo>
                    <a:lnTo>
                      <a:pt x="63" y="4"/>
                    </a:lnTo>
                    <a:lnTo>
                      <a:pt x="69" y="7"/>
                    </a:lnTo>
                    <a:lnTo>
                      <a:pt x="80" y="0"/>
                    </a:lnTo>
                    <a:lnTo>
                      <a:pt x="80" y="18"/>
                    </a:lnTo>
                    <a:lnTo>
                      <a:pt x="82" y="31"/>
                    </a:lnTo>
                    <a:lnTo>
                      <a:pt x="82" y="45"/>
                    </a:lnTo>
                    <a:lnTo>
                      <a:pt x="67" y="52"/>
                    </a:lnTo>
                    <a:lnTo>
                      <a:pt x="60" y="57"/>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4" name="Freeform 209">
                <a:extLst>
                  <a:ext uri="{FF2B5EF4-FFF2-40B4-BE49-F238E27FC236}">
                    <a16:creationId xmlns:a16="http://schemas.microsoft.com/office/drawing/2014/main" id="{00C38710-B958-6187-AC8D-F16F5B55DBAA}"/>
                  </a:ext>
                </a:extLst>
              </p:cNvPr>
              <p:cNvSpPr>
                <a:spLocks/>
              </p:cNvSpPr>
              <p:nvPr/>
            </p:nvSpPr>
            <p:spPr bwMode="auto">
              <a:xfrm>
                <a:off x="5595" y="2326"/>
                <a:ext cx="3" cy="8"/>
              </a:xfrm>
              <a:custGeom>
                <a:avLst/>
                <a:gdLst>
                  <a:gd name="T0" fmla="*/ 0 w 3"/>
                  <a:gd name="T1" fmla="*/ 47519 h 6"/>
                  <a:gd name="T2" fmla="*/ 0 w 3"/>
                  <a:gd name="T3" fmla="*/ 20671 h 6"/>
                  <a:gd name="T4" fmla="*/ 3 w 3"/>
                  <a:gd name="T5" fmla="*/ 0 h 6"/>
                  <a:gd name="T6" fmla="*/ 0 w 3"/>
                  <a:gd name="T7" fmla="*/ 47519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6"/>
                    </a:moveTo>
                    <a:lnTo>
                      <a:pt x="0" y="3"/>
                    </a:lnTo>
                    <a:lnTo>
                      <a:pt x="3" y="0"/>
                    </a:lnTo>
                    <a:lnTo>
                      <a:pt x="0"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5" name="Freeform 210">
                <a:extLst>
                  <a:ext uri="{FF2B5EF4-FFF2-40B4-BE49-F238E27FC236}">
                    <a16:creationId xmlns:a16="http://schemas.microsoft.com/office/drawing/2014/main" id="{D6283FE0-4067-2915-9BA7-BF078452D5F2}"/>
                  </a:ext>
                </a:extLst>
              </p:cNvPr>
              <p:cNvSpPr>
                <a:spLocks/>
              </p:cNvSpPr>
              <p:nvPr/>
            </p:nvSpPr>
            <p:spPr bwMode="auto">
              <a:xfrm>
                <a:off x="4982" y="2102"/>
                <a:ext cx="5" cy="2"/>
              </a:xfrm>
              <a:custGeom>
                <a:avLst/>
                <a:gdLst>
                  <a:gd name="T0" fmla="*/ 21788986 w 3"/>
                  <a:gd name="T1" fmla="*/ 0 h 2"/>
                  <a:gd name="T2" fmla="*/ 21788986 w 3"/>
                  <a:gd name="T3" fmla="*/ 2 h 2"/>
                  <a:gd name="T4" fmla="*/ 0 w 3"/>
                  <a:gd name="T5" fmla="*/ 1 h 2"/>
                  <a:gd name="T6" fmla="*/ 21788986 w 3"/>
                  <a:gd name="T7" fmla="*/ 0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3" y="0"/>
                    </a:moveTo>
                    <a:lnTo>
                      <a:pt x="3" y="2"/>
                    </a:lnTo>
                    <a:lnTo>
                      <a:pt x="0" y="1"/>
                    </a:lnTo>
                    <a:lnTo>
                      <a:pt x="3"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6" name="Freeform 211">
                <a:extLst>
                  <a:ext uri="{FF2B5EF4-FFF2-40B4-BE49-F238E27FC236}">
                    <a16:creationId xmlns:a16="http://schemas.microsoft.com/office/drawing/2014/main" id="{1C121A24-6335-EB95-68A1-E77D6CB8947B}"/>
                  </a:ext>
                </a:extLst>
              </p:cNvPr>
              <p:cNvSpPr>
                <a:spLocks/>
              </p:cNvSpPr>
              <p:nvPr/>
            </p:nvSpPr>
            <p:spPr bwMode="auto">
              <a:xfrm>
                <a:off x="4733" y="2098"/>
                <a:ext cx="159" cy="220"/>
              </a:xfrm>
              <a:custGeom>
                <a:avLst/>
                <a:gdLst>
                  <a:gd name="T0" fmla="*/ 23598 w 132"/>
                  <a:gd name="T1" fmla="*/ 3024670 h 153"/>
                  <a:gd name="T2" fmla="*/ 22374 w 132"/>
                  <a:gd name="T3" fmla="*/ 2729473 h 153"/>
                  <a:gd name="T4" fmla="*/ 19431 w 132"/>
                  <a:gd name="T5" fmla="*/ 1983592 h 153"/>
                  <a:gd name="T6" fmla="*/ 16968 w 132"/>
                  <a:gd name="T7" fmla="*/ 2441317 h 153"/>
                  <a:gd name="T8" fmla="*/ 13392 w 132"/>
                  <a:gd name="T9" fmla="*/ 1562430 h 153"/>
                  <a:gd name="T10" fmla="*/ 12648 w 132"/>
                  <a:gd name="T11" fmla="*/ 1017383 h 153"/>
                  <a:gd name="T12" fmla="*/ 8195 w 132"/>
                  <a:gd name="T13" fmla="*/ 0 h 153"/>
                  <a:gd name="T14" fmla="*/ 6244 w 132"/>
                  <a:gd name="T15" fmla="*/ 165512 h 153"/>
                  <a:gd name="T16" fmla="*/ 7521 w 132"/>
                  <a:gd name="T17" fmla="*/ 1725158 h 153"/>
                  <a:gd name="T18" fmla="*/ 5184 w 132"/>
                  <a:gd name="T19" fmla="*/ 1462903 h 153"/>
                  <a:gd name="T20" fmla="*/ 4304 w 132"/>
                  <a:gd name="T21" fmla="*/ 1239312 h 153"/>
                  <a:gd name="T22" fmla="*/ 1729 w 132"/>
                  <a:gd name="T23" fmla="*/ 2161422 h 153"/>
                  <a:gd name="T24" fmla="*/ 0 w 132"/>
                  <a:gd name="T25" fmla="*/ 2972637 h 153"/>
                  <a:gd name="T26" fmla="*/ 1729 w 132"/>
                  <a:gd name="T27" fmla="*/ 3024670 h 153"/>
                  <a:gd name="T28" fmla="*/ 2966 w 132"/>
                  <a:gd name="T29" fmla="*/ 3943484 h 153"/>
                  <a:gd name="T30" fmla="*/ 6362 w 132"/>
                  <a:gd name="T31" fmla="*/ 3943484 h 153"/>
                  <a:gd name="T32" fmla="*/ 6803 w 132"/>
                  <a:gd name="T33" fmla="*/ 5425237 h 153"/>
                  <a:gd name="T34" fmla="*/ 6803 w 132"/>
                  <a:gd name="T35" fmla="*/ 6747535 h 153"/>
                  <a:gd name="T36" fmla="*/ 11695 w 132"/>
                  <a:gd name="T37" fmla="*/ 6005976 h 153"/>
                  <a:gd name="T38" fmla="*/ 14770 w 132"/>
                  <a:gd name="T39" fmla="*/ 6187390 h 153"/>
                  <a:gd name="T40" fmla="*/ 16968 w 132"/>
                  <a:gd name="T41" fmla="*/ 6005976 h 153"/>
                  <a:gd name="T42" fmla="*/ 19431 w 132"/>
                  <a:gd name="T43" fmla="*/ 5670368 h 153"/>
                  <a:gd name="T44" fmla="*/ 25813 w 132"/>
                  <a:gd name="T45" fmla="*/ 6747535 h 153"/>
                  <a:gd name="T46" fmla="*/ 26626 w 132"/>
                  <a:gd name="T47" fmla="*/ 7915513 h 153"/>
                  <a:gd name="T48" fmla="*/ 31093 w 132"/>
                  <a:gd name="T49" fmla="*/ 9239832 h 153"/>
                  <a:gd name="T50" fmla="*/ 32072 w 132"/>
                  <a:gd name="T51" fmla="*/ 10468111 h 153"/>
                  <a:gd name="T52" fmla="*/ 31093 w 132"/>
                  <a:gd name="T53" fmla="*/ 11217111 h 153"/>
                  <a:gd name="T54" fmla="*/ 34838 w 132"/>
                  <a:gd name="T55" fmla="*/ 11844557 h 153"/>
                  <a:gd name="T56" fmla="*/ 34838 w 132"/>
                  <a:gd name="T57" fmla="*/ 11381780 h 153"/>
                  <a:gd name="T58" fmla="*/ 36807 w 132"/>
                  <a:gd name="T59" fmla="*/ 10980397 h 153"/>
                  <a:gd name="T60" fmla="*/ 38778 w 132"/>
                  <a:gd name="T61" fmla="*/ 11217111 h 153"/>
                  <a:gd name="T62" fmla="*/ 42428 w 132"/>
                  <a:gd name="T63" fmla="*/ 10699257 h 153"/>
                  <a:gd name="T64" fmla="*/ 41242 w 132"/>
                  <a:gd name="T65" fmla="*/ 9702333 h 153"/>
                  <a:gd name="T66" fmla="*/ 40150 w 132"/>
                  <a:gd name="T67" fmla="*/ 9160052 h 153"/>
                  <a:gd name="T68" fmla="*/ 40150 w 132"/>
                  <a:gd name="T69" fmla="*/ 8896897 h 153"/>
                  <a:gd name="T70" fmla="*/ 35791 w 132"/>
                  <a:gd name="T71" fmla="*/ 7984936 h 153"/>
                  <a:gd name="T72" fmla="*/ 33425 w 132"/>
                  <a:gd name="T73" fmla="*/ 7258010 h 153"/>
                  <a:gd name="T74" fmla="*/ 30150 w 132"/>
                  <a:gd name="T75" fmla="*/ 6253746 h 153"/>
                  <a:gd name="T76" fmla="*/ 26950 w 132"/>
                  <a:gd name="T77" fmla="*/ 5297919 h 153"/>
                  <a:gd name="T78" fmla="*/ 20478 w 132"/>
                  <a:gd name="T79" fmla="*/ 4208652 h 153"/>
                  <a:gd name="T80" fmla="*/ 21625 w 132"/>
                  <a:gd name="T81" fmla="*/ 3773006 h 153"/>
                  <a:gd name="T82" fmla="*/ 24620 w 132"/>
                  <a:gd name="T83" fmla="*/ 3684462 h 153"/>
                  <a:gd name="T84" fmla="*/ 23598 w 132"/>
                  <a:gd name="T85" fmla="*/ 3024670 h 15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2"/>
                  <a:gd name="T130" fmla="*/ 0 h 153"/>
                  <a:gd name="T131" fmla="*/ 132 w 132"/>
                  <a:gd name="T132" fmla="*/ 153 h 15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2" h="153">
                    <a:moveTo>
                      <a:pt x="74" y="39"/>
                    </a:moveTo>
                    <a:lnTo>
                      <a:pt x="70" y="35"/>
                    </a:lnTo>
                    <a:lnTo>
                      <a:pt x="61" y="26"/>
                    </a:lnTo>
                    <a:lnTo>
                      <a:pt x="52" y="31"/>
                    </a:lnTo>
                    <a:lnTo>
                      <a:pt x="42" y="20"/>
                    </a:lnTo>
                    <a:lnTo>
                      <a:pt x="39" y="13"/>
                    </a:lnTo>
                    <a:lnTo>
                      <a:pt x="26" y="0"/>
                    </a:lnTo>
                    <a:lnTo>
                      <a:pt x="19" y="2"/>
                    </a:lnTo>
                    <a:lnTo>
                      <a:pt x="23" y="22"/>
                    </a:lnTo>
                    <a:lnTo>
                      <a:pt x="16" y="19"/>
                    </a:lnTo>
                    <a:lnTo>
                      <a:pt x="13" y="16"/>
                    </a:lnTo>
                    <a:lnTo>
                      <a:pt x="6" y="28"/>
                    </a:lnTo>
                    <a:lnTo>
                      <a:pt x="0" y="38"/>
                    </a:lnTo>
                    <a:lnTo>
                      <a:pt x="6" y="39"/>
                    </a:lnTo>
                    <a:lnTo>
                      <a:pt x="9" y="51"/>
                    </a:lnTo>
                    <a:lnTo>
                      <a:pt x="20" y="51"/>
                    </a:lnTo>
                    <a:lnTo>
                      <a:pt x="22" y="70"/>
                    </a:lnTo>
                    <a:lnTo>
                      <a:pt x="22" y="87"/>
                    </a:lnTo>
                    <a:lnTo>
                      <a:pt x="36" y="77"/>
                    </a:lnTo>
                    <a:lnTo>
                      <a:pt x="46" y="80"/>
                    </a:lnTo>
                    <a:lnTo>
                      <a:pt x="52" y="77"/>
                    </a:lnTo>
                    <a:lnTo>
                      <a:pt x="61" y="73"/>
                    </a:lnTo>
                    <a:lnTo>
                      <a:pt x="80" y="87"/>
                    </a:lnTo>
                    <a:lnTo>
                      <a:pt x="83" y="102"/>
                    </a:lnTo>
                    <a:lnTo>
                      <a:pt x="96" y="119"/>
                    </a:lnTo>
                    <a:lnTo>
                      <a:pt x="100" y="135"/>
                    </a:lnTo>
                    <a:lnTo>
                      <a:pt x="96" y="145"/>
                    </a:lnTo>
                    <a:lnTo>
                      <a:pt x="109" y="153"/>
                    </a:lnTo>
                    <a:lnTo>
                      <a:pt x="109" y="147"/>
                    </a:lnTo>
                    <a:lnTo>
                      <a:pt x="115" y="142"/>
                    </a:lnTo>
                    <a:lnTo>
                      <a:pt x="121" y="145"/>
                    </a:lnTo>
                    <a:lnTo>
                      <a:pt x="132" y="138"/>
                    </a:lnTo>
                    <a:lnTo>
                      <a:pt x="129" y="125"/>
                    </a:lnTo>
                    <a:lnTo>
                      <a:pt x="125" y="118"/>
                    </a:lnTo>
                    <a:lnTo>
                      <a:pt x="125" y="115"/>
                    </a:lnTo>
                    <a:lnTo>
                      <a:pt x="112" y="103"/>
                    </a:lnTo>
                    <a:lnTo>
                      <a:pt x="105" y="93"/>
                    </a:lnTo>
                    <a:lnTo>
                      <a:pt x="94" y="81"/>
                    </a:lnTo>
                    <a:lnTo>
                      <a:pt x="84" y="68"/>
                    </a:lnTo>
                    <a:lnTo>
                      <a:pt x="64" y="54"/>
                    </a:lnTo>
                    <a:lnTo>
                      <a:pt x="67" y="49"/>
                    </a:lnTo>
                    <a:lnTo>
                      <a:pt x="76" y="47"/>
                    </a:lnTo>
                    <a:lnTo>
                      <a:pt x="74" y="3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7" name="Freeform 212">
                <a:extLst>
                  <a:ext uri="{FF2B5EF4-FFF2-40B4-BE49-F238E27FC236}">
                    <a16:creationId xmlns:a16="http://schemas.microsoft.com/office/drawing/2014/main" id="{B1B769BA-10A8-BFFD-2592-4E5AA0B28339}"/>
                  </a:ext>
                </a:extLst>
              </p:cNvPr>
              <p:cNvSpPr>
                <a:spLocks/>
              </p:cNvSpPr>
              <p:nvPr/>
            </p:nvSpPr>
            <p:spPr bwMode="auto">
              <a:xfrm>
                <a:off x="4583" y="1941"/>
                <a:ext cx="166" cy="476"/>
              </a:xfrm>
              <a:custGeom>
                <a:avLst/>
                <a:gdLst>
                  <a:gd name="T0" fmla="*/ 23798 w 138"/>
                  <a:gd name="T1" fmla="*/ 6388571 h 331"/>
                  <a:gd name="T2" fmla="*/ 23199 w 138"/>
                  <a:gd name="T3" fmla="*/ 5146721 h 331"/>
                  <a:gd name="T4" fmla="*/ 26242 w 138"/>
                  <a:gd name="T5" fmla="*/ 3578919 h 331"/>
                  <a:gd name="T6" fmla="*/ 24066 w 138"/>
                  <a:gd name="T7" fmla="*/ 1323530 h 331"/>
                  <a:gd name="T8" fmla="*/ 18591 w 138"/>
                  <a:gd name="T9" fmla="*/ 0 h 331"/>
                  <a:gd name="T10" fmla="*/ 16661 w 138"/>
                  <a:gd name="T11" fmla="*/ 1088250 h 331"/>
                  <a:gd name="T12" fmla="*/ 17500 w 138"/>
                  <a:gd name="T13" fmla="*/ 1987110 h 331"/>
                  <a:gd name="T14" fmla="*/ 8964 w 138"/>
                  <a:gd name="T15" fmla="*/ 3033550 h 331"/>
                  <a:gd name="T16" fmla="*/ 8964 w 138"/>
                  <a:gd name="T17" fmla="*/ 4820329 h 331"/>
                  <a:gd name="T18" fmla="*/ 3559 w 138"/>
                  <a:gd name="T19" fmla="*/ 6552619 h 331"/>
                  <a:gd name="T20" fmla="*/ 3559 w 138"/>
                  <a:gd name="T21" fmla="*/ 9098784 h 331"/>
                  <a:gd name="T22" fmla="*/ 1175 w 138"/>
                  <a:gd name="T23" fmla="*/ 9098784 h 331"/>
                  <a:gd name="T24" fmla="*/ 0 w 138"/>
                  <a:gd name="T25" fmla="*/ 10286138 h 331"/>
                  <a:gd name="T26" fmla="*/ 3559 w 138"/>
                  <a:gd name="T27" fmla="*/ 11590855 h 331"/>
                  <a:gd name="T28" fmla="*/ 5936 w 138"/>
                  <a:gd name="T29" fmla="*/ 12221265 h 331"/>
                  <a:gd name="T30" fmla="*/ 7944 w 138"/>
                  <a:gd name="T31" fmla="*/ 12221265 h 331"/>
                  <a:gd name="T32" fmla="*/ 8589 w 138"/>
                  <a:gd name="T33" fmla="*/ 12832570 h 331"/>
                  <a:gd name="T34" fmla="*/ 10783 w 138"/>
                  <a:gd name="T35" fmla="*/ 12973776 h 331"/>
                  <a:gd name="T36" fmla="*/ 13827 w 138"/>
                  <a:gd name="T37" fmla="*/ 15109857 h 331"/>
                  <a:gd name="T38" fmla="*/ 13673 w 138"/>
                  <a:gd name="T39" fmla="*/ 17534482 h 331"/>
                  <a:gd name="T40" fmla="*/ 16033 w 138"/>
                  <a:gd name="T41" fmla="*/ 17534482 h 331"/>
                  <a:gd name="T42" fmla="*/ 18591 w 138"/>
                  <a:gd name="T43" fmla="*/ 17764998 h 331"/>
                  <a:gd name="T44" fmla="*/ 19286 w 138"/>
                  <a:gd name="T45" fmla="*/ 17764998 h 331"/>
                  <a:gd name="T46" fmla="*/ 23199 w 138"/>
                  <a:gd name="T47" fmla="*/ 16557000 h 331"/>
                  <a:gd name="T48" fmla="*/ 25831 w 138"/>
                  <a:gd name="T49" fmla="*/ 15710186 h 331"/>
                  <a:gd name="T50" fmla="*/ 29893 w 138"/>
                  <a:gd name="T51" fmla="*/ 16833948 h 331"/>
                  <a:gd name="T52" fmla="*/ 33791 w 138"/>
                  <a:gd name="T53" fmla="*/ 20775146 h 331"/>
                  <a:gd name="T54" fmla="*/ 35582 w 138"/>
                  <a:gd name="T55" fmla="*/ 21487587 h 331"/>
                  <a:gd name="T56" fmla="*/ 37971 w 138"/>
                  <a:gd name="T57" fmla="*/ 23479757 h 331"/>
                  <a:gd name="T58" fmla="*/ 37490 w 138"/>
                  <a:gd name="T59" fmla="*/ 25769279 h 331"/>
                  <a:gd name="T60" fmla="*/ 40379 w 138"/>
                  <a:gd name="T61" fmla="*/ 24499501 h 331"/>
                  <a:gd name="T62" fmla="*/ 40647 w 138"/>
                  <a:gd name="T63" fmla="*/ 22235933 h 331"/>
                  <a:gd name="T64" fmla="*/ 36548 w 138"/>
                  <a:gd name="T65" fmla="*/ 20254049 h 331"/>
                  <a:gd name="T66" fmla="*/ 34435 w 138"/>
                  <a:gd name="T67" fmla="*/ 18521881 h 331"/>
                  <a:gd name="T68" fmla="*/ 36278 w 138"/>
                  <a:gd name="T69" fmla="*/ 17036428 h 331"/>
                  <a:gd name="T70" fmla="*/ 30460 w 138"/>
                  <a:gd name="T71" fmla="*/ 15462390 h 331"/>
                  <a:gd name="T72" fmla="*/ 28354 w 138"/>
                  <a:gd name="T73" fmla="*/ 13997852 h 331"/>
                  <a:gd name="T74" fmla="*/ 33791 w 138"/>
                  <a:gd name="T75" fmla="*/ 12221265 h 331"/>
                  <a:gd name="T76" fmla="*/ 38356 w 138"/>
                  <a:gd name="T77" fmla="*/ 11513377 h 331"/>
                  <a:gd name="T78" fmla="*/ 42491 w 138"/>
                  <a:gd name="T79" fmla="*/ 9793870 h 331"/>
                  <a:gd name="T80" fmla="*/ 37490 w 138"/>
                  <a:gd name="T81" fmla="*/ 9793870 h 331"/>
                  <a:gd name="T82" fmla="*/ 33133 w 138"/>
                  <a:gd name="T83" fmla="*/ 8816313 h 331"/>
                  <a:gd name="T84" fmla="*/ 30383 w 138"/>
                  <a:gd name="T85" fmla="*/ 7306384 h 331"/>
                  <a:gd name="T86" fmla="*/ 28627 w 138"/>
                  <a:gd name="T87" fmla="*/ 6205206 h 33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8"/>
                  <a:gd name="T133" fmla="*/ 0 h 331"/>
                  <a:gd name="T134" fmla="*/ 138 w 138"/>
                  <a:gd name="T135" fmla="*/ 331 h 33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8" h="331">
                    <a:moveTo>
                      <a:pt x="93" y="80"/>
                    </a:moveTo>
                    <a:lnTo>
                      <a:pt x="77" y="82"/>
                    </a:lnTo>
                    <a:lnTo>
                      <a:pt x="77" y="74"/>
                    </a:lnTo>
                    <a:lnTo>
                      <a:pt x="76" y="66"/>
                    </a:lnTo>
                    <a:lnTo>
                      <a:pt x="83" y="53"/>
                    </a:lnTo>
                    <a:lnTo>
                      <a:pt x="86" y="46"/>
                    </a:lnTo>
                    <a:lnTo>
                      <a:pt x="81" y="32"/>
                    </a:lnTo>
                    <a:lnTo>
                      <a:pt x="78" y="17"/>
                    </a:lnTo>
                    <a:lnTo>
                      <a:pt x="71" y="14"/>
                    </a:lnTo>
                    <a:lnTo>
                      <a:pt x="60" y="0"/>
                    </a:lnTo>
                    <a:lnTo>
                      <a:pt x="57" y="7"/>
                    </a:lnTo>
                    <a:lnTo>
                      <a:pt x="55" y="14"/>
                    </a:lnTo>
                    <a:lnTo>
                      <a:pt x="54" y="20"/>
                    </a:lnTo>
                    <a:lnTo>
                      <a:pt x="57" y="26"/>
                    </a:lnTo>
                    <a:lnTo>
                      <a:pt x="45" y="23"/>
                    </a:lnTo>
                    <a:lnTo>
                      <a:pt x="29" y="39"/>
                    </a:lnTo>
                    <a:lnTo>
                      <a:pt x="29" y="53"/>
                    </a:lnTo>
                    <a:lnTo>
                      <a:pt x="29" y="62"/>
                    </a:lnTo>
                    <a:lnTo>
                      <a:pt x="22" y="84"/>
                    </a:lnTo>
                    <a:lnTo>
                      <a:pt x="12" y="84"/>
                    </a:lnTo>
                    <a:lnTo>
                      <a:pt x="12" y="98"/>
                    </a:lnTo>
                    <a:lnTo>
                      <a:pt x="12" y="117"/>
                    </a:lnTo>
                    <a:lnTo>
                      <a:pt x="6" y="117"/>
                    </a:lnTo>
                    <a:lnTo>
                      <a:pt x="4" y="117"/>
                    </a:lnTo>
                    <a:lnTo>
                      <a:pt x="6" y="129"/>
                    </a:lnTo>
                    <a:lnTo>
                      <a:pt x="0" y="132"/>
                    </a:lnTo>
                    <a:lnTo>
                      <a:pt x="12" y="148"/>
                    </a:lnTo>
                    <a:lnTo>
                      <a:pt x="12" y="149"/>
                    </a:lnTo>
                    <a:lnTo>
                      <a:pt x="16" y="145"/>
                    </a:lnTo>
                    <a:lnTo>
                      <a:pt x="19" y="157"/>
                    </a:lnTo>
                    <a:lnTo>
                      <a:pt x="20" y="157"/>
                    </a:lnTo>
                    <a:lnTo>
                      <a:pt x="26" y="157"/>
                    </a:lnTo>
                    <a:lnTo>
                      <a:pt x="32" y="164"/>
                    </a:lnTo>
                    <a:lnTo>
                      <a:pt x="28" y="165"/>
                    </a:lnTo>
                    <a:lnTo>
                      <a:pt x="32" y="173"/>
                    </a:lnTo>
                    <a:lnTo>
                      <a:pt x="35" y="167"/>
                    </a:lnTo>
                    <a:lnTo>
                      <a:pt x="41" y="180"/>
                    </a:lnTo>
                    <a:lnTo>
                      <a:pt x="45" y="194"/>
                    </a:lnTo>
                    <a:lnTo>
                      <a:pt x="45" y="209"/>
                    </a:lnTo>
                    <a:lnTo>
                      <a:pt x="44" y="225"/>
                    </a:lnTo>
                    <a:lnTo>
                      <a:pt x="51" y="216"/>
                    </a:lnTo>
                    <a:lnTo>
                      <a:pt x="52" y="225"/>
                    </a:lnTo>
                    <a:lnTo>
                      <a:pt x="55" y="228"/>
                    </a:lnTo>
                    <a:lnTo>
                      <a:pt x="60" y="228"/>
                    </a:lnTo>
                    <a:lnTo>
                      <a:pt x="63" y="226"/>
                    </a:lnTo>
                    <a:lnTo>
                      <a:pt x="63" y="228"/>
                    </a:lnTo>
                    <a:lnTo>
                      <a:pt x="73" y="219"/>
                    </a:lnTo>
                    <a:lnTo>
                      <a:pt x="76" y="213"/>
                    </a:lnTo>
                    <a:lnTo>
                      <a:pt x="78" y="216"/>
                    </a:lnTo>
                    <a:lnTo>
                      <a:pt x="84" y="202"/>
                    </a:lnTo>
                    <a:lnTo>
                      <a:pt x="90" y="210"/>
                    </a:lnTo>
                    <a:lnTo>
                      <a:pt x="97" y="216"/>
                    </a:lnTo>
                    <a:lnTo>
                      <a:pt x="105" y="242"/>
                    </a:lnTo>
                    <a:lnTo>
                      <a:pt x="110" y="267"/>
                    </a:lnTo>
                    <a:lnTo>
                      <a:pt x="110" y="263"/>
                    </a:lnTo>
                    <a:lnTo>
                      <a:pt x="116" y="276"/>
                    </a:lnTo>
                    <a:lnTo>
                      <a:pt x="121" y="289"/>
                    </a:lnTo>
                    <a:lnTo>
                      <a:pt x="124" y="302"/>
                    </a:lnTo>
                    <a:lnTo>
                      <a:pt x="124" y="316"/>
                    </a:lnTo>
                    <a:lnTo>
                      <a:pt x="122" y="331"/>
                    </a:lnTo>
                    <a:lnTo>
                      <a:pt x="126" y="327"/>
                    </a:lnTo>
                    <a:lnTo>
                      <a:pt x="131" y="315"/>
                    </a:lnTo>
                    <a:lnTo>
                      <a:pt x="137" y="303"/>
                    </a:lnTo>
                    <a:lnTo>
                      <a:pt x="132" y="286"/>
                    </a:lnTo>
                    <a:lnTo>
                      <a:pt x="128" y="271"/>
                    </a:lnTo>
                    <a:lnTo>
                      <a:pt x="119" y="260"/>
                    </a:lnTo>
                    <a:lnTo>
                      <a:pt x="112" y="248"/>
                    </a:lnTo>
                    <a:lnTo>
                      <a:pt x="112" y="238"/>
                    </a:lnTo>
                    <a:lnTo>
                      <a:pt x="113" y="231"/>
                    </a:lnTo>
                    <a:lnTo>
                      <a:pt x="118" y="219"/>
                    </a:lnTo>
                    <a:lnTo>
                      <a:pt x="113" y="219"/>
                    </a:lnTo>
                    <a:lnTo>
                      <a:pt x="100" y="199"/>
                    </a:lnTo>
                    <a:lnTo>
                      <a:pt x="87" y="180"/>
                    </a:lnTo>
                    <a:lnTo>
                      <a:pt x="92" y="180"/>
                    </a:lnTo>
                    <a:lnTo>
                      <a:pt x="94" y="161"/>
                    </a:lnTo>
                    <a:lnTo>
                      <a:pt x="110" y="157"/>
                    </a:lnTo>
                    <a:lnTo>
                      <a:pt x="118" y="149"/>
                    </a:lnTo>
                    <a:lnTo>
                      <a:pt x="125" y="148"/>
                    </a:lnTo>
                    <a:lnTo>
                      <a:pt x="131" y="138"/>
                    </a:lnTo>
                    <a:lnTo>
                      <a:pt x="138" y="126"/>
                    </a:lnTo>
                    <a:lnTo>
                      <a:pt x="134" y="123"/>
                    </a:lnTo>
                    <a:lnTo>
                      <a:pt x="122" y="126"/>
                    </a:lnTo>
                    <a:lnTo>
                      <a:pt x="115" y="116"/>
                    </a:lnTo>
                    <a:lnTo>
                      <a:pt x="108" y="113"/>
                    </a:lnTo>
                    <a:lnTo>
                      <a:pt x="109" y="98"/>
                    </a:lnTo>
                    <a:lnTo>
                      <a:pt x="99" y="94"/>
                    </a:lnTo>
                    <a:lnTo>
                      <a:pt x="94" y="82"/>
                    </a:lnTo>
                    <a:lnTo>
                      <a:pt x="93" y="8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8" name="Freeform 213">
                <a:extLst>
                  <a:ext uri="{FF2B5EF4-FFF2-40B4-BE49-F238E27FC236}">
                    <a16:creationId xmlns:a16="http://schemas.microsoft.com/office/drawing/2014/main" id="{EA8B3689-4B65-DEAA-C45D-4F8D720DD258}"/>
                  </a:ext>
                </a:extLst>
              </p:cNvPr>
              <p:cNvSpPr>
                <a:spLocks/>
              </p:cNvSpPr>
              <p:nvPr/>
            </p:nvSpPr>
            <p:spPr bwMode="auto">
              <a:xfrm>
                <a:off x="5118" y="2197"/>
                <a:ext cx="91" cy="154"/>
              </a:xfrm>
              <a:custGeom>
                <a:avLst/>
                <a:gdLst>
                  <a:gd name="T0" fmla="*/ 3917 w 76"/>
                  <a:gd name="T1" fmla="*/ 4126148 h 108"/>
                  <a:gd name="T2" fmla="*/ 3917 w 76"/>
                  <a:gd name="T3" fmla="*/ 4547646 h 108"/>
                  <a:gd name="T4" fmla="*/ 894 w 76"/>
                  <a:gd name="T5" fmla="*/ 3402479 h 108"/>
                  <a:gd name="T6" fmla="*/ 0 w 76"/>
                  <a:gd name="T7" fmla="*/ 2647202 h 108"/>
                  <a:gd name="T8" fmla="*/ 2610 w 76"/>
                  <a:gd name="T9" fmla="*/ 2674176 h 108"/>
                  <a:gd name="T10" fmla="*/ 1534 w 76"/>
                  <a:gd name="T11" fmla="*/ 1652770 h 108"/>
                  <a:gd name="T12" fmla="*/ 1070 w 76"/>
                  <a:gd name="T13" fmla="*/ 478601 h 108"/>
                  <a:gd name="T14" fmla="*/ 1837 w 76"/>
                  <a:gd name="T15" fmla="*/ 0 h 108"/>
                  <a:gd name="T16" fmla="*/ 7692 w 76"/>
                  <a:gd name="T17" fmla="*/ 289995 h 108"/>
                  <a:gd name="T18" fmla="*/ 8051 w 76"/>
                  <a:gd name="T19" fmla="*/ 570061 h 108"/>
                  <a:gd name="T20" fmla="*/ 9292 w 76"/>
                  <a:gd name="T21" fmla="*/ 1405879 h 108"/>
                  <a:gd name="T22" fmla="*/ 10247 w 76"/>
                  <a:gd name="T23" fmla="*/ 2004679 h 108"/>
                  <a:gd name="T24" fmla="*/ 9292 w 76"/>
                  <a:gd name="T25" fmla="*/ 2674176 h 108"/>
                  <a:gd name="T26" fmla="*/ 7692 w 76"/>
                  <a:gd name="T27" fmla="*/ 3056270 h 108"/>
                  <a:gd name="T28" fmla="*/ 7760 w 76"/>
                  <a:gd name="T29" fmla="*/ 3813177 h 108"/>
                  <a:gd name="T30" fmla="*/ 10247 w 76"/>
                  <a:gd name="T31" fmla="*/ 4956393 h 108"/>
                  <a:gd name="T32" fmla="*/ 11543 w 76"/>
                  <a:gd name="T33" fmla="*/ 4956393 h 108"/>
                  <a:gd name="T34" fmla="*/ 11543 w 76"/>
                  <a:gd name="T35" fmla="*/ 4791853 h 108"/>
                  <a:gd name="T36" fmla="*/ 13767 w 76"/>
                  <a:gd name="T37" fmla="*/ 4749922 h 108"/>
                  <a:gd name="T38" fmla="*/ 15951 w 76"/>
                  <a:gd name="T39" fmla="*/ 5239108 h 108"/>
                  <a:gd name="T40" fmla="*/ 16320 w 76"/>
                  <a:gd name="T41" fmla="*/ 4956393 h 108"/>
                  <a:gd name="T42" fmla="*/ 17978 w 76"/>
                  <a:gd name="T43" fmla="*/ 5332855 h 108"/>
                  <a:gd name="T44" fmla="*/ 17085 w 76"/>
                  <a:gd name="T45" fmla="*/ 5382462 h 108"/>
                  <a:gd name="T46" fmla="*/ 18932 w 76"/>
                  <a:gd name="T47" fmla="*/ 5916720 h 108"/>
                  <a:gd name="T48" fmla="*/ 20291 w 76"/>
                  <a:gd name="T49" fmla="*/ 6024270 h 108"/>
                  <a:gd name="T50" fmla="*/ 18932 w 76"/>
                  <a:gd name="T51" fmla="*/ 6484605 h 108"/>
                  <a:gd name="T52" fmla="*/ 18932 w 76"/>
                  <a:gd name="T53" fmla="*/ 6214203 h 108"/>
                  <a:gd name="T54" fmla="*/ 16320 w 76"/>
                  <a:gd name="T55" fmla="*/ 5883581 h 108"/>
                  <a:gd name="T56" fmla="*/ 14300 w 76"/>
                  <a:gd name="T57" fmla="*/ 5332855 h 108"/>
                  <a:gd name="T58" fmla="*/ 12463 w 76"/>
                  <a:gd name="T59" fmla="*/ 5154021 h 108"/>
                  <a:gd name="T60" fmla="*/ 13205 w 76"/>
                  <a:gd name="T61" fmla="*/ 5883581 h 108"/>
                  <a:gd name="T62" fmla="*/ 9292 w 76"/>
                  <a:gd name="T63" fmla="*/ 5097948 h 108"/>
                  <a:gd name="T64" fmla="*/ 6631 w 76"/>
                  <a:gd name="T65" fmla="*/ 5382462 h 108"/>
                  <a:gd name="T66" fmla="*/ 4521 w 76"/>
                  <a:gd name="T67" fmla="*/ 5154021 h 108"/>
                  <a:gd name="T68" fmla="*/ 4521 w 76"/>
                  <a:gd name="T69" fmla="*/ 4749922 h 108"/>
                  <a:gd name="T70" fmla="*/ 5413 w 76"/>
                  <a:gd name="T71" fmla="*/ 4209893 h 108"/>
                  <a:gd name="T72" fmla="*/ 3917 w 76"/>
                  <a:gd name="T73" fmla="*/ 4126148 h 10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6"/>
                  <a:gd name="T112" fmla="*/ 0 h 108"/>
                  <a:gd name="T113" fmla="*/ 76 w 76"/>
                  <a:gd name="T114" fmla="*/ 108 h 10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6" h="108">
                    <a:moveTo>
                      <a:pt x="15" y="69"/>
                    </a:moveTo>
                    <a:lnTo>
                      <a:pt x="15" y="76"/>
                    </a:lnTo>
                    <a:lnTo>
                      <a:pt x="3" y="57"/>
                    </a:lnTo>
                    <a:lnTo>
                      <a:pt x="0" y="44"/>
                    </a:lnTo>
                    <a:lnTo>
                      <a:pt x="9" y="45"/>
                    </a:lnTo>
                    <a:lnTo>
                      <a:pt x="6" y="27"/>
                    </a:lnTo>
                    <a:lnTo>
                      <a:pt x="4" y="8"/>
                    </a:lnTo>
                    <a:lnTo>
                      <a:pt x="7" y="0"/>
                    </a:lnTo>
                    <a:lnTo>
                      <a:pt x="28" y="5"/>
                    </a:lnTo>
                    <a:lnTo>
                      <a:pt x="31" y="9"/>
                    </a:lnTo>
                    <a:lnTo>
                      <a:pt x="35" y="24"/>
                    </a:lnTo>
                    <a:lnTo>
                      <a:pt x="38" y="34"/>
                    </a:lnTo>
                    <a:lnTo>
                      <a:pt x="35" y="45"/>
                    </a:lnTo>
                    <a:lnTo>
                      <a:pt x="28" y="51"/>
                    </a:lnTo>
                    <a:lnTo>
                      <a:pt x="29" y="64"/>
                    </a:lnTo>
                    <a:lnTo>
                      <a:pt x="38" y="83"/>
                    </a:lnTo>
                    <a:lnTo>
                      <a:pt x="44" y="83"/>
                    </a:lnTo>
                    <a:lnTo>
                      <a:pt x="44" y="80"/>
                    </a:lnTo>
                    <a:lnTo>
                      <a:pt x="52" y="79"/>
                    </a:lnTo>
                    <a:lnTo>
                      <a:pt x="60" y="88"/>
                    </a:lnTo>
                    <a:lnTo>
                      <a:pt x="61" y="83"/>
                    </a:lnTo>
                    <a:lnTo>
                      <a:pt x="68" y="89"/>
                    </a:lnTo>
                    <a:lnTo>
                      <a:pt x="64" y="90"/>
                    </a:lnTo>
                    <a:lnTo>
                      <a:pt x="71" y="99"/>
                    </a:lnTo>
                    <a:lnTo>
                      <a:pt x="76" y="101"/>
                    </a:lnTo>
                    <a:lnTo>
                      <a:pt x="71" y="108"/>
                    </a:lnTo>
                    <a:lnTo>
                      <a:pt x="71" y="104"/>
                    </a:lnTo>
                    <a:lnTo>
                      <a:pt x="61" y="98"/>
                    </a:lnTo>
                    <a:lnTo>
                      <a:pt x="54" y="89"/>
                    </a:lnTo>
                    <a:lnTo>
                      <a:pt x="47" y="86"/>
                    </a:lnTo>
                    <a:lnTo>
                      <a:pt x="49" y="98"/>
                    </a:lnTo>
                    <a:lnTo>
                      <a:pt x="35" y="85"/>
                    </a:lnTo>
                    <a:lnTo>
                      <a:pt x="25" y="90"/>
                    </a:lnTo>
                    <a:lnTo>
                      <a:pt x="17" y="86"/>
                    </a:lnTo>
                    <a:lnTo>
                      <a:pt x="17" y="79"/>
                    </a:lnTo>
                    <a:lnTo>
                      <a:pt x="20" y="70"/>
                    </a:lnTo>
                    <a:lnTo>
                      <a:pt x="15" y="69"/>
                    </a:lnTo>
                    <a:close/>
                  </a:path>
                </a:pathLst>
              </a:custGeom>
              <a:solidFill>
                <a:srgbClr val="FBBF69"/>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99" name="Freeform 214">
                <a:extLst>
                  <a:ext uri="{FF2B5EF4-FFF2-40B4-BE49-F238E27FC236}">
                    <a16:creationId xmlns:a16="http://schemas.microsoft.com/office/drawing/2014/main" id="{5D059402-0670-78F6-5B3A-AC8966198444}"/>
                  </a:ext>
                </a:extLst>
              </p:cNvPr>
              <p:cNvSpPr>
                <a:spLocks/>
              </p:cNvSpPr>
              <p:nvPr/>
            </p:nvSpPr>
            <p:spPr bwMode="auto">
              <a:xfrm>
                <a:off x="5177" y="2426"/>
                <a:ext cx="90" cy="106"/>
              </a:xfrm>
              <a:custGeom>
                <a:avLst/>
                <a:gdLst>
                  <a:gd name="T0" fmla="*/ 16260 w 75"/>
                  <a:gd name="T1" fmla="*/ 5108626 h 74"/>
                  <a:gd name="T2" fmla="*/ 15840 w 75"/>
                  <a:gd name="T3" fmla="*/ 4649266 h 74"/>
                  <a:gd name="T4" fmla="*/ 15157 w 75"/>
                  <a:gd name="T5" fmla="*/ 4659166 h 74"/>
                  <a:gd name="T6" fmla="*/ 9887 w 75"/>
                  <a:gd name="T7" fmla="*/ 3997687 h 74"/>
                  <a:gd name="T8" fmla="*/ 10526 w 75"/>
                  <a:gd name="T9" fmla="*/ 3028856 h 74"/>
                  <a:gd name="T10" fmla="*/ 8023 w 75"/>
                  <a:gd name="T11" fmla="*/ 2345187 h 74"/>
                  <a:gd name="T12" fmla="*/ 6866 w 75"/>
                  <a:gd name="T13" fmla="*/ 2694737 h 74"/>
                  <a:gd name="T14" fmla="*/ 5572 w 75"/>
                  <a:gd name="T15" fmla="*/ 2585285 h 74"/>
                  <a:gd name="T16" fmla="*/ 5077 w 75"/>
                  <a:gd name="T17" fmla="*/ 2874400 h 74"/>
                  <a:gd name="T18" fmla="*/ 3311 w 75"/>
                  <a:gd name="T19" fmla="*/ 2422047 h 74"/>
                  <a:gd name="T20" fmla="*/ 1597 w 75"/>
                  <a:gd name="T21" fmla="*/ 3093696 h 74"/>
                  <a:gd name="T22" fmla="*/ 0 w 75"/>
                  <a:gd name="T23" fmla="*/ 3469417 h 74"/>
                  <a:gd name="T24" fmla="*/ 924 w 75"/>
                  <a:gd name="T25" fmla="*/ 2489752 h 74"/>
                  <a:gd name="T26" fmla="*/ 4231 w 75"/>
                  <a:gd name="T27" fmla="*/ 1777301 h 74"/>
                  <a:gd name="T28" fmla="*/ 7091 w 75"/>
                  <a:gd name="T29" fmla="*/ 1313313 h 74"/>
                  <a:gd name="T30" fmla="*/ 8023 w 75"/>
                  <a:gd name="T31" fmla="*/ 2009770 h 74"/>
                  <a:gd name="T32" fmla="*/ 9887 w 75"/>
                  <a:gd name="T33" fmla="*/ 1738129 h 74"/>
                  <a:gd name="T34" fmla="*/ 11554 w 75"/>
                  <a:gd name="T35" fmla="*/ 1556192 h 74"/>
                  <a:gd name="T36" fmla="*/ 12631 w 75"/>
                  <a:gd name="T37" fmla="*/ 916841 h 74"/>
                  <a:gd name="T38" fmla="*/ 14237 w 75"/>
                  <a:gd name="T39" fmla="*/ 1015963 h 74"/>
                  <a:gd name="T40" fmla="*/ 15552 w 75"/>
                  <a:gd name="T41" fmla="*/ 916841 h 74"/>
                  <a:gd name="T42" fmla="*/ 15157 w 75"/>
                  <a:gd name="T43" fmla="*/ 0 h 74"/>
                  <a:gd name="T44" fmla="*/ 18188 w 75"/>
                  <a:gd name="T45" fmla="*/ 640059 h 74"/>
                  <a:gd name="T46" fmla="*/ 19008 w 75"/>
                  <a:gd name="T47" fmla="*/ 1556192 h 74"/>
                  <a:gd name="T48" fmla="*/ 21434 w 75"/>
                  <a:gd name="T49" fmla="*/ 3028856 h 74"/>
                  <a:gd name="T50" fmla="*/ 19958 w 75"/>
                  <a:gd name="T51" fmla="*/ 3566401 h 74"/>
                  <a:gd name="T52" fmla="*/ 19846 w 75"/>
                  <a:gd name="T53" fmla="*/ 4123769 h 74"/>
                  <a:gd name="T54" fmla="*/ 17956 w 75"/>
                  <a:gd name="T55" fmla="*/ 3093696 h 74"/>
                  <a:gd name="T56" fmla="*/ 16260 w 75"/>
                  <a:gd name="T57" fmla="*/ 3469417 h 74"/>
                  <a:gd name="T58" fmla="*/ 17084 w 75"/>
                  <a:gd name="T59" fmla="*/ 4196631 h 74"/>
                  <a:gd name="T60" fmla="*/ 16260 w 75"/>
                  <a:gd name="T61" fmla="*/ 510862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5"/>
                  <a:gd name="T94" fmla="*/ 0 h 74"/>
                  <a:gd name="T95" fmla="*/ 75 w 75"/>
                  <a:gd name="T96" fmla="*/ 74 h 7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5" h="74">
                    <a:moveTo>
                      <a:pt x="57" y="74"/>
                    </a:moveTo>
                    <a:lnTo>
                      <a:pt x="56" y="67"/>
                    </a:lnTo>
                    <a:lnTo>
                      <a:pt x="53" y="68"/>
                    </a:lnTo>
                    <a:lnTo>
                      <a:pt x="35" y="58"/>
                    </a:lnTo>
                    <a:lnTo>
                      <a:pt x="37" y="44"/>
                    </a:lnTo>
                    <a:lnTo>
                      <a:pt x="28" y="34"/>
                    </a:lnTo>
                    <a:lnTo>
                      <a:pt x="24" y="39"/>
                    </a:lnTo>
                    <a:lnTo>
                      <a:pt x="19" y="38"/>
                    </a:lnTo>
                    <a:lnTo>
                      <a:pt x="18" y="41"/>
                    </a:lnTo>
                    <a:lnTo>
                      <a:pt x="12" y="35"/>
                    </a:lnTo>
                    <a:lnTo>
                      <a:pt x="6" y="45"/>
                    </a:lnTo>
                    <a:lnTo>
                      <a:pt x="0" y="50"/>
                    </a:lnTo>
                    <a:lnTo>
                      <a:pt x="3" y="36"/>
                    </a:lnTo>
                    <a:lnTo>
                      <a:pt x="15" y="26"/>
                    </a:lnTo>
                    <a:lnTo>
                      <a:pt x="25" y="19"/>
                    </a:lnTo>
                    <a:lnTo>
                      <a:pt x="28" y="29"/>
                    </a:lnTo>
                    <a:lnTo>
                      <a:pt x="35" y="25"/>
                    </a:lnTo>
                    <a:lnTo>
                      <a:pt x="41" y="22"/>
                    </a:lnTo>
                    <a:lnTo>
                      <a:pt x="44" y="13"/>
                    </a:lnTo>
                    <a:lnTo>
                      <a:pt x="50" y="15"/>
                    </a:lnTo>
                    <a:lnTo>
                      <a:pt x="54" y="13"/>
                    </a:lnTo>
                    <a:lnTo>
                      <a:pt x="53" y="0"/>
                    </a:lnTo>
                    <a:lnTo>
                      <a:pt x="64" y="9"/>
                    </a:lnTo>
                    <a:lnTo>
                      <a:pt x="67" y="22"/>
                    </a:lnTo>
                    <a:lnTo>
                      <a:pt x="75" y="44"/>
                    </a:lnTo>
                    <a:lnTo>
                      <a:pt x="70" y="52"/>
                    </a:lnTo>
                    <a:lnTo>
                      <a:pt x="69" y="60"/>
                    </a:lnTo>
                    <a:lnTo>
                      <a:pt x="63" y="45"/>
                    </a:lnTo>
                    <a:lnTo>
                      <a:pt x="57" y="50"/>
                    </a:lnTo>
                    <a:lnTo>
                      <a:pt x="60" y="61"/>
                    </a:lnTo>
                    <a:lnTo>
                      <a:pt x="57" y="74"/>
                    </a:lnTo>
                    <a:close/>
                  </a:path>
                </a:pathLst>
              </a:custGeom>
              <a:solidFill>
                <a:srgbClr val="FBBF69"/>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0" name="Freeform 215">
                <a:extLst>
                  <a:ext uri="{FF2B5EF4-FFF2-40B4-BE49-F238E27FC236}">
                    <a16:creationId xmlns:a16="http://schemas.microsoft.com/office/drawing/2014/main" id="{F6BD34B3-ED81-256C-E91F-3B83421E1728}"/>
                  </a:ext>
                </a:extLst>
              </p:cNvPr>
              <p:cNvSpPr>
                <a:spLocks/>
              </p:cNvSpPr>
              <p:nvPr/>
            </p:nvSpPr>
            <p:spPr bwMode="auto">
              <a:xfrm>
                <a:off x="5185" y="2398"/>
                <a:ext cx="18" cy="46"/>
              </a:xfrm>
              <a:custGeom>
                <a:avLst/>
                <a:gdLst>
                  <a:gd name="T0" fmla="*/ 4231 w 15"/>
                  <a:gd name="T1" fmla="*/ 0 h 32"/>
                  <a:gd name="T2" fmla="*/ 3311 w 15"/>
                  <a:gd name="T3" fmla="*/ 1771404 h 32"/>
                  <a:gd name="T4" fmla="*/ 3311 w 15"/>
                  <a:gd name="T5" fmla="*/ 2466636 h 32"/>
                  <a:gd name="T6" fmla="*/ 0 w 15"/>
                  <a:gd name="T7" fmla="*/ 1715921 h 32"/>
                  <a:gd name="T8" fmla="*/ 924 w 15"/>
                  <a:gd name="T9" fmla="*/ 1232281 h 32"/>
                  <a:gd name="T10" fmla="*/ 1597 w 15"/>
                  <a:gd name="T11" fmla="*/ 0 h 32"/>
                  <a:gd name="T12" fmla="*/ 4231 w 15"/>
                  <a:gd name="T13" fmla="*/ 0 h 32"/>
                  <a:gd name="T14" fmla="*/ 0 60000 65536"/>
                  <a:gd name="T15" fmla="*/ 0 60000 65536"/>
                  <a:gd name="T16" fmla="*/ 0 60000 65536"/>
                  <a:gd name="T17" fmla="*/ 0 60000 65536"/>
                  <a:gd name="T18" fmla="*/ 0 60000 65536"/>
                  <a:gd name="T19" fmla="*/ 0 60000 65536"/>
                  <a:gd name="T20" fmla="*/ 0 60000 65536"/>
                  <a:gd name="T21" fmla="*/ 0 w 15"/>
                  <a:gd name="T22" fmla="*/ 0 h 32"/>
                  <a:gd name="T23" fmla="*/ 15 w 1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2">
                    <a:moveTo>
                      <a:pt x="15" y="0"/>
                    </a:moveTo>
                    <a:lnTo>
                      <a:pt x="12" y="23"/>
                    </a:lnTo>
                    <a:lnTo>
                      <a:pt x="12" y="32"/>
                    </a:lnTo>
                    <a:lnTo>
                      <a:pt x="0" y="22"/>
                    </a:lnTo>
                    <a:lnTo>
                      <a:pt x="3" y="16"/>
                    </a:lnTo>
                    <a:lnTo>
                      <a:pt x="6" y="0"/>
                    </a:lnTo>
                    <a:lnTo>
                      <a:pt x="15"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1" name="Freeform 216">
                <a:extLst>
                  <a:ext uri="{FF2B5EF4-FFF2-40B4-BE49-F238E27FC236}">
                    <a16:creationId xmlns:a16="http://schemas.microsoft.com/office/drawing/2014/main" id="{6C2DD2D6-28AB-9785-A501-039190C023AD}"/>
                  </a:ext>
                </a:extLst>
              </p:cNvPr>
              <p:cNvSpPr>
                <a:spLocks/>
              </p:cNvSpPr>
              <p:nvPr/>
            </p:nvSpPr>
            <p:spPr bwMode="auto">
              <a:xfrm>
                <a:off x="5213" y="2353"/>
                <a:ext cx="31" cy="40"/>
              </a:xfrm>
              <a:custGeom>
                <a:avLst/>
                <a:gdLst>
                  <a:gd name="T0" fmla="*/ 4162 w 26"/>
                  <a:gd name="T1" fmla="*/ 1666095 h 28"/>
                  <a:gd name="T2" fmla="*/ 2589 w 26"/>
                  <a:gd name="T3" fmla="*/ 1166266 h 28"/>
                  <a:gd name="T4" fmla="*/ 0 w 26"/>
                  <a:gd name="T5" fmla="*/ 143130 h 28"/>
                  <a:gd name="T6" fmla="*/ 3087 w 26"/>
                  <a:gd name="T7" fmla="*/ 0 h 28"/>
                  <a:gd name="T8" fmla="*/ 4162 w 26"/>
                  <a:gd name="T9" fmla="*/ 625753 h 28"/>
                  <a:gd name="T10" fmla="*/ 6002 w 26"/>
                  <a:gd name="T11" fmla="*/ 1766529 h 28"/>
                  <a:gd name="T12" fmla="*/ 4162 w 26"/>
                  <a:gd name="T13" fmla="*/ 1666095 h 28"/>
                  <a:gd name="T14" fmla="*/ 0 60000 65536"/>
                  <a:gd name="T15" fmla="*/ 0 60000 65536"/>
                  <a:gd name="T16" fmla="*/ 0 60000 65536"/>
                  <a:gd name="T17" fmla="*/ 0 60000 65536"/>
                  <a:gd name="T18" fmla="*/ 0 60000 65536"/>
                  <a:gd name="T19" fmla="*/ 0 60000 65536"/>
                  <a:gd name="T20" fmla="*/ 0 60000 65536"/>
                  <a:gd name="T21" fmla="*/ 0 w 26"/>
                  <a:gd name="T22" fmla="*/ 0 h 28"/>
                  <a:gd name="T23" fmla="*/ 26 w 26"/>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8">
                    <a:moveTo>
                      <a:pt x="18" y="26"/>
                    </a:moveTo>
                    <a:lnTo>
                      <a:pt x="11" y="18"/>
                    </a:lnTo>
                    <a:lnTo>
                      <a:pt x="0" y="2"/>
                    </a:lnTo>
                    <a:lnTo>
                      <a:pt x="13" y="0"/>
                    </a:lnTo>
                    <a:lnTo>
                      <a:pt x="18" y="10"/>
                    </a:lnTo>
                    <a:lnTo>
                      <a:pt x="26" y="28"/>
                    </a:lnTo>
                    <a:lnTo>
                      <a:pt x="18" y="2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2" name="Freeform 217">
                <a:extLst>
                  <a:ext uri="{FF2B5EF4-FFF2-40B4-BE49-F238E27FC236}">
                    <a16:creationId xmlns:a16="http://schemas.microsoft.com/office/drawing/2014/main" id="{10667E59-8383-6240-FB21-4DC01989E07C}"/>
                  </a:ext>
                </a:extLst>
              </p:cNvPr>
              <p:cNvSpPr>
                <a:spLocks/>
              </p:cNvSpPr>
              <p:nvPr/>
            </p:nvSpPr>
            <p:spPr bwMode="auto">
              <a:xfrm>
                <a:off x="5169" y="2371"/>
                <a:ext cx="25" cy="37"/>
              </a:xfrm>
              <a:custGeom>
                <a:avLst/>
                <a:gdLst>
                  <a:gd name="T0" fmla="*/ 4155 w 21"/>
                  <a:gd name="T1" fmla="*/ 1098162 h 25"/>
                  <a:gd name="T2" fmla="*/ 813 w 21"/>
                  <a:gd name="T3" fmla="*/ 0 h 25"/>
                  <a:gd name="T4" fmla="*/ 0 w 21"/>
                  <a:gd name="T5" fmla="*/ 338751 h 25"/>
                  <a:gd name="T6" fmla="*/ 1152 w 21"/>
                  <a:gd name="T7" fmla="*/ 4744679 h 25"/>
                  <a:gd name="T8" fmla="*/ 4861 w 21"/>
                  <a:gd name="T9" fmla="*/ 1625280 h 25"/>
                  <a:gd name="T10" fmla="*/ 4861 w 21"/>
                  <a:gd name="T11" fmla="*/ 1576884 h 25"/>
                  <a:gd name="T12" fmla="*/ 4155 w 21"/>
                  <a:gd name="T13" fmla="*/ 1098162 h 25"/>
                  <a:gd name="T14" fmla="*/ 0 60000 65536"/>
                  <a:gd name="T15" fmla="*/ 0 60000 65536"/>
                  <a:gd name="T16" fmla="*/ 0 60000 65536"/>
                  <a:gd name="T17" fmla="*/ 0 60000 65536"/>
                  <a:gd name="T18" fmla="*/ 0 60000 65536"/>
                  <a:gd name="T19" fmla="*/ 0 60000 65536"/>
                  <a:gd name="T20" fmla="*/ 0 60000 65536"/>
                  <a:gd name="T21" fmla="*/ 0 w 21"/>
                  <a:gd name="T22" fmla="*/ 0 h 25"/>
                  <a:gd name="T23" fmla="*/ 21 w 2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25">
                    <a:moveTo>
                      <a:pt x="19" y="6"/>
                    </a:moveTo>
                    <a:lnTo>
                      <a:pt x="3" y="0"/>
                    </a:lnTo>
                    <a:lnTo>
                      <a:pt x="0" y="2"/>
                    </a:lnTo>
                    <a:lnTo>
                      <a:pt x="5" y="25"/>
                    </a:lnTo>
                    <a:lnTo>
                      <a:pt x="21" y="9"/>
                    </a:lnTo>
                    <a:lnTo>
                      <a:pt x="21" y="8"/>
                    </a:lnTo>
                    <a:lnTo>
                      <a:pt x="19"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3" name="Freeform 218">
                <a:extLst>
                  <a:ext uri="{FF2B5EF4-FFF2-40B4-BE49-F238E27FC236}">
                    <a16:creationId xmlns:a16="http://schemas.microsoft.com/office/drawing/2014/main" id="{916CECFA-A1D1-6CA8-70FA-CE6D1804500A}"/>
                  </a:ext>
                </a:extLst>
              </p:cNvPr>
              <p:cNvSpPr>
                <a:spLocks/>
              </p:cNvSpPr>
              <p:nvPr/>
            </p:nvSpPr>
            <p:spPr bwMode="auto">
              <a:xfrm>
                <a:off x="5087" y="2385"/>
                <a:ext cx="43" cy="75"/>
              </a:xfrm>
              <a:custGeom>
                <a:avLst/>
                <a:gdLst>
                  <a:gd name="T0" fmla="*/ 8815 w 36"/>
                  <a:gd name="T1" fmla="*/ 1304557 h 52"/>
                  <a:gd name="T2" fmla="*/ 5376 w 36"/>
                  <a:gd name="T3" fmla="*/ 2504423 h 52"/>
                  <a:gd name="T4" fmla="*/ 2526 w 36"/>
                  <a:gd name="T5" fmla="*/ 3489456 h 52"/>
                  <a:gd name="T6" fmla="*/ 0 w 36"/>
                  <a:gd name="T7" fmla="*/ 4439094 h 52"/>
                  <a:gd name="T8" fmla="*/ 1 w 36"/>
                  <a:gd name="T9" fmla="*/ 4103354 h 52"/>
                  <a:gd name="T10" fmla="*/ 3017 w 36"/>
                  <a:gd name="T11" fmla="*/ 2954371 h 52"/>
                  <a:gd name="T12" fmla="*/ 5399 w 36"/>
                  <a:gd name="T13" fmla="*/ 1736400 h 52"/>
                  <a:gd name="T14" fmla="*/ 7336 w 36"/>
                  <a:gd name="T15" fmla="*/ 771365 h 52"/>
                  <a:gd name="T16" fmla="*/ 7380 w 36"/>
                  <a:gd name="T17" fmla="*/ 0 h 52"/>
                  <a:gd name="T18" fmla="*/ 8815 w 36"/>
                  <a:gd name="T19" fmla="*/ 130455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52"/>
                  <a:gd name="T32" fmla="*/ 36 w 3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52">
                    <a:moveTo>
                      <a:pt x="36" y="15"/>
                    </a:moveTo>
                    <a:lnTo>
                      <a:pt x="22" y="29"/>
                    </a:lnTo>
                    <a:lnTo>
                      <a:pt x="10" y="41"/>
                    </a:lnTo>
                    <a:lnTo>
                      <a:pt x="0" y="52"/>
                    </a:lnTo>
                    <a:lnTo>
                      <a:pt x="1" y="48"/>
                    </a:lnTo>
                    <a:lnTo>
                      <a:pt x="12" y="35"/>
                    </a:lnTo>
                    <a:lnTo>
                      <a:pt x="23" y="20"/>
                    </a:lnTo>
                    <a:lnTo>
                      <a:pt x="29" y="9"/>
                    </a:lnTo>
                    <a:lnTo>
                      <a:pt x="30" y="0"/>
                    </a:lnTo>
                    <a:lnTo>
                      <a:pt x="36" y="1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4" name="Freeform 219">
                <a:extLst>
                  <a:ext uri="{FF2B5EF4-FFF2-40B4-BE49-F238E27FC236}">
                    <a16:creationId xmlns:a16="http://schemas.microsoft.com/office/drawing/2014/main" id="{44AFFDCC-6012-6FE0-B551-2B22F948E991}"/>
                  </a:ext>
                </a:extLst>
              </p:cNvPr>
              <p:cNvSpPr>
                <a:spLocks/>
              </p:cNvSpPr>
              <p:nvPr/>
            </p:nvSpPr>
            <p:spPr bwMode="auto">
              <a:xfrm>
                <a:off x="5134" y="2331"/>
                <a:ext cx="26" cy="29"/>
              </a:xfrm>
              <a:custGeom>
                <a:avLst/>
                <a:gdLst>
                  <a:gd name="T0" fmla="*/ 3915 w 22"/>
                  <a:gd name="T1" fmla="*/ 334617 h 21"/>
                  <a:gd name="T2" fmla="*/ 3118 w 22"/>
                  <a:gd name="T3" fmla="*/ 462090 h 21"/>
                  <a:gd name="T4" fmla="*/ 1598 w 22"/>
                  <a:gd name="T5" fmla="*/ 242309 h 21"/>
                  <a:gd name="T6" fmla="*/ 0 w 22"/>
                  <a:gd name="T7" fmla="*/ 0 h 21"/>
                  <a:gd name="T8" fmla="*/ 2803 w 22"/>
                  <a:gd name="T9" fmla="*/ 66628 h 21"/>
                  <a:gd name="T10" fmla="*/ 3915 w 22"/>
                  <a:gd name="T11" fmla="*/ 334617 h 21"/>
                  <a:gd name="T12" fmla="*/ 0 60000 65536"/>
                  <a:gd name="T13" fmla="*/ 0 60000 65536"/>
                  <a:gd name="T14" fmla="*/ 0 60000 65536"/>
                  <a:gd name="T15" fmla="*/ 0 60000 65536"/>
                  <a:gd name="T16" fmla="*/ 0 60000 65536"/>
                  <a:gd name="T17" fmla="*/ 0 60000 65536"/>
                  <a:gd name="T18" fmla="*/ 0 w 22"/>
                  <a:gd name="T19" fmla="*/ 0 h 21"/>
                  <a:gd name="T20" fmla="*/ 22 w 22"/>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2" h="21">
                    <a:moveTo>
                      <a:pt x="22" y="15"/>
                    </a:moveTo>
                    <a:lnTo>
                      <a:pt x="18" y="21"/>
                    </a:lnTo>
                    <a:lnTo>
                      <a:pt x="9" y="11"/>
                    </a:lnTo>
                    <a:lnTo>
                      <a:pt x="0" y="0"/>
                    </a:lnTo>
                    <a:lnTo>
                      <a:pt x="16" y="3"/>
                    </a:lnTo>
                    <a:lnTo>
                      <a:pt x="22" y="1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5" name="Freeform 220">
                <a:extLst>
                  <a:ext uri="{FF2B5EF4-FFF2-40B4-BE49-F238E27FC236}">
                    <a16:creationId xmlns:a16="http://schemas.microsoft.com/office/drawing/2014/main" id="{ACF0CB78-BE58-258F-7F4D-C4FC03E1AE3E}"/>
                  </a:ext>
                </a:extLst>
              </p:cNvPr>
              <p:cNvSpPr>
                <a:spLocks/>
              </p:cNvSpPr>
              <p:nvPr/>
            </p:nvSpPr>
            <p:spPr bwMode="auto">
              <a:xfrm>
                <a:off x="5218" y="2381"/>
                <a:ext cx="19" cy="36"/>
              </a:xfrm>
              <a:custGeom>
                <a:avLst/>
                <a:gdLst>
                  <a:gd name="T0" fmla="*/ 2002 w 16"/>
                  <a:gd name="T1" fmla="*/ 379925 h 25"/>
                  <a:gd name="T2" fmla="*/ 3305 w 16"/>
                  <a:gd name="T3" fmla="*/ 1794473 h 25"/>
                  <a:gd name="T4" fmla="*/ 2231 w 16"/>
                  <a:gd name="T5" fmla="*/ 1876882 h 25"/>
                  <a:gd name="T6" fmla="*/ 2002 w 16"/>
                  <a:gd name="T7" fmla="*/ 2048533 h 25"/>
                  <a:gd name="T8" fmla="*/ 714 w 16"/>
                  <a:gd name="T9" fmla="*/ 787813 h 25"/>
                  <a:gd name="T10" fmla="*/ 0 w 16"/>
                  <a:gd name="T11" fmla="*/ 0 h 25"/>
                  <a:gd name="T12" fmla="*/ 2002 w 16"/>
                  <a:gd name="T13" fmla="*/ 379925 h 25"/>
                  <a:gd name="T14" fmla="*/ 0 60000 65536"/>
                  <a:gd name="T15" fmla="*/ 0 60000 65536"/>
                  <a:gd name="T16" fmla="*/ 0 60000 65536"/>
                  <a:gd name="T17" fmla="*/ 0 60000 65536"/>
                  <a:gd name="T18" fmla="*/ 0 60000 65536"/>
                  <a:gd name="T19" fmla="*/ 0 60000 65536"/>
                  <a:gd name="T20" fmla="*/ 0 60000 65536"/>
                  <a:gd name="T21" fmla="*/ 0 w 16"/>
                  <a:gd name="T22" fmla="*/ 0 h 25"/>
                  <a:gd name="T23" fmla="*/ 16 w 1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5">
                    <a:moveTo>
                      <a:pt x="10" y="5"/>
                    </a:moveTo>
                    <a:lnTo>
                      <a:pt x="16" y="22"/>
                    </a:lnTo>
                    <a:lnTo>
                      <a:pt x="11" y="23"/>
                    </a:lnTo>
                    <a:lnTo>
                      <a:pt x="10" y="25"/>
                    </a:lnTo>
                    <a:lnTo>
                      <a:pt x="3" y="10"/>
                    </a:lnTo>
                    <a:lnTo>
                      <a:pt x="0" y="0"/>
                    </a:lnTo>
                    <a:lnTo>
                      <a:pt x="10" y="5"/>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6" name="Freeform 221">
                <a:extLst>
                  <a:ext uri="{FF2B5EF4-FFF2-40B4-BE49-F238E27FC236}">
                    <a16:creationId xmlns:a16="http://schemas.microsoft.com/office/drawing/2014/main" id="{CF17F06E-8F70-1B5D-B370-3113727E4539}"/>
                  </a:ext>
                </a:extLst>
              </p:cNvPr>
              <p:cNvSpPr>
                <a:spLocks/>
              </p:cNvSpPr>
              <p:nvPr/>
            </p:nvSpPr>
            <p:spPr bwMode="auto">
              <a:xfrm>
                <a:off x="5192" y="2356"/>
                <a:ext cx="17" cy="19"/>
              </a:xfrm>
              <a:custGeom>
                <a:avLst/>
                <a:gdLst>
                  <a:gd name="T0" fmla="*/ 719 w 15"/>
                  <a:gd name="T1" fmla="*/ 1702985 h 13"/>
                  <a:gd name="T2" fmla="*/ 3 w 15"/>
                  <a:gd name="T3" fmla="*/ 913970 h 13"/>
                  <a:gd name="T4" fmla="*/ 0 w 15"/>
                  <a:gd name="T5" fmla="*/ 1081603 h 13"/>
                  <a:gd name="T6" fmla="*/ 2 w 15"/>
                  <a:gd name="T7" fmla="*/ 0 h 13"/>
                  <a:gd name="T8" fmla="*/ 719 w 15"/>
                  <a:gd name="T9" fmla="*/ 1408577 h 13"/>
                  <a:gd name="T10" fmla="*/ 719 w 15"/>
                  <a:gd name="T11" fmla="*/ 1702985 h 13"/>
                  <a:gd name="T12" fmla="*/ 0 60000 65536"/>
                  <a:gd name="T13" fmla="*/ 0 60000 65536"/>
                  <a:gd name="T14" fmla="*/ 0 60000 65536"/>
                  <a:gd name="T15" fmla="*/ 0 60000 65536"/>
                  <a:gd name="T16" fmla="*/ 0 60000 65536"/>
                  <a:gd name="T17" fmla="*/ 0 60000 65536"/>
                  <a:gd name="T18" fmla="*/ 0 w 15"/>
                  <a:gd name="T19" fmla="*/ 0 h 13"/>
                  <a:gd name="T20" fmla="*/ 15 w 15"/>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 h="13">
                    <a:moveTo>
                      <a:pt x="15" y="13"/>
                    </a:moveTo>
                    <a:lnTo>
                      <a:pt x="3" y="7"/>
                    </a:lnTo>
                    <a:lnTo>
                      <a:pt x="0" y="8"/>
                    </a:lnTo>
                    <a:lnTo>
                      <a:pt x="2" y="0"/>
                    </a:lnTo>
                    <a:lnTo>
                      <a:pt x="15" y="11"/>
                    </a:lnTo>
                    <a:lnTo>
                      <a:pt x="15" y="1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7" name="Freeform 222">
                <a:extLst>
                  <a:ext uri="{FF2B5EF4-FFF2-40B4-BE49-F238E27FC236}">
                    <a16:creationId xmlns:a16="http://schemas.microsoft.com/office/drawing/2014/main" id="{2B9837D8-9205-1D63-825E-EF4170189840}"/>
                  </a:ext>
                </a:extLst>
              </p:cNvPr>
              <p:cNvSpPr>
                <a:spLocks/>
              </p:cNvSpPr>
              <p:nvPr/>
            </p:nvSpPr>
            <p:spPr bwMode="auto">
              <a:xfrm>
                <a:off x="5209" y="2417"/>
                <a:ext cx="16" cy="9"/>
              </a:xfrm>
              <a:custGeom>
                <a:avLst/>
                <a:gdLst>
                  <a:gd name="T0" fmla="*/ 8391 w 13"/>
                  <a:gd name="T1" fmla="*/ 14876 h 7"/>
                  <a:gd name="T2" fmla="*/ 6012 w 13"/>
                  <a:gd name="T3" fmla="*/ 0 h 7"/>
                  <a:gd name="T4" fmla="*/ 0 w 13"/>
                  <a:gd name="T5" fmla="*/ 16552 h 7"/>
                  <a:gd name="T6" fmla="*/ 8391 w 13"/>
                  <a:gd name="T7" fmla="*/ 14876 h 7"/>
                  <a:gd name="T8" fmla="*/ 0 60000 65536"/>
                  <a:gd name="T9" fmla="*/ 0 60000 65536"/>
                  <a:gd name="T10" fmla="*/ 0 60000 65536"/>
                  <a:gd name="T11" fmla="*/ 0 60000 65536"/>
                  <a:gd name="T12" fmla="*/ 0 w 13"/>
                  <a:gd name="T13" fmla="*/ 0 h 7"/>
                  <a:gd name="T14" fmla="*/ 13 w 13"/>
                  <a:gd name="T15" fmla="*/ 7 h 7"/>
                </a:gdLst>
                <a:ahLst/>
                <a:cxnLst>
                  <a:cxn ang="T8">
                    <a:pos x="T0" y="T1"/>
                  </a:cxn>
                  <a:cxn ang="T9">
                    <a:pos x="T2" y="T3"/>
                  </a:cxn>
                  <a:cxn ang="T10">
                    <a:pos x="T4" y="T5"/>
                  </a:cxn>
                  <a:cxn ang="T11">
                    <a:pos x="T6" y="T7"/>
                  </a:cxn>
                </a:cxnLst>
                <a:rect l="T12" t="T13" r="T14" b="T15"/>
                <a:pathLst>
                  <a:path w="13" h="7">
                    <a:moveTo>
                      <a:pt x="13" y="6"/>
                    </a:moveTo>
                    <a:lnTo>
                      <a:pt x="10" y="0"/>
                    </a:lnTo>
                    <a:lnTo>
                      <a:pt x="0" y="7"/>
                    </a:lnTo>
                    <a:lnTo>
                      <a:pt x="13"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8" name="Freeform 223">
                <a:extLst>
                  <a:ext uri="{FF2B5EF4-FFF2-40B4-BE49-F238E27FC236}">
                    <a16:creationId xmlns:a16="http://schemas.microsoft.com/office/drawing/2014/main" id="{9EDC652E-ED8C-96C4-4684-95AE765D9F00}"/>
                  </a:ext>
                </a:extLst>
              </p:cNvPr>
              <p:cNvSpPr>
                <a:spLocks/>
              </p:cNvSpPr>
              <p:nvPr/>
            </p:nvSpPr>
            <p:spPr bwMode="auto">
              <a:xfrm>
                <a:off x="5201" y="2387"/>
                <a:ext cx="10" cy="48"/>
              </a:xfrm>
              <a:custGeom>
                <a:avLst/>
                <a:gdLst>
                  <a:gd name="T0" fmla="*/ 224 w 9"/>
                  <a:gd name="T1" fmla="*/ 0 h 33"/>
                  <a:gd name="T2" fmla="*/ 224 w 9"/>
                  <a:gd name="T3" fmla="*/ 889308 h 33"/>
                  <a:gd name="T4" fmla="*/ 148 w 9"/>
                  <a:gd name="T5" fmla="*/ 2193179 h 33"/>
                  <a:gd name="T6" fmla="*/ 0 w 9"/>
                  <a:gd name="T7" fmla="*/ 3661498 h 33"/>
                  <a:gd name="T8" fmla="*/ 148 w 9"/>
                  <a:gd name="T9" fmla="*/ 1730631 h 33"/>
                  <a:gd name="T10" fmla="*/ 224 w 9"/>
                  <a:gd name="T11" fmla="*/ 0 h 33"/>
                  <a:gd name="T12" fmla="*/ 0 60000 65536"/>
                  <a:gd name="T13" fmla="*/ 0 60000 65536"/>
                  <a:gd name="T14" fmla="*/ 0 60000 65536"/>
                  <a:gd name="T15" fmla="*/ 0 60000 65536"/>
                  <a:gd name="T16" fmla="*/ 0 60000 65536"/>
                  <a:gd name="T17" fmla="*/ 0 60000 65536"/>
                  <a:gd name="T18" fmla="*/ 0 w 9"/>
                  <a:gd name="T19" fmla="*/ 0 h 33"/>
                  <a:gd name="T20" fmla="*/ 9 w 9"/>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9" h="33">
                    <a:moveTo>
                      <a:pt x="9" y="0"/>
                    </a:moveTo>
                    <a:lnTo>
                      <a:pt x="9" y="8"/>
                    </a:lnTo>
                    <a:lnTo>
                      <a:pt x="5" y="20"/>
                    </a:lnTo>
                    <a:lnTo>
                      <a:pt x="0" y="33"/>
                    </a:lnTo>
                    <a:lnTo>
                      <a:pt x="5" y="16"/>
                    </a:lnTo>
                    <a:lnTo>
                      <a:pt x="9" y="0"/>
                    </a:lnTo>
                    <a:close/>
                  </a:path>
                </a:pathLst>
              </a:custGeom>
              <a:solidFill>
                <a:srgbClr val="FBBF69"/>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09" name="Freeform 224">
                <a:extLst>
                  <a:ext uri="{FF2B5EF4-FFF2-40B4-BE49-F238E27FC236}">
                    <a16:creationId xmlns:a16="http://schemas.microsoft.com/office/drawing/2014/main" id="{526C6DDE-C049-1A2E-3F3B-7A8A58B991EF}"/>
                  </a:ext>
                </a:extLst>
              </p:cNvPr>
              <p:cNvSpPr>
                <a:spLocks/>
              </p:cNvSpPr>
              <p:nvPr/>
            </p:nvSpPr>
            <p:spPr bwMode="auto">
              <a:xfrm>
                <a:off x="4687" y="2154"/>
                <a:ext cx="166" cy="374"/>
              </a:xfrm>
              <a:custGeom>
                <a:avLst/>
                <a:gdLst>
                  <a:gd name="T0" fmla="*/ 13827 w 138"/>
                  <a:gd name="T1" fmla="*/ 13011806 h 261"/>
                  <a:gd name="T2" fmla="*/ 16447 w 138"/>
                  <a:gd name="T3" fmla="*/ 10765294 h 261"/>
                  <a:gd name="T4" fmla="*/ 16632 w 138"/>
                  <a:gd name="T5" fmla="*/ 8695341 h 261"/>
                  <a:gd name="T6" fmla="*/ 20998 w 138"/>
                  <a:gd name="T7" fmla="*/ 9404823 h 261"/>
                  <a:gd name="T8" fmla="*/ 29366 w 138"/>
                  <a:gd name="T9" fmla="*/ 10337920 h 261"/>
                  <a:gd name="T10" fmla="*/ 29366 w 138"/>
                  <a:gd name="T11" fmla="*/ 9799022 h 261"/>
                  <a:gd name="T12" fmla="*/ 30460 w 138"/>
                  <a:gd name="T13" fmla="*/ 7435263 h 261"/>
                  <a:gd name="T14" fmla="*/ 41027 w 138"/>
                  <a:gd name="T15" fmla="*/ 7435263 h 261"/>
                  <a:gd name="T16" fmla="*/ 41027 w 138"/>
                  <a:gd name="T17" fmla="*/ 5641274 h 261"/>
                  <a:gd name="T18" fmla="*/ 36278 w 138"/>
                  <a:gd name="T19" fmla="*/ 3386823 h 261"/>
                  <a:gd name="T20" fmla="*/ 27544 w 138"/>
                  <a:gd name="T21" fmla="*/ 2719315 h 261"/>
                  <a:gd name="T22" fmla="*/ 22700 w 138"/>
                  <a:gd name="T23" fmla="*/ 2719315 h 261"/>
                  <a:gd name="T24" fmla="*/ 18591 w 138"/>
                  <a:gd name="T25" fmla="*/ 2245724 h 261"/>
                  <a:gd name="T26" fmla="*/ 14548 w 138"/>
                  <a:gd name="T27" fmla="*/ 924201 h 261"/>
                  <a:gd name="T28" fmla="*/ 11515 w 138"/>
                  <a:gd name="T29" fmla="*/ 0 h 261"/>
                  <a:gd name="T30" fmla="*/ 7140 w 138"/>
                  <a:gd name="T31" fmla="*/ 644964 h 261"/>
                  <a:gd name="T32" fmla="*/ 1413 w 138"/>
                  <a:gd name="T33" fmla="*/ 2245724 h 261"/>
                  <a:gd name="T34" fmla="*/ 4103 w 138"/>
                  <a:gd name="T35" fmla="*/ 3550750 h 261"/>
                  <a:gd name="T36" fmla="*/ 9556 w 138"/>
                  <a:gd name="T37" fmla="*/ 4933552 h 261"/>
                  <a:gd name="T38" fmla="*/ 7658 w 138"/>
                  <a:gd name="T39" fmla="*/ 6283699 h 261"/>
                  <a:gd name="T40" fmla="*/ 9573 w 138"/>
                  <a:gd name="T41" fmla="*/ 7760021 h 261"/>
                  <a:gd name="T42" fmla="*/ 13827 w 138"/>
                  <a:gd name="T43" fmla="*/ 9635637 h 261"/>
                  <a:gd name="T44" fmla="*/ 13673 w 138"/>
                  <a:gd name="T45" fmla="*/ 11605948 h 261"/>
                  <a:gd name="T46" fmla="*/ 11515 w 138"/>
                  <a:gd name="T47" fmla="*/ 12599919 h 261"/>
                  <a:gd name="T48" fmla="*/ 10332 w 138"/>
                  <a:gd name="T49" fmla="*/ 15191242 h 261"/>
                  <a:gd name="T50" fmla="*/ 13827 w 138"/>
                  <a:gd name="T51" fmla="*/ 15658292 h 261"/>
                  <a:gd name="T52" fmla="*/ 17500 w 138"/>
                  <a:gd name="T53" fmla="*/ 16598548 h 261"/>
                  <a:gd name="T54" fmla="*/ 20041 w 138"/>
                  <a:gd name="T55" fmla="*/ 17218935 h 261"/>
                  <a:gd name="T56" fmla="*/ 24107 w 138"/>
                  <a:gd name="T57" fmla="*/ 18200471 h 261"/>
                  <a:gd name="T58" fmla="*/ 29366 w 138"/>
                  <a:gd name="T59" fmla="*/ 17646745 h 261"/>
                  <a:gd name="T60" fmla="*/ 23199 w 138"/>
                  <a:gd name="T61" fmla="*/ 16725977 h 261"/>
                  <a:gd name="T62" fmla="*/ 19286 w 138"/>
                  <a:gd name="T63" fmla="*/ 15191242 h 261"/>
                  <a:gd name="T64" fmla="*/ 15455 w 138"/>
                  <a:gd name="T65" fmla="*/ 13852099 h 2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61"/>
                  <a:gd name="T101" fmla="*/ 138 w 138"/>
                  <a:gd name="T102" fmla="*/ 261 h 2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61">
                    <a:moveTo>
                      <a:pt x="50" y="199"/>
                    </a:moveTo>
                    <a:lnTo>
                      <a:pt x="45" y="186"/>
                    </a:lnTo>
                    <a:lnTo>
                      <a:pt x="50" y="170"/>
                    </a:lnTo>
                    <a:lnTo>
                      <a:pt x="53" y="154"/>
                    </a:lnTo>
                    <a:lnTo>
                      <a:pt x="54" y="139"/>
                    </a:lnTo>
                    <a:lnTo>
                      <a:pt x="54" y="125"/>
                    </a:lnTo>
                    <a:lnTo>
                      <a:pt x="67" y="123"/>
                    </a:lnTo>
                    <a:lnTo>
                      <a:pt x="68" y="135"/>
                    </a:lnTo>
                    <a:lnTo>
                      <a:pt x="80" y="138"/>
                    </a:lnTo>
                    <a:lnTo>
                      <a:pt x="96" y="148"/>
                    </a:lnTo>
                    <a:lnTo>
                      <a:pt x="102" y="155"/>
                    </a:lnTo>
                    <a:lnTo>
                      <a:pt x="96" y="141"/>
                    </a:lnTo>
                    <a:lnTo>
                      <a:pt x="90" y="126"/>
                    </a:lnTo>
                    <a:lnTo>
                      <a:pt x="100" y="107"/>
                    </a:lnTo>
                    <a:lnTo>
                      <a:pt x="116" y="107"/>
                    </a:lnTo>
                    <a:lnTo>
                      <a:pt x="134" y="107"/>
                    </a:lnTo>
                    <a:lnTo>
                      <a:pt x="138" y="97"/>
                    </a:lnTo>
                    <a:lnTo>
                      <a:pt x="134" y="81"/>
                    </a:lnTo>
                    <a:lnTo>
                      <a:pt x="121" y="64"/>
                    </a:lnTo>
                    <a:lnTo>
                      <a:pt x="118" y="49"/>
                    </a:lnTo>
                    <a:lnTo>
                      <a:pt x="99" y="35"/>
                    </a:lnTo>
                    <a:lnTo>
                      <a:pt x="90" y="39"/>
                    </a:lnTo>
                    <a:lnTo>
                      <a:pt x="84" y="42"/>
                    </a:lnTo>
                    <a:lnTo>
                      <a:pt x="74" y="39"/>
                    </a:lnTo>
                    <a:lnTo>
                      <a:pt x="60" y="49"/>
                    </a:lnTo>
                    <a:lnTo>
                      <a:pt x="60" y="32"/>
                    </a:lnTo>
                    <a:lnTo>
                      <a:pt x="58" y="13"/>
                    </a:lnTo>
                    <a:lnTo>
                      <a:pt x="47" y="13"/>
                    </a:lnTo>
                    <a:lnTo>
                      <a:pt x="44" y="1"/>
                    </a:lnTo>
                    <a:lnTo>
                      <a:pt x="38" y="0"/>
                    </a:lnTo>
                    <a:lnTo>
                      <a:pt x="31" y="1"/>
                    </a:lnTo>
                    <a:lnTo>
                      <a:pt x="23" y="9"/>
                    </a:lnTo>
                    <a:lnTo>
                      <a:pt x="7" y="13"/>
                    </a:lnTo>
                    <a:lnTo>
                      <a:pt x="5" y="32"/>
                    </a:lnTo>
                    <a:lnTo>
                      <a:pt x="0" y="32"/>
                    </a:lnTo>
                    <a:lnTo>
                      <a:pt x="13" y="51"/>
                    </a:lnTo>
                    <a:lnTo>
                      <a:pt x="26" y="71"/>
                    </a:lnTo>
                    <a:lnTo>
                      <a:pt x="31" y="71"/>
                    </a:lnTo>
                    <a:lnTo>
                      <a:pt x="26" y="83"/>
                    </a:lnTo>
                    <a:lnTo>
                      <a:pt x="25" y="90"/>
                    </a:lnTo>
                    <a:lnTo>
                      <a:pt x="25" y="100"/>
                    </a:lnTo>
                    <a:lnTo>
                      <a:pt x="32" y="112"/>
                    </a:lnTo>
                    <a:lnTo>
                      <a:pt x="41" y="123"/>
                    </a:lnTo>
                    <a:lnTo>
                      <a:pt x="45" y="138"/>
                    </a:lnTo>
                    <a:lnTo>
                      <a:pt x="50" y="155"/>
                    </a:lnTo>
                    <a:lnTo>
                      <a:pt x="44" y="167"/>
                    </a:lnTo>
                    <a:lnTo>
                      <a:pt x="39" y="179"/>
                    </a:lnTo>
                    <a:lnTo>
                      <a:pt x="38" y="181"/>
                    </a:lnTo>
                    <a:lnTo>
                      <a:pt x="37" y="199"/>
                    </a:lnTo>
                    <a:lnTo>
                      <a:pt x="34" y="218"/>
                    </a:lnTo>
                    <a:lnTo>
                      <a:pt x="37" y="215"/>
                    </a:lnTo>
                    <a:lnTo>
                      <a:pt x="45" y="225"/>
                    </a:lnTo>
                    <a:lnTo>
                      <a:pt x="54" y="234"/>
                    </a:lnTo>
                    <a:lnTo>
                      <a:pt x="57" y="238"/>
                    </a:lnTo>
                    <a:lnTo>
                      <a:pt x="66" y="250"/>
                    </a:lnTo>
                    <a:lnTo>
                      <a:pt x="66" y="247"/>
                    </a:lnTo>
                    <a:lnTo>
                      <a:pt x="79" y="253"/>
                    </a:lnTo>
                    <a:lnTo>
                      <a:pt x="79" y="261"/>
                    </a:lnTo>
                    <a:lnTo>
                      <a:pt x="90" y="260"/>
                    </a:lnTo>
                    <a:lnTo>
                      <a:pt x="96" y="253"/>
                    </a:lnTo>
                    <a:lnTo>
                      <a:pt x="87" y="242"/>
                    </a:lnTo>
                    <a:lnTo>
                      <a:pt x="76" y="240"/>
                    </a:lnTo>
                    <a:lnTo>
                      <a:pt x="67" y="229"/>
                    </a:lnTo>
                    <a:lnTo>
                      <a:pt x="63" y="218"/>
                    </a:lnTo>
                    <a:lnTo>
                      <a:pt x="58" y="200"/>
                    </a:lnTo>
                    <a:lnTo>
                      <a:pt x="50" y="19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10" name="Freeform 225">
                <a:extLst>
                  <a:ext uri="{FF2B5EF4-FFF2-40B4-BE49-F238E27FC236}">
                    <a16:creationId xmlns:a16="http://schemas.microsoft.com/office/drawing/2014/main" id="{70AAF215-5A4D-18C2-040F-7498F48A9CF1}"/>
                  </a:ext>
                </a:extLst>
              </p:cNvPr>
              <p:cNvSpPr>
                <a:spLocks/>
              </p:cNvSpPr>
              <p:nvPr/>
            </p:nvSpPr>
            <p:spPr bwMode="auto">
              <a:xfrm>
                <a:off x="4764" y="2079"/>
                <a:ext cx="166" cy="374"/>
              </a:xfrm>
              <a:custGeom>
                <a:avLst/>
                <a:gdLst>
                  <a:gd name="T0" fmla="*/ 13673 w 138"/>
                  <a:gd name="T1" fmla="*/ 3386823 h 261"/>
                  <a:gd name="T2" fmla="*/ 7944 w 138"/>
                  <a:gd name="T3" fmla="*/ 3123121 h 261"/>
                  <a:gd name="T4" fmla="*/ 4103 w 138"/>
                  <a:gd name="T5" fmla="*/ 1897704 h 261"/>
                  <a:gd name="T6" fmla="*/ 1175 w 138"/>
                  <a:gd name="T7" fmla="*/ 689193 h 261"/>
                  <a:gd name="T8" fmla="*/ 4935 w 138"/>
                  <a:gd name="T9" fmla="*/ 689193 h 261"/>
                  <a:gd name="T10" fmla="*/ 7944 w 138"/>
                  <a:gd name="T11" fmla="*/ 776718 h 261"/>
                  <a:gd name="T12" fmla="*/ 10332 w 138"/>
                  <a:gd name="T13" fmla="*/ 689193 h 261"/>
                  <a:gd name="T14" fmla="*/ 15455 w 138"/>
                  <a:gd name="T15" fmla="*/ 0 h 261"/>
                  <a:gd name="T16" fmla="*/ 21632 w 138"/>
                  <a:gd name="T17" fmla="*/ 1258130 h 261"/>
                  <a:gd name="T18" fmla="*/ 28627 w 138"/>
                  <a:gd name="T19" fmla="*/ 2104324 h 261"/>
                  <a:gd name="T20" fmla="*/ 23798 w 138"/>
                  <a:gd name="T21" fmla="*/ 2791776 h 261"/>
                  <a:gd name="T22" fmla="*/ 21632 w 138"/>
                  <a:gd name="T23" fmla="*/ 4048843 h 261"/>
                  <a:gd name="T24" fmla="*/ 23199 w 138"/>
                  <a:gd name="T25" fmla="*/ 6283699 h 261"/>
                  <a:gd name="T26" fmla="*/ 27544 w 138"/>
                  <a:gd name="T27" fmla="*/ 7601170 h 261"/>
                  <a:gd name="T28" fmla="*/ 34823 w 138"/>
                  <a:gd name="T29" fmla="*/ 9004222 h 261"/>
                  <a:gd name="T30" fmla="*/ 40379 w 138"/>
                  <a:gd name="T31" fmla="*/ 11465238 h 261"/>
                  <a:gd name="T32" fmla="*/ 41960 w 138"/>
                  <a:gd name="T33" fmla="*/ 13506449 h 261"/>
                  <a:gd name="T34" fmla="*/ 41422 w 138"/>
                  <a:gd name="T35" fmla="*/ 14516186 h 261"/>
                  <a:gd name="T36" fmla="*/ 34823 w 138"/>
                  <a:gd name="T37" fmla="*/ 15917576 h 261"/>
                  <a:gd name="T38" fmla="*/ 31301 w 138"/>
                  <a:gd name="T39" fmla="*/ 16083030 h 261"/>
                  <a:gd name="T40" fmla="*/ 30383 w 138"/>
                  <a:gd name="T41" fmla="*/ 16598548 h 261"/>
                  <a:gd name="T42" fmla="*/ 28627 w 138"/>
                  <a:gd name="T43" fmla="*/ 17070837 h 261"/>
                  <a:gd name="T44" fmla="*/ 22577 w 138"/>
                  <a:gd name="T45" fmla="*/ 18200471 h 261"/>
                  <a:gd name="T46" fmla="*/ 19784 w 138"/>
                  <a:gd name="T47" fmla="*/ 15934003 h 261"/>
                  <a:gd name="T48" fmla="*/ 24107 w 138"/>
                  <a:gd name="T49" fmla="*/ 15309891 h 261"/>
                  <a:gd name="T50" fmla="*/ 26242 w 138"/>
                  <a:gd name="T51" fmla="*/ 14516186 h 261"/>
                  <a:gd name="T52" fmla="*/ 33133 w 138"/>
                  <a:gd name="T53" fmla="*/ 13718193 h 261"/>
                  <a:gd name="T54" fmla="*/ 32668 w 138"/>
                  <a:gd name="T55" fmla="*/ 11880358 h 261"/>
                  <a:gd name="T56" fmla="*/ 31566 w 138"/>
                  <a:gd name="T57" fmla="*/ 9666847 h 261"/>
                  <a:gd name="T58" fmla="*/ 30383 w 138"/>
                  <a:gd name="T59" fmla="*/ 9004222 h 261"/>
                  <a:gd name="T60" fmla="*/ 24107 w 138"/>
                  <a:gd name="T61" fmla="*/ 7435263 h 261"/>
                  <a:gd name="T62" fmla="*/ 17852 w 138"/>
                  <a:gd name="T63" fmla="*/ 5732482 h 261"/>
                  <a:gd name="T64" fmla="*/ 12428 w 138"/>
                  <a:gd name="T65" fmla="*/ 4385151 h 261"/>
                  <a:gd name="T66" fmla="*/ 14841 w 138"/>
                  <a:gd name="T67" fmla="*/ 3701846 h 2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8"/>
                  <a:gd name="T103" fmla="*/ 0 h 261"/>
                  <a:gd name="T104" fmla="*/ 138 w 138"/>
                  <a:gd name="T105" fmla="*/ 261 h 2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8" h="261">
                    <a:moveTo>
                      <a:pt x="48" y="53"/>
                    </a:moveTo>
                    <a:lnTo>
                      <a:pt x="44" y="49"/>
                    </a:lnTo>
                    <a:lnTo>
                      <a:pt x="35" y="40"/>
                    </a:lnTo>
                    <a:lnTo>
                      <a:pt x="26" y="45"/>
                    </a:lnTo>
                    <a:lnTo>
                      <a:pt x="16" y="34"/>
                    </a:lnTo>
                    <a:lnTo>
                      <a:pt x="13" y="27"/>
                    </a:lnTo>
                    <a:lnTo>
                      <a:pt x="0" y="14"/>
                    </a:lnTo>
                    <a:lnTo>
                      <a:pt x="4" y="10"/>
                    </a:lnTo>
                    <a:lnTo>
                      <a:pt x="13" y="13"/>
                    </a:lnTo>
                    <a:lnTo>
                      <a:pt x="16" y="10"/>
                    </a:lnTo>
                    <a:lnTo>
                      <a:pt x="22" y="10"/>
                    </a:lnTo>
                    <a:lnTo>
                      <a:pt x="26" y="11"/>
                    </a:lnTo>
                    <a:lnTo>
                      <a:pt x="29" y="10"/>
                    </a:lnTo>
                    <a:lnTo>
                      <a:pt x="34" y="10"/>
                    </a:lnTo>
                    <a:lnTo>
                      <a:pt x="44" y="0"/>
                    </a:lnTo>
                    <a:lnTo>
                      <a:pt x="50" y="0"/>
                    </a:lnTo>
                    <a:lnTo>
                      <a:pt x="68" y="7"/>
                    </a:lnTo>
                    <a:lnTo>
                      <a:pt x="71" y="18"/>
                    </a:lnTo>
                    <a:lnTo>
                      <a:pt x="79" y="24"/>
                    </a:lnTo>
                    <a:lnTo>
                      <a:pt x="93" y="30"/>
                    </a:lnTo>
                    <a:lnTo>
                      <a:pt x="84" y="36"/>
                    </a:lnTo>
                    <a:lnTo>
                      <a:pt x="77" y="40"/>
                    </a:lnTo>
                    <a:lnTo>
                      <a:pt x="77" y="43"/>
                    </a:lnTo>
                    <a:lnTo>
                      <a:pt x="71" y="58"/>
                    </a:lnTo>
                    <a:lnTo>
                      <a:pt x="66" y="74"/>
                    </a:lnTo>
                    <a:lnTo>
                      <a:pt x="76" y="90"/>
                    </a:lnTo>
                    <a:lnTo>
                      <a:pt x="80" y="98"/>
                    </a:lnTo>
                    <a:lnTo>
                      <a:pt x="90" y="109"/>
                    </a:lnTo>
                    <a:lnTo>
                      <a:pt x="100" y="119"/>
                    </a:lnTo>
                    <a:lnTo>
                      <a:pt x="113" y="129"/>
                    </a:lnTo>
                    <a:lnTo>
                      <a:pt x="124" y="140"/>
                    </a:lnTo>
                    <a:lnTo>
                      <a:pt x="131" y="165"/>
                    </a:lnTo>
                    <a:lnTo>
                      <a:pt x="138" y="188"/>
                    </a:lnTo>
                    <a:lnTo>
                      <a:pt x="137" y="194"/>
                    </a:lnTo>
                    <a:lnTo>
                      <a:pt x="137" y="201"/>
                    </a:lnTo>
                    <a:lnTo>
                      <a:pt x="135" y="209"/>
                    </a:lnTo>
                    <a:lnTo>
                      <a:pt x="124" y="219"/>
                    </a:lnTo>
                    <a:lnTo>
                      <a:pt x="113" y="228"/>
                    </a:lnTo>
                    <a:lnTo>
                      <a:pt x="102" y="226"/>
                    </a:lnTo>
                    <a:lnTo>
                      <a:pt x="102" y="231"/>
                    </a:lnTo>
                    <a:lnTo>
                      <a:pt x="102" y="235"/>
                    </a:lnTo>
                    <a:lnTo>
                      <a:pt x="99" y="238"/>
                    </a:lnTo>
                    <a:lnTo>
                      <a:pt x="99" y="245"/>
                    </a:lnTo>
                    <a:lnTo>
                      <a:pt x="93" y="245"/>
                    </a:lnTo>
                    <a:lnTo>
                      <a:pt x="81" y="258"/>
                    </a:lnTo>
                    <a:lnTo>
                      <a:pt x="73" y="261"/>
                    </a:lnTo>
                    <a:lnTo>
                      <a:pt x="74" y="239"/>
                    </a:lnTo>
                    <a:lnTo>
                      <a:pt x="64" y="229"/>
                    </a:lnTo>
                    <a:lnTo>
                      <a:pt x="74" y="223"/>
                    </a:lnTo>
                    <a:lnTo>
                      <a:pt x="79" y="220"/>
                    </a:lnTo>
                    <a:lnTo>
                      <a:pt x="90" y="223"/>
                    </a:lnTo>
                    <a:lnTo>
                      <a:pt x="86" y="209"/>
                    </a:lnTo>
                    <a:lnTo>
                      <a:pt x="93" y="204"/>
                    </a:lnTo>
                    <a:lnTo>
                      <a:pt x="108" y="197"/>
                    </a:lnTo>
                    <a:lnTo>
                      <a:pt x="108" y="183"/>
                    </a:lnTo>
                    <a:lnTo>
                      <a:pt x="106" y="170"/>
                    </a:lnTo>
                    <a:lnTo>
                      <a:pt x="106" y="152"/>
                    </a:lnTo>
                    <a:lnTo>
                      <a:pt x="103" y="139"/>
                    </a:lnTo>
                    <a:lnTo>
                      <a:pt x="99" y="132"/>
                    </a:lnTo>
                    <a:lnTo>
                      <a:pt x="99" y="129"/>
                    </a:lnTo>
                    <a:lnTo>
                      <a:pt x="86" y="117"/>
                    </a:lnTo>
                    <a:lnTo>
                      <a:pt x="79" y="107"/>
                    </a:lnTo>
                    <a:lnTo>
                      <a:pt x="68" y="95"/>
                    </a:lnTo>
                    <a:lnTo>
                      <a:pt x="58" y="82"/>
                    </a:lnTo>
                    <a:lnTo>
                      <a:pt x="38" y="68"/>
                    </a:lnTo>
                    <a:lnTo>
                      <a:pt x="41" y="63"/>
                    </a:lnTo>
                    <a:lnTo>
                      <a:pt x="50" y="61"/>
                    </a:lnTo>
                    <a:lnTo>
                      <a:pt x="48" y="5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11" name="Freeform 226">
                <a:extLst>
                  <a:ext uri="{FF2B5EF4-FFF2-40B4-BE49-F238E27FC236}">
                    <a16:creationId xmlns:a16="http://schemas.microsoft.com/office/drawing/2014/main" id="{B8253D1E-46CD-3BDE-1041-777C8EE43157}"/>
                  </a:ext>
                </a:extLst>
              </p:cNvPr>
              <p:cNvSpPr>
                <a:spLocks/>
              </p:cNvSpPr>
              <p:nvPr/>
            </p:nvSpPr>
            <p:spPr bwMode="auto">
              <a:xfrm>
                <a:off x="4333" y="1892"/>
                <a:ext cx="156" cy="102"/>
              </a:xfrm>
              <a:custGeom>
                <a:avLst/>
                <a:gdLst>
                  <a:gd name="T0" fmla="*/ 21174 w 130"/>
                  <a:gd name="T1" fmla="*/ 4323285 h 71"/>
                  <a:gd name="T2" fmla="*/ 15552 w 130"/>
                  <a:gd name="T3" fmla="*/ 4091277 h 71"/>
                  <a:gd name="T4" fmla="*/ 11550 w 130"/>
                  <a:gd name="T5" fmla="*/ 3773721 h 71"/>
                  <a:gd name="T6" fmla="*/ 5909 w 130"/>
                  <a:gd name="T7" fmla="*/ 3102412 h 71"/>
                  <a:gd name="T8" fmla="*/ 0 w 130"/>
                  <a:gd name="T9" fmla="*/ 2379510 h 71"/>
                  <a:gd name="T10" fmla="*/ 0 w 130"/>
                  <a:gd name="T11" fmla="*/ 1412754 h 71"/>
                  <a:gd name="T12" fmla="*/ 2687 w 130"/>
                  <a:gd name="T13" fmla="*/ 359526 h 71"/>
                  <a:gd name="T14" fmla="*/ 2759 w 130"/>
                  <a:gd name="T15" fmla="*/ 476476 h 71"/>
                  <a:gd name="T16" fmla="*/ 4643 w 130"/>
                  <a:gd name="T17" fmla="*/ 0 h 71"/>
                  <a:gd name="T18" fmla="*/ 8239 w 130"/>
                  <a:gd name="T19" fmla="*/ 587860 h 71"/>
                  <a:gd name="T20" fmla="*/ 14237 w 130"/>
                  <a:gd name="T21" fmla="*/ 1743008 h 71"/>
                  <a:gd name="T22" fmla="*/ 15655 w 130"/>
                  <a:gd name="T23" fmla="*/ 1574540 h 71"/>
                  <a:gd name="T24" fmla="*/ 17084 w 130"/>
                  <a:gd name="T25" fmla="*/ 1942349 h 71"/>
                  <a:gd name="T26" fmla="*/ 21174 w 130"/>
                  <a:gd name="T27" fmla="*/ 2400587 h 71"/>
                  <a:gd name="T28" fmla="*/ 21826 w 130"/>
                  <a:gd name="T29" fmla="*/ 2790416 h 71"/>
                  <a:gd name="T30" fmla="*/ 26522 w 130"/>
                  <a:gd name="T31" fmla="*/ 3160684 h 71"/>
                  <a:gd name="T32" fmla="*/ 29909 w 130"/>
                  <a:gd name="T33" fmla="*/ 3418451 h 71"/>
                  <a:gd name="T34" fmla="*/ 35654 w 130"/>
                  <a:gd name="T35" fmla="*/ 3597350 h 71"/>
                  <a:gd name="T36" fmla="*/ 37038 w 130"/>
                  <a:gd name="T37" fmla="*/ 5362880 h 71"/>
                  <a:gd name="T38" fmla="*/ 31826 w 130"/>
                  <a:gd name="T39" fmla="*/ 5305154 h 71"/>
                  <a:gd name="T40" fmla="*/ 26522 w 130"/>
                  <a:gd name="T41" fmla="*/ 5189940 h 71"/>
                  <a:gd name="T42" fmla="*/ 23414 w 130"/>
                  <a:gd name="T43" fmla="*/ 4830679 h 71"/>
                  <a:gd name="T44" fmla="*/ 21174 w 130"/>
                  <a:gd name="T45" fmla="*/ 4323285 h 7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0"/>
                  <a:gd name="T70" fmla="*/ 0 h 71"/>
                  <a:gd name="T71" fmla="*/ 130 w 130"/>
                  <a:gd name="T72" fmla="*/ 71 h 7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0" h="71">
                    <a:moveTo>
                      <a:pt x="74" y="57"/>
                    </a:moveTo>
                    <a:lnTo>
                      <a:pt x="54" y="54"/>
                    </a:lnTo>
                    <a:lnTo>
                      <a:pt x="40" y="50"/>
                    </a:lnTo>
                    <a:lnTo>
                      <a:pt x="21" y="41"/>
                    </a:lnTo>
                    <a:lnTo>
                      <a:pt x="0" y="31"/>
                    </a:lnTo>
                    <a:lnTo>
                      <a:pt x="0" y="19"/>
                    </a:lnTo>
                    <a:lnTo>
                      <a:pt x="9" y="5"/>
                    </a:lnTo>
                    <a:lnTo>
                      <a:pt x="10" y="6"/>
                    </a:lnTo>
                    <a:lnTo>
                      <a:pt x="16" y="0"/>
                    </a:lnTo>
                    <a:lnTo>
                      <a:pt x="29" y="8"/>
                    </a:lnTo>
                    <a:lnTo>
                      <a:pt x="50" y="23"/>
                    </a:lnTo>
                    <a:lnTo>
                      <a:pt x="55" y="21"/>
                    </a:lnTo>
                    <a:lnTo>
                      <a:pt x="60" y="26"/>
                    </a:lnTo>
                    <a:lnTo>
                      <a:pt x="74" y="32"/>
                    </a:lnTo>
                    <a:lnTo>
                      <a:pt x="77" y="37"/>
                    </a:lnTo>
                    <a:lnTo>
                      <a:pt x="93" y="42"/>
                    </a:lnTo>
                    <a:lnTo>
                      <a:pt x="106" y="45"/>
                    </a:lnTo>
                    <a:lnTo>
                      <a:pt x="125" y="47"/>
                    </a:lnTo>
                    <a:lnTo>
                      <a:pt x="130" y="71"/>
                    </a:lnTo>
                    <a:lnTo>
                      <a:pt x="112" y="70"/>
                    </a:lnTo>
                    <a:lnTo>
                      <a:pt x="93" y="69"/>
                    </a:lnTo>
                    <a:lnTo>
                      <a:pt x="82" y="64"/>
                    </a:lnTo>
                    <a:lnTo>
                      <a:pt x="74" y="57"/>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12" name="Freeform 227">
                <a:extLst>
                  <a:ext uri="{FF2B5EF4-FFF2-40B4-BE49-F238E27FC236}">
                    <a16:creationId xmlns:a16="http://schemas.microsoft.com/office/drawing/2014/main" id="{8CFED694-9466-46A7-4AB6-B0BCEF99F128}"/>
                  </a:ext>
                </a:extLst>
              </p:cNvPr>
              <p:cNvSpPr>
                <a:spLocks/>
              </p:cNvSpPr>
              <p:nvPr/>
            </p:nvSpPr>
            <p:spPr bwMode="auto">
              <a:xfrm>
                <a:off x="4130" y="1763"/>
                <a:ext cx="522" cy="705"/>
              </a:xfrm>
              <a:custGeom>
                <a:avLst/>
                <a:gdLst>
                  <a:gd name="T0" fmla="*/ 21547 w 435"/>
                  <a:gd name="T1" fmla="*/ 1326131 h 491"/>
                  <a:gd name="T2" fmla="*/ 17084 w 435"/>
                  <a:gd name="T3" fmla="*/ 2151848 h 491"/>
                  <a:gd name="T4" fmla="*/ 19958 w 435"/>
                  <a:gd name="T5" fmla="*/ 3561508 h 491"/>
                  <a:gd name="T6" fmla="*/ 20770 w 435"/>
                  <a:gd name="T7" fmla="*/ 4962405 h 491"/>
                  <a:gd name="T8" fmla="*/ 17956 w 435"/>
                  <a:gd name="T9" fmla="*/ 7842714 h 491"/>
                  <a:gd name="T10" fmla="*/ 8023 w 435"/>
                  <a:gd name="T11" fmla="*/ 10176766 h 491"/>
                  <a:gd name="T12" fmla="*/ 7091 w 435"/>
                  <a:gd name="T13" fmla="*/ 12079309 h 491"/>
                  <a:gd name="T14" fmla="*/ 11864 w 435"/>
                  <a:gd name="T15" fmla="*/ 14783901 h 491"/>
                  <a:gd name="T16" fmla="*/ 2299 w 435"/>
                  <a:gd name="T17" fmla="*/ 14940913 h 491"/>
                  <a:gd name="T18" fmla="*/ 0 w 435"/>
                  <a:gd name="T19" fmla="*/ 15652851 h 491"/>
                  <a:gd name="T20" fmla="*/ 5572 w 435"/>
                  <a:gd name="T21" fmla="*/ 16844614 h 491"/>
                  <a:gd name="T22" fmla="*/ 7091 w 435"/>
                  <a:gd name="T23" fmla="*/ 17521575 h 491"/>
                  <a:gd name="T24" fmla="*/ 12631 w 435"/>
                  <a:gd name="T25" fmla="*/ 19547138 h 491"/>
                  <a:gd name="T26" fmla="*/ 19008 w 435"/>
                  <a:gd name="T27" fmla="*/ 17573552 h 491"/>
                  <a:gd name="T28" fmla="*/ 20770 w 435"/>
                  <a:gd name="T29" fmla="*/ 18237831 h 491"/>
                  <a:gd name="T30" fmla="*/ 21826 w 435"/>
                  <a:gd name="T31" fmla="*/ 19304549 h 491"/>
                  <a:gd name="T32" fmla="*/ 23815 w 435"/>
                  <a:gd name="T33" fmla="*/ 21904256 h 491"/>
                  <a:gd name="T34" fmla="*/ 27372 w 435"/>
                  <a:gd name="T35" fmla="*/ 25158265 h 491"/>
                  <a:gd name="T36" fmla="*/ 32462 w 435"/>
                  <a:gd name="T37" fmla="*/ 28237359 h 491"/>
                  <a:gd name="T38" fmla="*/ 38954 w 435"/>
                  <a:gd name="T39" fmla="*/ 32031666 h 491"/>
                  <a:gd name="T40" fmla="*/ 44446 w 435"/>
                  <a:gd name="T41" fmla="*/ 35066444 h 491"/>
                  <a:gd name="T42" fmla="*/ 51342 w 435"/>
                  <a:gd name="T43" fmla="*/ 35698331 h 491"/>
                  <a:gd name="T44" fmla="*/ 54452 w 435"/>
                  <a:gd name="T45" fmla="*/ 34399730 h 491"/>
                  <a:gd name="T46" fmla="*/ 58328 w 435"/>
                  <a:gd name="T47" fmla="*/ 32375878 h 491"/>
                  <a:gd name="T48" fmla="*/ 59617 w 435"/>
                  <a:gd name="T49" fmla="*/ 29311739 h 491"/>
                  <a:gd name="T50" fmla="*/ 60257 w 435"/>
                  <a:gd name="T51" fmla="*/ 26100110 h 491"/>
                  <a:gd name="T52" fmla="*/ 63568 w 435"/>
                  <a:gd name="T53" fmla="*/ 25409710 h 491"/>
                  <a:gd name="T54" fmla="*/ 71540 w 435"/>
                  <a:gd name="T55" fmla="*/ 23115810 h 491"/>
                  <a:gd name="T56" fmla="*/ 82376 w 435"/>
                  <a:gd name="T57" fmla="*/ 20631144 h 491"/>
                  <a:gd name="T58" fmla="*/ 89172 w 435"/>
                  <a:gd name="T59" fmla="*/ 17894986 h 491"/>
                  <a:gd name="T60" fmla="*/ 92825 w 435"/>
                  <a:gd name="T61" fmla="*/ 18345382 h 491"/>
                  <a:gd name="T62" fmla="*/ 92195 w 435"/>
                  <a:gd name="T63" fmla="*/ 17073361 h 491"/>
                  <a:gd name="T64" fmla="*/ 87425 w 435"/>
                  <a:gd name="T65" fmla="*/ 14450578 h 491"/>
                  <a:gd name="T66" fmla="*/ 86678 w 435"/>
                  <a:gd name="T67" fmla="*/ 12807730 h 491"/>
                  <a:gd name="T68" fmla="*/ 91086 w 435"/>
                  <a:gd name="T69" fmla="*/ 12606666 h 491"/>
                  <a:gd name="T70" fmla="*/ 99073 w 435"/>
                  <a:gd name="T71" fmla="*/ 13613687 h 491"/>
                  <a:gd name="T72" fmla="*/ 105286 w 435"/>
                  <a:gd name="T73" fmla="*/ 14689767 h 491"/>
                  <a:gd name="T74" fmla="*/ 103690 w 435"/>
                  <a:gd name="T75" fmla="*/ 16621415 h 491"/>
                  <a:gd name="T76" fmla="*/ 108749 w 435"/>
                  <a:gd name="T77" fmla="*/ 17894986 h 491"/>
                  <a:gd name="T78" fmla="*/ 111174 w 435"/>
                  <a:gd name="T79" fmla="*/ 16490305 h 491"/>
                  <a:gd name="T80" fmla="*/ 115946 w 435"/>
                  <a:gd name="T81" fmla="*/ 13785311 h 491"/>
                  <a:gd name="T82" fmla="*/ 120710 w 435"/>
                  <a:gd name="T83" fmla="*/ 10901494 h 491"/>
                  <a:gd name="T84" fmla="*/ 123578 w 435"/>
                  <a:gd name="T85" fmla="*/ 10230748 h 491"/>
                  <a:gd name="T86" fmla="*/ 119585 w 435"/>
                  <a:gd name="T87" fmla="*/ 8642439 h 491"/>
                  <a:gd name="T88" fmla="*/ 115946 w 435"/>
                  <a:gd name="T89" fmla="*/ 8093280 h 491"/>
                  <a:gd name="T90" fmla="*/ 106934 w 435"/>
                  <a:gd name="T91" fmla="*/ 9015891 h 491"/>
                  <a:gd name="T92" fmla="*/ 99654 w 435"/>
                  <a:gd name="T93" fmla="*/ 10230748 h 491"/>
                  <a:gd name="T94" fmla="*/ 98268 w 435"/>
                  <a:gd name="T95" fmla="*/ 11403132 h 491"/>
                  <a:gd name="T96" fmla="*/ 88148 w 435"/>
                  <a:gd name="T97" fmla="*/ 10901494 h 491"/>
                  <a:gd name="T98" fmla="*/ 85336 w 435"/>
                  <a:gd name="T99" fmla="*/ 11963600 h 491"/>
                  <a:gd name="T100" fmla="*/ 71540 w 435"/>
                  <a:gd name="T101" fmla="*/ 11403132 h 491"/>
                  <a:gd name="T102" fmla="*/ 59617 w 435"/>
                  <a:gd name="T103" fmla="*/ 10405657 h 491"/>
                  <a:gd name="T104" fmla="*/ 48551 w 435"/>
                  <a:gd name="T105" fmla="*/ 8093280 h 491"/>
                  <a:gd name="T106" fmla="*/ 41401 w 435"/>
                  <a:gd name="T107" fmla="*/ 5462090 h 491"/>
                  <a:gd name="T108" fmla="*/ 39815 w 435"/>
                  <a:gd name="T109" fmla="*/ 4041468 h 491"/>
                  <a:gd name="T110" fmla="*/ 37814 w 435"/>
                  <a:gd name="T111" fmla="*/ 1904119 h 491"/>
                  <a:gd name="T112" fmla="*/ 36589 w 435"/>
                  <a:gd name="T113" fmla="*/ 1396710 h 491"/>
                  <a:gd name="T114" fmla="*/ 35425 w 435"/>
                  <a:gd name="T115" fmla="*/ 471827 h 491"/>
                  <a:gd name="T116" fmla="*/ 29909 w 435"/>
                  <a:gd name="T117" fmla="*/ 0 h 49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35"/>
                  <a:gd name="T178" fmla="*/ 0 h 491"/>
                  <a:gd name="T179" fmla="*/ 435 w 435"/>
                  <a:gd name="T180" fmla="*/ 491 h 49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35" h="491">
                    <a:moveTo>
                      <a:pt x="106" y="0"/>
                    </a:moveTo>
                    <a:lnTo>
                      <a:pt x="93" y="12"/>
                    </a:lnTo>
                    <a:lnTo>
                      <a:pt x="76" y="18"/>
                    </a:lnTo>
                    <a:lnTo>
                      <a:pt x="53" y="15"/>
                    </a:lnTo>
                    <a:lnTo>
                      <a:pt x="53" y="21"/>
                    </a:lnTo>
                    <a:lnTo>
                      <a:pt x="60" y="29"/>
                    </a:lnTo>
                    <a:lnTo>
                      <a:pt x="60" y="34"/>
                    </a:lnTo>
                    <a:lnTo>
                      <a:pt x="64" y="44"/>
                    </a:lnTo>
                    <a:lnTo>
                      <a:pt x="70" y="48"/>
                    </a:lnTo>
                    <a:lnTo>
                      <a:pt x="77" y="54"/>
                    </a:lnTo>
                    <a:lnTo>
                      <a:pt x="83" y="60"/>
                    </a:lnTo>
                    <a:lnTo>
                      <a:pt x="73" y="67"/>
                    </a:lnTo>
                    <a:lnTo>
                      <a:pt x="76" y="80"/>
                    </a:lnTo>
                    <a:lnTo>
                      <a:pt x="70" y="93"/>
                    </a:lnTo>
                    <a:lnTo>
                      <a:pt x="63" y="106"/>
                    </a:lnTo>
                    <a:lnTo>
                      <a:pt x="53" y="121"/>
                    </a:lnTo>
                    <a:lnTo>
                      <a:pt x="42" y="137"/>
                    </a:lnTo>
                    <a:lnTo>
                      <a:pt x="28" y="137"/>
                    </a:lnTo>
                    <a:lnTo>
                      <a:pt x="22" y="135"/>
                    </a:lnTo>
                    <a:lnTo>
                      <a:pt x="13" y="157"/>
                    </a:lnTo>
                    <a:lnTo>
                      <a:pt x="25" y="163"/>
                    </a:lnTo>
                    <a:lnTo>
                      <a:pt x="28" y="176"/>
                    </a:lnTo>
                    <a:lnTo>
                      <a:pt x="35" y="176"/>
                    </a:lnTo>
                    <a:lnTo>
                      <a:pt x="42" y="199"/>
                    </a:lnTo>
                    <a:lnTo>
                      <a:pt x="37" y="198"/>
                    </a:lnTo>
                    <a:lnTo>
                      <a:pt x="22" y="201"/>
                    </a:lnTo>
                    <a:lnTo>
                      <a:pt x="8" y="201"/>
                    </a:lnTo>
                    <a:lnTo>
                      <a:pt x="9" y="206"/>
                    </a:lnTo>
                    <a:lnTo>
                      <a:pt x="0" y="209"/>
                    </a:lnTo>
                    <a:lnTo>
                      <a:pt x="0" y="211"/>
                    </a:lnTo>
                    <a:lnTo>
                      <a:pt x="8" y="209"/>
                    </a:lnTo>
                    <a:lnTo>
                      <a:pt x="5" y="212"/>
                    </a:lnTo>
                    <a:lnTo>
                      <a:pt x="19" y="227"/>
                    </a:lnTo>
                    <a:lnTo>
                      <a:pt x="37" y="224"/>
                    </a:lnTo>
                    <a:lnTo>
                      <a:pt x="35" y="227"/>
                    </a:lnTo>
                    <a:lnTo>
                      <a:pt x="25" y="236"/>
                    </a:lnTo>
                    <a:lnTo>
                      <a:pt x="16" y="234"/>
                    </a:lnTo>
                    <a:lnTo>
                      <a:pt x="29" y="249"/>
                    </a:lnTo>
                    <a:lnTo>
                      <a:pt x="44" y="263"/>
                    </a:lnTo>
                    <a:lnTo>
                      <a:pt x="66" y="257"/>
                    </a:lnTo>
                    <a:lnTo>
                      <a:pt x="66" y="246"/>
                    </a:lnTo>
                    <a:lnTo>
                      <a:pt x="67" y="237"/>
                    </a:lnTo>
                    <a:lnTo>
                      <a:pt x="76" y="237"/>
                    </a:lnTo>
                    <a:lnTo>
                      <a:pt x="73" y="243"/>
                    </a:lnTo>
                    <a:lnTo>
                      <a:pt x="73" y="246"/>
                    </a:lnTo>
                    <a:lnTo>
                      <a:pt x="82" y="246"/>
                    </a:lnTo>
                    <a:lnTo>
                      <a:pt x="76" y="252"/>
                    </a:lnTo>
                    <a:lnTo>
                      <a:pt x="77" y="260"/>
                    </a:lnTo>
                    <a:lnTo>
                      <a:pt x="79" y="272"/>
                    </a:lnTo>
                    <a:lnTo>
                      <a:pt x="83" y="291"/>
                    </a:lnTo>
                    <a:lnTo>
                      <a:pt x="83" y="295"/>
                    </a:lnTo>
                    <a:lnTo>
                      <a:pt x="85" y="299"/>
                    </a:lnTo>
                    <a:lnTo>
                      <a:pt x="90" y="321"/>
                    </a:lnTo>
                    <a:lnTo>
                      <a:pt x="96" y="339"/>
                    </a:lnTo>
                    <a:lnTo>
                      <a:pt x="102" y="356"/>
                    </a:lnTo>
                    <a:lnTo>
                      <a:pt x="106" y="360"/>
                    </a:lnTo>
                    <a:lnTo>
                      <a:pt x="114" y="381"/>
                    </a:lnTo>
                    <a:lnTo>
                      <a:pt x="122" y="401"/>
                    </a:lnTo>
                    <a:lnTo>
                      <a:pt x="130" y="417"/>
                    </a:lnTo>
                    <a:lnTo>
                      <a:pt x="137" y="432"/>
                    </a:lnTo>
                    <a:lnTo>
                      <a:pt x="144" y="446"/>
                    </a:lnTo>
                    <a:lnTo>
                      <a:pt x="150" y="458"/>
                    </a:lnTo>
                    <a:lnTo>
                      <a:pt x="156" y="472"/>
                    </a:lnTo>
                    <a:lnTo>
                      <a:pt x="162" y="485"/>
                    </a:lnTo>
                    <a:lnTo>
                      <a:pt x="172" y="491"/>
                    </a:lnTo>
                    <a:lnTo>
                      <a:pt x="180" y="481"/>
                    </a:lnTo>
                    <a:lnTo>
                      <a:pt x="189" y="472"/>
                    </a:lnTo>
                    <a:lnTo>
                      <a:pt x="199" y="471"/>
                    </a:lnTo>
                    <a:lnTo>
                      <a:pt x="192" y="464"/>
                    </a:lnTo>
                    <a:lnTo>
                      <a:pt x="201" y="451"/>
                    </a:lnTo>
                    <a:lnTo>
                      <a:pt x="207" y="451"/>
                    </a:lnTo>
                    <a:lnTo>
                      <a:pt x="205" y="437"/>
                    </a:lnTo>
                    <a:lnTo>
                      <a:pt x="204" y="424"/>
                    </a:lnTo>
                    <a:lnTo>
                      <a:pt x="207" y="410"/>
                    </a:lnTo>
                    <a:lnTo>
                      <a:pt x="210" y="395"/>
                    </a:lnTo>
                    <a:lnTo>
                      <a:pt x="205" y="379"/>
                    </a:lnTo>
                    <a:lnTo>
                      <a:pt x="204" y="359"/>
                    </a:lnTo>
                    <a:lnTo>
                      <a:pt x="212" y="352"/>
                    </a:lnTo>
                    <a:lnTo>
                      <a:pt x="214" y="350"/>
                    </a:lnTo>
                    <a:lnTo>
                      <a:pt x="218" y="350"/>
                    </a:lnTo>
                    <a:lnTo>
                      <a:pt x="223" y="343"/>
                    </a:lnTo>
                    <a:lnTo>
                      <a:pt x="236" y="339"/>
                    </a:lnTo>
                    <a:lnTo>
                      <a:pt x="237" y="327"/>
                    </a:lnTo>
                    <a:lnTo>
                      <a:pt x="252" y="311"/>
                    </a:lnTo>
                    <a:lnTo>
                      <a:pt x="268" y="297"/>
                    </a:lnTo>
                    <a:lnTo>
                      <a:pt x="279" y="283"/>
                    </a:lnTo>
                    <a:lnTo>
                      <a:pt x="289" y="278"/>
                    </a:lnTo>
                    <a:lnTo>
                      <a:pt x="298" y="265"/>
                    </a:lnTo>
                    <a:lnTo>
                      <a:pt x="298" y="252"/>
                    </a:lnTo>
                    <a:lnTo>
                      <a:pt x="313" y="241"/>
                    </a:lnTo>
                    <a:lnTo>
                      <a:pt x="317" y="247"/>
                    </a:lnTo>
                    <a:lnTo>
                      <a:pt x="321" y="249"/>
                    </a:lnTo>
                    <a:lnTo>
                      <a:pt x="326" y="247"/>
                    </a:lnTo>
                    <a:lnTo>
                      <a:pt x="329" y="247"/>
                    </a:lnTo>
                    <a:lnTo>
                      <a:pt x="329" y="243"/>
                    </a:lnTo>
                    <a:lnTo>
                      <a:pt x="324" y="230"/>
                    </a:lnTo>
                    <a:lnTo>
                      <a:pt x="320" y="215"/>
                    </a:lnTo>
                    <a:lnTo>
                      <a:pt x="318" y="205"/>
                    </a:lnTo>
                    <a:lnTo>
                      <a:pt x="307" y="195"/>
                    </a:lnTo>
                    <a:lnTo>
                      <a:pt x="310" y="188"/>
                    </a:lnTo>
                    <a:lnTo>
                      <a:pt x="317" y="185"/>
                    </a:lnTo>
                    <a:lnTo>
                      <a:pt x="304" y="173"/>
                    </a:lnTo>
                    <a:lnTo>
                      <a:pt x="305" y="160"/>
                    </a:lnTo>
                    <a:lnTo>
                      <a:pt x="316" y="164"/>
                    </a:lnTo>
                    <a:lnTo>
                      <a:pt x="320" y="170"/>
                    </a:lnTo>
                    <a:lnTo>
                      <a:pt x="324" y="167"/>
                    </a:lnTo>
                    <a:lnTo>
                      <a:pt x="330" y="182"/>
                    </a:lnTo>
                    <a:lnTo>
                      <a:pt x="348" y="183"/>
                    </a:lnTo>
                    <a:lnTo>
                      <a:pt x="364" y="185"/>
                    </a:lnTo>
                    <a:lnTo>
                      <a:pt x="372" y="190"/>
                    </a:lnTo>
                    <a:lnTo>
                      <a:pt x="369" y="198"/>
                    </a:lnTo>
                    <a:lnTo>
                      <a:pt x="358" y="206"/>
                    </a:lnTo>
                    <a:lnTo>
                      <a:pt x="361" y="220"/>
                    </a:lnTo>
                    <a:lnTo>
                      <a:pt x="364" y="224"/>
                    </a:lnTo>
                    <a:lnTo>
                      <a:pt x="371" y="211"/>
                    </a:lnTo>
                    <a:lnTo>
                      <a:pt x="377" y="227"/>
                    </a:lnTo>
                    <a:lnTo>
                      <a:pt x="382" y="241"/>
                    </a:lnTo>
                    <a:lnTo>
                      <a:pt x="384" y="241"/>
                    </a:lnTo>
                    <a:lnTo>
                      <a:pt x="390" y="241"/>
                    </a:lnTo>
                    <a:lnTo>
                      <a:pt x="390" y="222"/>
                    </a:lnTo>
                    <a:lnTo>
                      <a:pt x="390" y="208"/>
                    </a:lnTo>
                    <a:lnTo>
                      <a:pt x="400" y="208"/>
                    </a:lnTo>
                    <a:lnTo>
                      <a:pt x="407" y="186"/>
                    </a:lnTo>
                    <a:lnTo>
                      <a:pt x="407" y="177"/>
                    </a:lnTo>
                    <a:lnTo>
                      <a:pt x="407" y="163"/>
                    </a:lnTo>
                    <a:lnTo>
                      <a:pt x="423" y="147"/>
                    </a:lnTo>
                    <a:lnTo>
                      <a:pt x="435" y="150"/>
                    </a:lnTo>
                    <a:lnTo>
                      <a:pt x="432" y="144"/>
                    </a:lnTo>
                    <a:lnTo>
                      <a:pt x="433" y="138"/>
                    </a:lnTo>
                    <a:lnTo>
                      <a:pt x="435" y="131"/>
                    </a:lnTo>
                    <a:lnTo>
                      <a:pt x="419" y="124"/>
                    </a:lnTo>
                    <a:lnTo>
                      <a:pt x="419" y="116"/>
                    </a:lnTo>
                    <a:lnTo>
                      <a:pt x="413" y="115"/>
                    </a:lnTo>
                    <a:lnTo>
                      <a:pt x="414" y="112"/>
                    </a:lnTo>
                    <a:lnTo>
                      <a:pt x="407" y="109"/>
                    </a:lnTo>
                    <a:lnTo>
                      <a:pt x="398" y="115"/>
                    </a:lnTo>
                    <a:lnTo>
                      <a:pt x="387" y="112"/>
                    </a:lnTo>
                    <a:lnTo>
                      <a:pt x="375" y="122"/>
                    </a:lnTo>
                    <a:lnTo>
                      <a:pt x="364" y="132"/>
                    </a:lnTo>
                    <a:lnTo>
                      <a:pt x="350" y="138"/>
                    </a:lnTo>
                    <a:lnTo>
                      <a:pt x="349" y="138"/>
                    </a:lnTo>
                    <a:lnTo>
                      <a:pt x="353" y="144"/>
                    </a:lnTo>
                    <a:lnTo>
                      <a:pt x="359" y="153"/>
                    </a:lnTo>
                    <a:lnTo>
                      <a:pt x="345" y="154"/>
                    </a:lnTo>
                    <a:lnTo>
                      <a:pt x="330" y="156"/>
                    </a:lnTo>
                    <a:lnTo>
                      <a:pt x="311" y="154"/>
                    </a:lnTo>
                    <a:lnTo>
                      <a:pt x="310" y="147"/>
                    </a:lnTo>
                    <a:lnTo>
                      <a:pt x="302" y="132"/>
                    </a:lnTo>
                    <a:lnTo>
                      <a:pt x="295" y="137"/>
                    </a:lnTo>
                    <a:lnTo>
                      <a:pt x="300" y="161"/>
                    </a:lnTo>
                    <a:lnTo>
                      <a:pt x="282" y="160"/>
                    </a:lnTo>
                    <a:lnTo>
                      <a:pt x="263" y="159"/>
                    </a:lnTo>
                    <a:lnTo>
                      <a:pt x="252" y="154"/>
                    </a:lnTo>
                    <a:lnTo>
                      <a:pt x="244" y="147"/>
                    </a:lnTo>
                    <a:lnTo>
                      <a:pt x="224" y="144"/>
                    </a:lnTo>
                    <a:lnTo>
                      <a:pt x="210" y="140"/>
                    </a:lnTo>
                    <a:lnTo>
                      <a:pt x="191" y="131"/>
                    </a:lnTo>
                    <a:lnTo>
                      <a:pt x="170" y="121"/>
                    </a:lnTo>
                    <a:lnTo>
                      <a:pt x="170" y="109"/>
                    </a:lnTo>
                    <a:lnTo>
                      <a:pt x="179" y="95"/>
                    </a:lnTo>
                    <a:lnTo>
                      <a:pt x="164" y="84"/>
                    </a:lnTo>
                    <a:lnTo>
                      <a:pt x="146" y="74"/>
                    </a:lnTo>
                    <a:lnTo>
                      <a:pt x="138" y="71"/>
                    </a:lnTo>
                    <a:lnTo>
                      <a:pt x="131" y="52"/>
                    </a:lnTo>
                    <a:lnTo>
                      <a:pt x="140" y="54"/>
                    </a:lnTo>
                    <a:lnTo>
                      <a:pt x="143" y="47"/>
                    </a:lnTo>
                    <a:lnTo>
                      <a:pt x="134" y="34"/>
                    </a:lnTo>
                    <a:lnTo>
                      <a:pt x="133" y="26"/>
                    </a:lnTo>
                    <a:lnTo>
                      <a:pt x="133" y="25"/>
                    </a:lnTo>
                    <a:lnTo>
                      <a:pt x="131" y="22"/>
                    </a:lnTo>
                    <a:lnTo>
                      <a:pt x="128" y="19"/>
                    </a:lnTo>
                    <a:lnTo>
                      <a:pt x="125" y="15"/>
                    </a:lnTo>
                    <a:lnTo>
                      <a:pt x="125" y="10"/>
                    </a:lnTo>
                    <a:lnTo>
                      <a:pt x="124" y="6"/>
                    </a:lnTo>
                    <a:lnTo>
                      <a:pt x="118" y="5"/>
                    </a:lnTo>
                    <a:lnTo>
                      <a:pt x="111" y="2"/>
                    </a:lnTo>
                    <a:lnTo>
                      <a:pt x="106" y="0"/>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13" name="Freeform 228">
                <a:extLst>
                  <a:ext uri="{FF2B5EF4-FFF2-40B4-BE49-F238E27FC236}">
                    <a16:creationId xmlns:a16="http://schemas.microsoft.com/office/drawing/2014/main" id="{613C0378-426B-A8CF-BC98-79027C60E5C1}"/>
                  </a:ext>
                </a:extLst>
              </p:cNvPr>
              <p:cNvSpPr>
                <a:spLocks/>
              </p:cNvSpPr>
              <p:nvPr/>
            </p:nvSpPr>
            <p:spPr bwMode="auto">
              <a:xfrm>
                <a:off x="4378" y="2425"/>
                <a:ext cx="41" cy="97"/>
              </a:xfrm>
              <a:custGeom>
                <a:avLst/>
                <a:gdLst>
                  <a:gd name="T0" fmla="*/ 2216 w 34"/>
                  <a:gd name="T1" fmla="*/ 1 h 68"/>
                  <a:gd name="T2" fmla="*/ 4685 w 34"/>
                  <a:gd name="T3" fmla="*/ 688445 h 68"/>
                  <a:gd name="T4" fmla="*/ 6813 w 34"/>
                  <a:gd name="T5" fmla="*/ 1400859 h 68"/>
                  <a:gd name="T6" fmla="*/ 9019 w 34"/>
                  <a:gd name="T7" fmla="*/ 2160602 h 68"/>
                  <a:gd name="T8" fmla="*/ 11146 w 34"/>
                  <a:gd name="T9" fmla="*/ 3082035 h 68"/>
                  <a:gd name="T10" fmla="*/ 8358 w 34"/>
                  <a:gd name="T11" fmla="*/ 3866294 h 68"/>
                  <a:gd name="T12" fmla="*/ 3222 w 34"/>
                  <a:gd name="T13" fmla="*/ 4110939 h 68"/>
                  <a:gd name="T14" fmla="*/ 1 w 34"/>
                  <a:gd name="T15" fmla="*/ 2710392 h 68"/>
                  <a:gd name="T16" fmla="*/ 0 w 34"/>
                  <a:gd name="T17" fmla="*/ 1723156 h 68"/>
                  <a:gd name="T18" fmla="*/ 1 w 34"/>
                  <a:gd name="T19" fmla="*/ 1806800 h 68"/>
                  <a:gd name="T20" fmla="*/ 1048 w 34"/>
                  <a:gd name="T21" fmla="*/ 1026646 h 68"/>
                  <a:gd name="T22" fmla="*/ 1524 w 34"/>
                  <a:gd name="T23" fmla="*/ 283234 h 68"/>
                  <a:gd name="T24" fmla="*/ 1524 w 34"/>
                  <a:gd name="T25" fmla="*/ 198556 h 68"/>
                  <a:gd name="T26" fmla="*/ 1 w 34"/>
                  <a:gd name="T27" fmla="*/ 0 h 68"/>
                  <a:gd name="T28" fmla="*/ 2216 w 34"/>
                  <a:gd name="T29" fmla="*/ 1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68"/>
                  <a:gd name="T47" fmla="*/ 34 w 34"/>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68">
                    <a:moveTo>
                      <a:pt x="7" y="1"/>
                    </a:moveTo>
                    <a:lnTo>
                      <a:pt x="14" y="11"/>
                    </a:lnTo>
                    <a:lnTo>
                      <a:pt x="21" y="23"/>
                    </a:lnTo>
                    <a:lnTo>
                      <a:pt x="27" y="36"/>
                    </a:lnTo>
                    <a:lnTo>
                      <a:pt x="34" y="51"/>
                    </a:lnTo>
                    <a:lnTo>
                      <a:pt x="26" y="64"/>
                    </a:lnTo>
                    <a:lnTo>
                      <a:pt x="10" y="68"/>
                    </a:lnTo>
                    <a:lnTo>
                      <a:pt x="1" y="45"/>
                    </a:lnTo>
                    <a:lnTo>
                      <a:pt x="0" y="29"/>
                    </a:lnTo>
                    <a:lnTo>
                      <a:pt x="1" y="30"/>
                    </a:lnTo>
                    <a:lnTo>
                      <a:pt x="3" y="17"/>
                    </a:lnTo>
                    <a:lnTo>
                      <a:pt x="5" y="4"/>
                    </a:lnTo>
                    <a:lnTo>
                      <a:pt x="5" y="3"/>
                    </a:lnTo>
                    <a:lnTo>
                      <a:pt x="1" y="0"/>
                    </a:lnTo>
                    <a:lnTo>
                      <a:pt x="7" y="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14" name="Freeform 229">
                <a:extLst>
                  <a:ext uri="{FF2B5EF4-FFF2-40B4-BE49-F238E27FC236}">
                    <a16:creationId xmlns:a16="http://schemas.microsoft.com/office/drawing/2014/main" id="{DB392EF1-A9E6-4070-B136-CD40E167C609}"/>
                  </a:ext>
                </a:extLst>
              </p:cNvPr>
              <p:cNvSpPr>
                <a:spLocks/>
              </p:cNvSpPr>
              <p:nvPr/>
            </p:nvSpPr>
            <p:spPr bwMode="auto">
              <a:xfrm>
                <a:off x="4899" y="2162"/>
                <a:ext cx="42" cy="43"/>
              </a:xfrm>
              <a:custGeom>
                <a:avLst/>
                <a:gdLst>
                  <a:gd name="T0" fmla="*/ 7310 w 35"/>
                  <a:gd name="T1" fmla="*/ 0 h 30"/>
                  <a:gd name="T2" fmla="*/ 2759 w 35"/>
                  <a:gd name="T3" fmla="*/ 221383 h 30"/>
                  <a:gd name="T4" fmla="*/ 0 w 35"/>
                  <a:gd name="T5" fmla="*/ 692555 h 30"/>
                  <a:gd name="T6" fmla="*/ 1 w 35"/>
                  <a:gd name="T7" fmla="*/ 1658122 h 30"/>
                  <a:gd name="T8" fmla="*/ 4231 w 35"/>
                  <a:gd name="T9" fmla="*/ 2127028 h 30"/>
                  <a:gd name="T10" fmla="*/ 5722 w 35"/>
                  <a:gd name="T11" fmla="*/ 2039370 h 30"/>
                  <a:gd name="T12" fmla="*/ 8239 w 35"/>
                  <a:gd name="T13" fmla="*/ 1339311 h 30"/>
                  <a:gd name="T14" fmla="*/ 9887 w 35"/>
                  <a:gd name="T15" fmla="*/ 483178 h 30"/>
                  <a:gd name="T16" fmla="*/ 9625 w 35"/>
                  <a:gd name="T17" fmla="*/ 0 h 30"/>
                  <a:gd name="T18" fmla="*/ 7310 w 35"/>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30"/>
                  <a:gd name="T32" fmla="*/ 35 w 35"/>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30">
                    <a:moveTo>
                      <a:pt x="26" y="0"/>
                    </a:moveTo>
                    <a:lnTo>
                      <a:pt x="10" y="3"/>
                    </a:lnTo>
                    <a:lnTo>
                      <a:pt x="0" y="10"/>
                    </a:lnTo>
                    <a:lnTo>
                      <a:pt x="1" y="24"/>
                    </a:lnTo>
                    <a:lnTo>
                      <a:pt x="15" y="30"/>
                    </a:lnTo>
                    <a:lnTo>
                      <a:pt x="20" y="29"/>
                    </a:lnTo>
                    <a:lnTo>
                      <a:pt x="29" y="19"/>
                    </a:lnTo>
                    <a:lnTo>
                      <a:pt x="35" y="7"/>
                    </a:lnTo>
                    <a:lnTo>
                      <a:pt x="33" y="0"/>
                    </a:lnTo>
                    <a:lnTo>
                      <a:pt x="26"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15" name="Freeform 230">
                <a:extLst>
                  <a:ext uri="{FF2B5EF4-FFF2-40B4-BE49-F238E27FC236}">
                    <a16:creationId xmlns:a16="http://schemas.microsoft.com/office/drawing/2014/main" id="{2329F4A0-7240-2CC0-AD0A-F067D7230ED8}"/>
                  </a:ext>
                </a:extLst>
              </p:cNvPr>
              <p:cNvSpPr>
                <a:spLocks/>
              </p:cNvSpPr>
              <p:nvPr/>
            </p:nvSpPr>
            <p:spPr bwMode="auto">
              <a:xfrm>
                <a:off x="5219" y="1609"/>
                <a:ext cx="161" cy="206"/>
              </a:xfrm>
              <a:custGeom>
                <a:avLst/>
                <a:gdLst>
                  <a:gd name="T0" fmla="*/ 36904 w 134"/>
                  <a:gd name="T1" fmla="*/ 8796263 h 143"/>
                  <a:gd name="T2" fmla="*/ 36518 w 134"/>
                  <a:gd name="T3" fmla="*/ 8533216 h 143"/>
                  <a:gd name="T4" fmla="*/ 36518 w 134"/>
                  <a:gd name="T5" fmla="*/ 9174939 h 143"/>
                  <a:gd name="T6" fmla="*/ 34623 w 134"/>
                  <a:gd name="T7" fmla="*/ 9343444 h 143"/>
                  <a:gd name="T8" fmla="*/ 33788 w 134"/>
                  <a:gd name="T9" fmla="*/ 10049324 h 143"/>
                  <a:gd name="T10" fmla="*/ 32850 w 134"/>
                  <a:gd name="T11" fmla="*/ 9307551 h 143"/>
                  <a:gd name="T12" fmla="*/ 31453 w 134"/>
                  <a:gd name="T13" fmla="*/ 10090046 h 143"/>
                  <a:gd name="T14" fmla="*/ 26501 w 134"/>
                  <a:gd name="T15" fmla="*/ 10049324 h 143"/>
                  <a:gd name="T16" fmla="*/ 25349 w 134"/>
                  <a:gd name="T17" fmla="*/ 9730736 h 143"/>
                  <a:gd name="T18" fmla="*/ 24446 w 134"/>
                  <a:gd name="T19" fmla="*/ 9531201 h 143"/>
                  <a:gd name="T20" fmla="*/ 24555 w 134"/>
                  <a:gd name="T21" fmla="*/ 10090046 h 143"/>
                  <a:gd name="T22" fmla="*/ 26178 w 134"/>
                  <a:gd name="T23" fmla="*/ 10600822 h 143"/>
                  <a:gd name="T24" fmla="*/ 23585 w 134"/>
                  <a:gd name="T25" fmla="*/ 11158111 h 143"/>
                  <a:gd name="T26" fmla="*/ 23406 w 134"/>
                  <a:gd name="T27" fmla="*/ 11770106 h 143"/>
                  <a:gd name="T28" fmla="*/ 19171 w 134"/>
                  <a:gd name="T29" fmla="*/ 10848742 h 143"/>
                  <a:gd name="T30" fmla="*/ 18549 w 134"/>
                  <a:gd name="T31" fmla="*/ 9860778 h 143"/>
                  <a:gd name="T32" fmla="*/ 13280 w 134"/>
                  <a:gd name="T33" fmla="*/ 10090046 h 143"/>
                  <a:gd name="T34" fmla="*/ 7107 w 134"/>
                  <a:gd name="T35" fmla="*/ 10485865 h 143"/>
                  <a:gd name="T36" fmla="*/ 5303 w 134"/>
                  <a:gd name="T37" fmla="*/ 11036890 h 143"/>
                  <a:gd name="T38" fmla="*/ 0 w 134"/>
                  <a:gd name="T39" fmla="*/ 10848742 h 143"/>
                  <a:gd name="T40" fmla="*/ 944 w 134"/>
                  <a:gd name="T41" fmla="*/ 10355593 h 143"/>
                  <a:gd name="T42" fmla="*/ 4036 w 134"/>
                  <a:gd name="T43" fmla="*/ 9531201 h 143"/>
                  <a:gd name="T44" fmla="*/ 7107 w 134"/>
                  <a:gd name="T45" fmla="*/ 8714542 h 143"/>
                  <a:gd name="T46" fmla="*/ 11232 w 134"/>
                  <a:gd name="T47" fmla="*/ 8533216 h 143"/>
                  <a:gd name="T48" fmla="*/ 15993 w 134"/>
                  <a:gd name="T49" fmla="*/ 8533216 h 143"/>
                  <a:gd name="T50" fmla="*/ 16934 w 134"/>
                  <a:gd name="T51" fmla="*/ 8714542 h 143"/>
                  <a:gd name="T52" fmla="*/ 19171 w 134"/>
                  <a:gd name="T53" fmla="*/ 8273374 h 143"/>
                  <a:gd name="T54" fmla="*/ 18549 w 134"/>
                  <a:gd name="T55" fmla="*/ 7484784 h 143"/>
                  <a:gd name="T56" fmla="*/ 18134 w 134"/>
                  <a:gd name="T57" fmla="*/ 6313909 h 143"/>
                  <a:gd name="T58" fmla="*/ 19962 w 134"/>
                  <a:gd name="T59" fmla="*/ 6106146 h 143"/>
                  <a:gd name="T60" fmla="*/ 19962 w 134"/>
                  <a:gd name="T61" fmla="*/ 6369013 h 143"/>
                  <a:gd name="T62" fmla="*/ 21788 w 134"/>
                  <a:gd name="T63" fmla="*/ 6902296 h 143"/>
                  <a:gd name="T64" fmla="*/ 23585 w 134"/>
                  <a:gd name="T65" fmla="*/ 6313909 h 143"/>
                  <a:gd name="T66" fmla="*/ 26178 w 134"/>
                  <a:gd name="T67" fmla="*/ 5671764 h 143"/>
                  <a:gd name="T68" fmla="*/ 26394 w 134"/>
                  <a:gd name="T69" fmla="*/ 4632219 h 143"/>
                  <a:gd name="T70" fmla="*/ 26501 w 134"/>
                  <a:gd name="T71" fmla="*/ 3507609 h 143"/>
                  <a:gd name="T72" fmla="*/ 24446 w 134"/>
                  <a:gd name="T73" fmla="*/ 2421766 h 143"/>
                  <a:gd name="T74" fmla="*/ 22286 w 134"/>
                  <a:gd name="T75" fmla="*/ 1075634 h 143"/>
                  <a:gd name="T76" fmla="*/ 23034 w 134"/>
                  <a:gd name="T77" fmla="*/ 359808 h 143"/>
                  <a:gd name="T78" fmla="*/ 25300 w 134"/>
                  <a:gd name="T79" fmla="*/ 810100 h 143"/>
                  <a:gd name="T80" fmla="*/ 26394 w 134"/>
                  <a:gd name="T81" fmla="*/ 562351 h 143"/>
                  <a:gd name="T82" fmla="*/ 26178 w 134"/>
                  <a:gd name="T83" fmla="*/ 359808 h 143"/>
                  <a:gd name="T84" fmla="*/ 23585 w 134"/>
                  <a:gd name="T85" fmla="*/ 359808 h 143"/>
                  <a:gd name="T86" fmla="*/ 24555 w 134"/>
                  <a:gd name="T87" fmla="*/ 0 h 143"/>
                  <a:gd name="T88" fmla="*/ 26394 w 134"/>
                  <a:gd name="T89" fmla="*/ 249770 h 143"/>
                  <a:gd name="T90" fmla="*/ 30457 w 134"/>
                  <a:gd name="T91" fmla="*/ 1549515 h 143"/>
                  <a:gd name="T92" fmla="*/ 35092 w 134"/>
                  <a:gd name="T93" fmla="*/ 2854431 h 143"/>
                  <a:gd name="T94" fmla="*/ 35290 w 134"/>
                  <a:gd name="T95" fmla="*/ 4502410 h 143"/>
                  <a:gd name="T96" fmla="*/ 34047 w 134"/>
                  <a:gd name="T97" fmla="*/ 5025676 h 143"/>
                  <a:gd name="T98" fmla="*/ 36904 w 134"/>
                  <a:gd name="T99" fmla="*/ 6902296 h 143"/>
                  <a:gd name="T100" fmla="*/ 39569 w 134"/>
                  <a:gd name="T101" fmla="*/ 8273374 h 143"/>
                  <a:gd name="T102" fmla="*/ 37991 w 134"/>
                  <a:gd name="T103" fmla="*/ 9612823 h 143"/>
                  <a:gd name="T104" fmla="*/ 36904 w 134"/>
                  <a:gd name="T105" fmla="*/ 8796263 h 14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4"/>
                  <a:gd name="T160" fmla="*/ 0 h 143"/>
                  <a:gd name="T161" fmla="*/ 134 w 134"/>
                  <a:gd name="T162" fmla="*/ 143 h 14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4" h="143">
                    <a:moveTo>
                      <a:pt x="125" y="107"/>
                    </a:moveTo>
                    <a:lnTo>
                      <a:pt x="122" y="104"/>
                    </a:lnTo>
                    <a:lnTo>
                      <a:pt x="122" y="112"/>
                    </a:lnTo>
                    <a:lnTo>
                      <a:pt x="117" y="114"/>
                    </a:lnTo>
                    <a:lnTo>
                      <a:pt x="114" y="122"/>
                    </a:lnTo>
                    <a:lnTo>
                      <a:pt x="111" y="113"/>
                    </a:lnTo>
                    <a:lnTo>
                      <a:pt x="106" y="123"/>
                    </a:lnTo>
                    <a:lnTo>
                      <a:pt x="90" y="122"/>
                    </a:lnTo>
                    <a:lnTo>
                      <a:pt x="86" y="119"/>
                    </a:lnTo>
                    <a:lnTo>
                      <a:pt x="82" y="116"/>
                    </a:lnTo>
                    <a:lnTo>
                      <a:pt x="83" y="123"/>
                    </a:lnTo>
                    <a:lnTo>
                      <a:pt x="88" y="129"/>
                    </a:lnTo>
                    <a:lnTo>
                      <a:pt x="80" y="136"/>
                    </a:lnTo>
                    <a:lnTo>
                      <a:pt x="79" y="143"/>
                    </a:lnTo>
                    <a:lnTo>
                      <a:pt x="64" y="132"/>
                    </a:lnTo>
                    <a:lnTo>
                      <a:pt x="63" y="120"/>
                    </a:lnTo>
                    <a:lnTo>
                      <a:pt x="44" y="123"/>
                    </a:lnTo>
                    <a:lnTo>
                      <a:pt x="24" y="128"/>
                    </a:lnTo>
                    <a:lnTo>
                      <a:pt x="18" y="135"/>
                    </a:lnTo>
                    <a:lnTo>
                      <a:pt x="0" y="132"/>
                    </a:lnTo>
                    <a:lnTo>
                      <a:pt x="3" y="126"/>
                    </a:lnTo>
                    <a:lnTo>
                      <a:pt x="13" y="116"/>
                    </a:lnTo>
                    <a:lnTo>
                      <a:pt x="24" y="106"/>
                    </a:lnTo>
                    <a:lnTo>
                      <a:pt x="38" y="104"/>
                    </a:lnTo>
                    <a:lnTo>
                      <a:pt x="54" y="104"/>
                    </a:lnTo>
                    <a:lnTo>
                      <a:pt x="57" y="106"/>
                    </a:lnTo>
                    <a:lnTo>
                      <a:pt x="64" y="101"/>
                    </a:lnTo>
                    <a:lnTo>
                      <a:pt x="63" y="91"/>
                    </a:lnTo>
                    <a:lnTo>
                      <a:pt x="61" y="77"/>
                    </a:lnTo>
                    <a:lnTo>
                      <a:pt x="67" y="74"/>
                    </a:lnTo>
                    <a:lnTo>
                      <a:pt x="67" y="78"/>
                    </a:lnTo>
                    <a:lnTo>
                      <a:pt x="73" y="84"/>
                    </a:lnTo>
                    <a:lnTo>
                      <a:pt x="80" y="77"/>
                    </a:lnTo>
                    <a:lnTo>
                      <a:pt x="88" y="69"/>
                    </a:lnTo>
                    <a:lnTo>
                      <a:pt x="89" y="56"/>
                    </a:lnTo>
                    <a:lnTo>
                      <a:pt x="90" y="43"/>
                    </a:lnTo>
                    <a:lnTo>
                      <a:pt x="82" y="29"/>
                    </a:lnTo>
                    <a:lnTo>
                      <a:pt x="76" y="13"/>
                    </a:lnTo>
                    <a:lnTo>
                      <a:pt x="77" y="4"/>
                    </a:lnTo>
                    <a:lnTo>
                      <a:pt x="85" y="10"/>
                    </a:lnTo>
                    <a:lnTo>
                      <a:pt x="89" y="7"/>
                    </a:lnTo>
                    <a:lnTo>
                      <a:pt x="88" y="4"/>
                    </a:lnTo>
                    <a:lnTo>
                      <a:pt x="80" y="4"/>
                    </a:lnTo>
                    <a:lnTo>
                      <a:pt x="83" y="0"/>
                    </a:lnTo>
                    <a:lnTo>
                      <a:pt x="89" y="3"/>
                    </a:lnTo>
                    <a:lnTo>
                      <a:pt x="103" y="19"/>
                    </a:lnTo>
                    <a:lnTo>
                      <a:pt x="118" y="35"/>
                    </a:lnTo>
                    <a:lnTo>
                      <a:pt x="119" y="55"/>
                    </a:lnTo>
                    <a:lnTo>
                      <a:pt x="115" y="61"/>
                    </a:lnTo>
                    <a:lnTo>
                      <a:pt x="125" y="84"/>
                    </a:lnTo>
                    <a:lnTo>
                      <a:pt x="134" y="101"/>
                    </a:lnTo>
                    <a:lnTo>
                      <a:pt x="128" y="117"/>
                    </a:lnTo>
                    <a:lnTo>
                      <a:pt x="125" y="107"/>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16" name="Freeform 231">
                <a:extLst>
                  <a:ext uri="{FF2B5EF4-FFF2-40B4-BE49-F238E27FC236}">
                    <a16:creationId xmlns:a16="http://schemas.microsoft.com/office/drawing/2014/main" id="{7374299D-9659-371A-30C3-7E86A1294735}"/>
                  </a:ext>
                </a:extLst>
              </p:cNvPr>
              <p:cNvSpPr>
                <a:spLocks/>
              </p:cNvSpPr>
              <p:nvPr/>
            </p:nvSpPr>
            <p:spPr bwMode="auto">
              <a:xfrm>
                <a:off x="5277" y="1506"/>
                <a:ext cx="93" cy="103"/>
              </a:xfrm>
              <a:custGeom>
                <a:avLst/>
                <a:gdLst>
                  <a:gd name="T0" fmla="*/ 20731 w 77"/>
                  <a:gd name="T1" fmla="*/ 1845269 h 72"/>
                  <a:gd name="T2" fmla="*/ 16315 w 77"/>
                  <a:gd name="T3" fmla="*/ 1672943 h 72"/>
                  <a:gd name="T4" fmla="*/ 8476 w 77"/>
                  <a:gd name="T5" fmla="*/ 771770 h 72"/>
                  <a:gd name="T6" fmla="*/ 0 w 77"/>
                  <a:gd name="T7" fmla="*/ 0 h 72"/>
                  <a:gd name="T8" fmla="*/ 1074 w 77"/>
                  <a:gd name="T9" fmla="*/ 738909 h 72"/>
                  <a:gd name="T10" fmla="*/ 4028 w 77"/>
                  <a:gd name="T11" fmla="*/ 1672943 h 72"/>
                  <a:gd name="T12" fmla="*/ 6678 w 77"/>
                  <a:gd name="T13" fmla="*/ 2639759 h 72"/>
                  <a:gd name="T14" fmla="*/ 2761 w 77"/>
                  <a:gd name="T15" fmla="*/ 2639759 h 72"/>
                  <a:gd name="T16" fmla="*/ 1893 w 77"/>
                  <a:gd name="T17" fmla="*/ 2872338 h 72"/>
                  <a:gd name="T18" fmla="*/ 1893 w 77"/>
                  <a:gd name="T19" fmla="*/ 3313284 h 72"/>
                  <a:gd name="T20" fmla="*/ 3138 w 77"/>
                  <a:gd name="T21" fmla="*/ 3976595 h 72"/>
                  <a:gd name="T22" fmla="*/ 6678 w 77"/>
                  <a:gd name="T23" fmla="*/ 4739836 h 72"/>
                  <a:gd name="T24" fmla="*/ 8476 w 77"/>
                  <a:gd name="T25" fmla="*/ 4587774 h 72"/>
                  <a:gd name="T26" fmla="*/ 10701 w 77"/>
                  <a:gd name="T27" fmla="*/ 4427051 h 72"/>
                  <a:gd name="T28" fmla="*/ 4578 w 77"/>
                  <a:gd name="T29" fmla="*/ 3673698 h 72"/>
                  <a:gd name="T30" fmla="*/ 7097 w 77"/>
                  <a:gd name="T31" fmla="*/ 3558018 h 72"/>
                  <a:gd name="T32" fmla="*/ 8860 w 77"/>
                  <a:gd name="T33" fmla="*/ 3520082 h 72"/>
                  <a:gd name="T34" fmla="*/ 19705 w 77"/>
                  <a:gd name="T35" fmla="*/ 3998062 h 72"/>
                  <a:gd name="T36" fmla="*/ 20348 w 77"/>
                  <a:gd name="T37" fmla="*/ 3776320 h 72"/>
                  <a:gd name="T38" fmla="*/ 23056 w 77"/>
                  <a:gd name="T39" fmla="*/ 3031902 h 72"/>
                  <a:gd name="T40" fmla="*/ 26654 w 77"/>
                  <a:gd name="T41" fmla="*/ 2639759 h 72"/>
                  <a:gd name="T42" fmla="*/ 24576 w 77"/>
                  <a:gd name="T43" fmla="*/ 2259446 h 72"/>
                  <a:gd name="T44" fmla="*/ 22068 w 77"/>
                  <a:gd name="T45" fmla="*/ 1428637 h 72"/>
                  <a:gd name="T46" fmla="*/ 20731 w 77"/>
                  <a:gd name="T47" fmla="*/ 1845269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7"/>
                  <a:gd name="T73" fmla="*/ 0 h 72"/>
                  <a:gd name="T74" fmla="*/ 77 w 77"/>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7" h="72">
                    <a:moveTo>
                      <a:pt x="60" y="28"/>
                    </a:moveTo>
                    <a:lnTo>
                      <a:pt x="47" y="25"/>
                    </a:lnTo>
                    <a:lnTo>
                      <a:pt x="24" y="12"/>
                    </a:lnTo>
                    <a:lnTo>
                      <a:pt x="0" y="0"/>
                    </a:lnTo>
                    <a:lnTo>
                      <a:pt x="3" y="11"/>
                    </a:lnTo>
                    <a:lnTo>
                      <a:pt x="12" y="25"/>
                    </a:lnTo>
                    <a:lnTo>
                      <a:pt x="19" y="40"/>
                    </a:lnTo>
                    <a:lnTo>
                      <a:pt x="8" y="40"/>
                    </a:lnTo>
                    <a:lnTo>
                      <a:pt x="6" y="43"/>
                    </a:lnTo>
                    <a:lnTo>
                      <a:pt x="6" y="50"/>
                    </a:lnTo>
                    <a:lnTo>
                      <a:pt x="9" y="60"/>
                    </a:lnTo>
                    <a:lnTo>
                      <a:pt x="19" y="72"/>
                    </a:lnTo>
                    <a:lnTo>
                      <a:pt x="24" y="69"/>
                    </a:lnTo>
                    <a:lnTo>
                      <a:pt x="31" y="67"/>
                    </a:lnTo>
                    <a:lnTo>
                      <a:pt x="13" y="56"/>
                    </a:lnTo>
                    <a:lnTo>
                      <a:pt x="21" y="54"/>
                    </a:lnTo>
                    <a:lnTo>
                      <a:pt x="26" y="53"/>
                    </a:lnTo>
                    <a:lnTo>
                      <a:pt x="57" y="61"/>
                    </a:lnTo>
                    <a:lnTo>
                      <a:pt x="58" y="57"/>
                    </a:lnTo>
                    <a:lnTo>
                      <a:pt x="66" y="46"/>
                    </a:lnTo>
                    <a:lnTo>
                      <a:pt x="77" y="40"/>
                    </a:lnTo>
                    <a:lnTo>
                      <a:pt x="70" y="34"/>
                    </a:lnTo>
                    <a:lnTo>
                      <a:pt x="64" y="22"/>
                    </a:lnTo>
                    <a:lnTo>
                      <a:pt x="60" y="28"/>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17" name="Freeform 232">
                <a:extLst>
                  <a:ext uri="{FF2B5EF4-FFF2-40B4-BE49-F238E27FC236}">
                    <a16:creationId xmlns:a16="http://schemas.microsoft.com/office/drawing/2014/main" id="{43CD97A1-3337-0205-F879-9B06FB92BE5F}"/>
                  </a:ext>
                </a:extLst>
              </p:cNvPr>
              <p:cNvSpPr>
                <a:spLocks/>
              </p:cNvSpPr>
              <p:nvPr/>
            </p:nvSpPr>
            <p:spPr bwMode="auto">
              <a:xfrm>
                <a:off x="5204" y="1805"/>
                <a:ext cx="47" cy="71"/>
              </a:xfrm>
              <a:custGeom>
                <a:avLst/>
                <a:gdLst>
                  <a:gd name="T0" fmla="*/ 12813 w 39"/>
                  <a:gd name="T1" fmla="*/ 868488 h 50"/>
                  <a:gd name="T2" fmla="*/ 12347 w 39"/>
                  <a:gd name="T3" fmla="*/ 1499621 h 50"/>
                  <a:gd name="T4" fmla="*/ 12022 w 39"/>
                  <a:gd name="T5" fmla="*/ 2219057 h 50"/>
                  <a:gd name="T6" fmla="*/ 10632 w 39"/>
                  <a:gd name="T7" fmla="*/ 2623754 h 50"/>
                  <a:gd name="T8" fmla="*/ 8278 w 39"/>
                  <a:gd name="T9" fmla="*/ 2000966 h 50"/>
                  <a:gd name="T10" fmla="*/ 9148 w 39"/>
                  <a:gd name="T11" fmla="*/ 2486731 h 50"/>
                  <a:gd name="T12" fmla="*/ 7591 w 39"/>
                  <a:gd name="T13" fmla="*/ 2287884 h 50"/>
                  <a:gd name="T14" fmla="*/ 6299 w 39"/>
                  <a:gd name="T15" fmla="*/ 1499621 h 50"/>
                  <a:gd name="T16" fmla="*/ 6299 w 39"/>
                  <a:gd name="T17" fmla="*/ 1134638 h 50"/>
                  <a:gd name="T18" fmla="*/ 2986 w 39"/>
                  <a:gd name="T19" fmla="*/ 687693 h 50"/>
                  <a:gd name="T20" fmla="*/ 5107 w 39"/>
                  <a:gd name="T21" fmla="*/ 1134638 h 50"/>
                  <a:gd name="T22" fmla="*/ 2986 w 39"/>
                  <a:gd name="T23" fmla="*/ 1134638 h 50"/>
                  <a:gd name="T24" fmla="*/ 1750 w 39"/>
                  <a:gd name="T25" fmla="*/ 868488 h 50"/>
                  <a:gd name="T26" fmla="*/ 2542 w 39"/>
                  <a:gd name="T27" fmla="*/ 868488 h 50"/>
                  <a:gd name="T28" fmla="*/ 0 w 39"/>
                  <a:gd name="T29" fmla="*/ 484291 h 50"/>
                  <a:gd name="T30" fmla="*/ 5227 w 39"/>
                  <a:gd name="T31" fmla="*/ 0 h 50"/>
                  <a:gd name="T32" fmla="*/ 8106 w 39"/>
                  <a:gd name="T33" fmla="*/ 256980 h 50"/>
                  <a:gd name="T34" fmla="*/ 9976 w 39"/>
                  <a:gd name="T35" fmla="*/ 364912 h 50"/>
                  <a:gd name="T36" fmla="*/ 10632 w 39"/>
                  <a:gd name="T37" fmla="*/ 518175 h 50"/>
                  <a:gd name="T38" fmla="*/ 12813 w 39"/>
                  <a:gd name="T39" fmla="*/ 868488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
                  <a:gd name="T61" fmla="*/ 0 h 50"/>
                  <a:gd name="T62" fmla="*/ 39 w 39"/>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 h="50">
                    <a:moveTo>
                      <a:pt x="39" y="16"/>
                    </a:moveTo>
                    <a:lnTo>
                      <a:pt x="38" y="29"/>
                    </a:lnTo>
                    <a:lnTo>
                      <a:pt x="37" y="42"/>
                    </a:lnTo>
                    <a:lnTo>
                      <a:pt x="32" y="50"/>
                    </a:lnTo>
                    <a:lnTo>
                      <a:pt x="26" y="38"/>
                    </a:lnTo>
                    <a:lnTo>
                      <a:pt x="28" y="47"/>
                    </a:lnTo>
                    <a:lnTo>
                      <a:pt x="23" y="44"/>
                    </a:lnTo>
                    <a:lnTo>
                      <a:pt x="19" y="29"/>
                    </a:lnTo>
                    <a:lnTo>
                      <a:pt x="19" y="22"/>
                    </a:lnTo>
                    <a:lnTo>
                      <a:pt x="9" y="13"/>
                    </a:lnTo>
                    <a:lnTo>
                      <a:pt x="15" y="22"/>
                    </a:lnTo>
                    <a:lnTo>
                      <a:pt x="9" y="22"/>
                    </a:lnTo>
                    <a:lnTo>
                      <a:pt x="6" y="16"/>
                    </a:lnTo>
                    <a:lnTo>
                      <a:pt x="8" y="16"/>
                    </a:lnTo>
                    <a:lnTo>
                      <a:pt x="0" y="9"/>
                    </a:lnTo>
                    <a:lnTo>
                      <a:pt x="16" y="0"/>
                    </a:lnTo>
                    <a:lnTo>
                      <a:pt x="25" y="5"/>
                    </a:lnTo>
                    <a:lnTo>
                      <a:pt x="31" y="7"/>
                    </a:lnTo>
                    <a:lnTo>
                      <a:pt x="32" y="10"/>
                    </a:lnTo>
                    <a:lnTo>
                      <a:pt x="39" y="16"/>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18" name="Freeform 233">
                <a:extLst>
                  <a:ext uri="{FF2B5EF4-FFF2-40B4-BE49-F238E27FC236}">
                    <a16:creationId xmlns:a16="http://schemas.microsoft.com/office/drawing/2014/main" id="{5F4FA917-0CE5-F69B-3E4E-64EA24E732E5}"/>
                  </a:ext>
                </a:extLst>
              </p:cNvPr>
              <p:cNvSpPr>
                <a:spLocks/>
              </p:cNvSpPr>
              <p:nvPr/>
            </p:nvSpPr>
            <p:spPr bwMode="auto">
              <a:xfrm>
                <a:off x="5250" y="1794"/>
                <a:ext cx="42" cy="38"/>
              </a:xfrm>
              <a:custGeom>
                <a:avLst/>
                <a:gdLst>
                  <a:gd name="T0" fmla="*/ 8239 w 35"/>
                  <a:gd name="T1" fmla="*/ 692726 h 27"/>
                  <a:gd name="T2" fmla="*/ 4768 w 35"/>
                  <a:gd name="T3" fmla="*/ 692726 h 27"/>
                  <a:gd name="T4" fmla="*/ 4231 w 35"/>
                  <a:gd name="T5" fmla="*/ 1081518 h 27"/>
                  <a:gd name="T6" fmla="*/ 1597 w 35"/>
                  <a:gd name="T7" fmla="*/ 781162 h 27"/>
                  <a:gd name="T8" fmla="*/ 1 w 35"/>
                  <a:gd name="T9" fmla="*/ 601716 h 27"/>
                  <a:gd name="T10" fmla="*/ 0 w 35"/>
                  <a:gd name="T11" fmla="*/ 601716 h 27"/>
                  <a:gd name="T12" fmla="*/ 2687 w 35"/>
                  <a:gd name="T13" fmla="*/ 199096 h 27"/>
                  <a:gd name="T14" fmla="*/ 4768 w 35"/>
                  <a:gd name="T15" fmla="*/ 153360 h 27"/>
                  <a:gd name="T16" fmla="*/ 7091 w 35"/>
                  <a:gd name="T17" fmla="*/ 0 h 27"/>
                  <a:gd name="T18" fmla="*/ 9060 w 35"/>
                  <a:gd name="T19" fmla="*/ 153360 h 27"/>
                  <a:gd name="T20" fmla="*/ 9887 w 35"/>
                  <a:gd name="T21" fmla="*/ 303775 h 27"/>
                  <a:gd name="T22" fmla="*/ 8239 w 35"/>
                  <a:gd name="T23" fmla="*/ 692726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
                  <a:gd name="T37" fmla="*/ 0 h 27"/>
                  <a:gd name="T38" fmla="*/ 35 w 35"/>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 h="27">
                    <a:moveTo>
                      <a:pt x="29" y="17"/>
                    </a:moveTo>
                    <a:lnTo>
                      <a:pt x="17" y="17"/>
                    </a:lnTo>
                    <a:lnTo>
                      <a:pt x="15" y="27"/>
                    </a:lnTo>
                    <a:lnTo>
                      <a:pt x="6" y="20"/>
                    </a:lnTo>
                    <a:lnTo>
                      <a:pt x="1" y="15"/>
                    </a:lnTo>
                    <a:lnTo>
                      <a:pt x="0" y="15"/>
                    </a:lnTo>
                    <a:lnTo>
                      <a:pt x="9" y="5"/>
                    </a:lnTo>
                    <a:lnTo>
                      <a:pt x="17" y="4"/>
                    </a:lnTo>
                    <a:lnTo>
                      <a:pt x="25" y="0"/>
                    </a:lnTo>
                    <a:lnTo>
                      <a:pt x="32" y="4"/>
                    </a:lnTo>
                    <a:lnTo>
                      <a:pt x="35" y="8"/>
                    </a:lnTo>
                    <a:lnTo>
                      <a:pt x="29" y="17"/>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19" name="Freeform 234">
                <a:extLst>
                  <a:ext uri="{FF2B5EF4-FFF2-40B4-BE49-F238E27FC236}">
                    <a16:creationId xmlns:a16="http://schemas.microsoft.com/office/drawing/2014/main" id="{C9E69B01-83F4-FC58-67B3-A77CCA2E0170}"/>
                  </a:ext>
                </a:extLst>
              </p:cNvPr>
              <p:cNvSpPr>
                <a:spLocks/>
              </p:cNvSpPr>
              <p:nvPr/>
            </p:nvSpPr>
            <p:spPr bwMode="auto">
              <a:xfrm>
                <a:off x="5219" y="1984"/>
                <a:ext cx="9" cy="17"/>
              </a:xfrm>
              <a:custGeom>
                <a:avLst/>
                <a:gdLst>
                  <a:gd name="T0" fmla="*/ 0 w 8"/>
                  <a:gd name="T1" fmla="*/ 580607 h 12"/>
                  <a:gd name="T2" fmla="*/ 286 w 8"/>
                  <a:gd name="T3" fmla="*/ 111674 h 12"/>
                  <a:gd name="T4" fmla="*/ 286 w 8"/>
                  <a:gd name="T5" fmla="*/ 0 h 12"/>
                  <a:gd name="T6" fmla="*/ 0 w 8"/>
                  <a:gd name="T7" fmla="*/ 580607 h 12"/>
                  <a:gd name="T8" fmla="*/ 0 60000 65536"/>
                  <a:gd name="T9" fmla="*/ 0 60000 65536"/>
                  <a:gd name="T10" fmla="*/ 0 60000 65536"/>
                  <a:gd name="T11" fmla="*/ 0 60000 65536"/>
                  <a:gd name="T12" fmla="*/ 0 w 8"/>
                  <a:gd name="T13" fmla="*/ 0 h 12"/>
                  <a:gd name="T14" fmla="*/ 8 w 8"/>
                  <a:gd name="T15" fmla="*/ 12 h 12"/>
                </a:gdLst>
                <a:ahLst/>
                <a:cxnLst>
                  <a:cxn ang="T8">
                    <a:pos x="T0" y="T1"/>
                  </a:cxn>
                  <a:cxn ang="T9">
                    <a:pos x="T2" y="T3"/>
                  </a:cxn>
                  <a:cxn ang="T10">
                    <a:pos x="T4" y="T5"/>
                  </a:cxn>
                  <a:cxn ang="T11">
                    <a:pos x="T6" y="T7"/>
                  </a:cxn>
                </a:cxnLst>
                <a:rect l="T12" t="T13" r="T14" b="T15"/>
                <a:pathLst>
                  <a:path w="8" h="12">
                    <a:moveTo>
                      <a:pt x="0" y="12"/>
                    </a:moveTo>
                    <a:lnTo>
                      <a:pt x="8" y="2"/>
                    </a:lnTo>
                    <a:lnTo>
                      <a:pt x="8" y="0"/>
                    </a:lnTo>
                    <a:lnTo>
                      <a:pt x="0" y="1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0" name="Freeform 235">
                <a:extLst>
                  <a:ext uri="{FF2B5EF4-FFF2-40B4-BE49-F238E27FC236}">
                    <a16:creationId xmlns:a16="http://schemas.microsoft.com/office/drawing/2014/main" id="{BA8DC589-0687-D1BC-FA22-0D75769FAB04}"/>
                  </a:ext>
                </a:extLst>
              </p:cNvPr>
              <p:cNvSpPr>
                <a:spLocks/>
              </p:cNvSpPr>
              <p:nvPr/>
            </p:nvSpPr>
            <p:spPr bwMode="auto">
              <a:xfrm>
                <a:off x="5312" y="1689"/>
                <a:ext cx="3" cy="9"/>
              </a:xfrm>
              <a:custGeom>
                <a:avLst/>
                <a:gdLst>
                  <a:gd name="T0" fmla="*/ 3 w 3"/>
                  <a:gd name="T1" fmla="*/ 1815228 h 6"/>
                  <a:gd name="T2" fmla="*/ 0 w 3"/>
                  <a:gd name="T3" fmla="*/ 0 h 6"/>
                  <a:gd name="T4" fmla="*/ 0 w 3"/>
                  <a:gd name="T5" fmla="*/ 1815228 h 6"/>
                  <a:gd name="T6" fmla="*/ 3 w 3"/>
                  <a:gd name="T7" fmla="*/ 1815228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3" y="6"/>
                    </a:moveTo>
                    <a:lnTo>
                      <a:pt x="0" y="0"/>
                    </a:lnTo>
                    <a:lnTo>
                      <a:pt x="0" y="6"/>
                    </a:lnTo>
                    <a:lnTo>
                      <a:pt x="3" y="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1" name="Freeform 236">
                <a:extLst>
                  <a:ext uri="{FF2B5EF4-FFF2-40B4-BE49-F238E27FC236}">
                    <a16:creationId xmlns:a16="http://schemas.microsoft.com/office/drawing/2014/main" id="{DA2916A1-7719-481E-D56B-7DEB507361CF}"/>
                  </a:ext>
                </a:extLst>
              </p:cNvPr>
              <p:cNvSpPr>
                <a:spLocks/>
              </p:cNvSpPr>
              <p:nvPr/>
            </p:nvSpPr>
            <p:spPr bwMode="auto">
              <a:xfrm>
                <a:off x="5218" y="1840"/>
                <a:ext cx="5" cy="5"/>
              </a:xfrm>
              <a:custGeom>
                <a:avLst/>
                <a:gdLst>
                  <a:gd name="T0" fmla="*/ 2714 w 4"/>
                  <a:gd name="T1" fmla="*/ 0 h 3"/>
                  <a:gd name="T2" fmla="*/ 3392 w 4"/>
                  <a:gd name="T3" fmla="*/ 21788986 h 3"/>
                  <a:gd name="T4" fmla="*/ 0 w 4"/>
                  <a:gd name="T5" fmla="*/ 7844041 h 3"/>
                  <a:gd name="T6" fmla="*/ 2714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3" y="0"/>
                    </a:moveTo>
                    <a:lnTo>
                      <a:pt x="4" y="3"/>
                    </a:lnTo>
                    <a:lnTo>
                      <a:pt x="0" y="1"/>
                    </a:lnTo>
                    <a:lnTo>
                      <a:pt x="3"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2" name="Freeform 237">
                <a:extLst>
                  <a:ext uri="{FF2B5EF4-FFF2-40B4-BE49-F238E27FC236}">
                    <a16:creationId xmlns:a16="http://schemas.microsoft.com/office/drawing/2014/main" id="{B6C4EE3A-6FBD-A995-BDB9-EA39A213D3E7}"/>
                  </a:ext>
                </a:extLst>
              </p:cNvPr>
              <p:cNvSpPr>
                <a:spLocks/>
              </p:cNvSpPr>
              <p:nvPr/>
            </p:nvSpPr>
            <p:spPr bwMode="auto">
              <a:xfrm>
                <a:off x="5044" y="1573"/>
                <a:ext cx="85" cy="130"/>
              </a:xfrm>
              <a:custGeom>
                <a:avLst/>
                <a:gdLst>
                  <a:gd name="T0" fmla="*/ 4669 w 71"/>
                  <a:gd name="T1" fmla="*/ 3847657 h 91"/>
                  <a:gd name="T2" fmla="*/ 2631 w 71"/>
                  <a:gd name="T3" fmla="val 2002569"/>
                  <a:gd name="T4" fmla="*/ 0 w 71"/>
                  <a:gd name="T5" fmla="*/ 3132166 h 91"/>
                  <a:gd name="T6" fmla="*/ 2198 w 71"/>
                  <a:gd name="T7" fmla="*/ 2523613 h 91"/>
                  <a:gd name="T8" fmla="*/ 4515 w 71"/>
                  <a:gd name="T9" fmla="*/ 1666094 h 91"/>
                  <a:gd name="T10" fmla="*/ 6411 w 71"/>
                  <a:gd name="T11" fmla="*/ 1461573 h 91"/>
                  <a:gd name="T12" fmla="*/ 11104 w 71"/>
                  <a:gd name="T13" fmla="*/ 1737972 h 91"/>
                  <a:gd name="T14" fmla="*/ 9407 w 71"/>
                  <a:gd name="T15" fmla="*/ 1166266 h 91"/>
                  <a:gd name="T16" fmla="*/ 10404 w 71"/>
                  <a:gd name="T17" fmla="*/ 1064414 h 91"/>
                  <a:gd name="T18" fmla="*/ 13294 w 71"/>
                  <a:gd name="T19" fmla="*/ 501320 h 91"/>
                  <a:gd name="T20" fmla="*/ 13294 w 71"/>
                  <a:gd name="T21" fmla="*/ 0 h 91"/>
                  <a:gd name="T22" fmla="*/ 17505 w 71"/>
                  <a:gd name="T23" fmla="*/ 625753 h 91"/>
                  <a:gd name="T24" fmla="*/ 18376 w 71"/>
                  <a:gd name="T25" fmla="*/ 716171 h 91"/>
                  <a:gd name="T26" fmla="*/ 16449 w 71"/>
                  <a:gd name="T27" fmla="*/ 1319747 h 91"/>
                  <a:gd name="T28" fmla="*/ 17851 w 71"/>
                  <a:gd name="T29" fmla="*/ 2482817 h 91"/>
                  <a:gd name="T30" fmla="*/ 16142 w 71"/>
                  <a:gd name="T31" fmla="*/ 3103249 h 91"/>
                  <a:gd name="T32" fmla="*/ 13740 w 71"/>
                  <a:gd name="T33" fmla="*/ 3723169 h 91"/>
                  <a:gd name="T34" fmla="*/ 14622 w 71"/>
                  <a:gd name="T35" fmla="*/ 4324983 h 91"/>
                  <a:gd name="T36" fmla="*/ 18875 w 71"/>
                  <a:gd name="T37" fmla="*/ 4869917 h 91"/>
                  <a:gd name="T38" fmla="*/ 17065 w 71"/>
                  <a:gd name="T39" fmla="*/ 5189840 h 91"/>
                  <a:gd name="T40" fmla="*/ 13747 w 71"/>
                  <a:gd name="T41" fmla="*/ 5585771 h 91"/>
                  <a:gd name="T42" fmla="*/ 13747 w 71"/>
                  <a:gd name="T43" fmla="*/ 5789142 h 91"/>
                  <a:gd name="T44" fmla="*/ 10384 w 71"/>
                  <a:gd name="T45" fmla="*/ 5585771 h 91"/>
                  <a:gd name="T46" fmla="*/ 9188 w 71"/>
                  <a:gd name="T47" fmla="*/ 5789142 h 91"/>
                  <a:gd name="T48" fmla="*/ 7747 w 71"/>
                  <a:gd name="T49" fmla="*/ 5496651 h 91"/>
                  <a:gd name="T50" fmla="*/ 6411 w 71"/>
                  <a:gd name="T51" fmla="*/ 5371408 h 91"/>
                  <a:gd name="T52" fmla="*/ 6692 w 71"/>
                  <a:gd name="T53" fmla="*/ 4869917 h 91"/>
                  <a:gd name="T54" fmla="*/ 7747 w 71"/>
                  <a:gd name="T55" fmla="*/ 4763288 h 91"/>
                  <a:gd name="T56" fmla="*/ 5483 w 71"/>
                  <a:gd name="T57" fmla="*/ 4474523 h 91"/>
                  <a:gd name="T58" fmla="*/ 4669 w 71"/>
                  <a:gd name="T59" fmla="*/ 3847657 h 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1"/>
                  <a:gd name="T91" fmla="*/ 0 h 91"/>
                  <a:gd name="T92" fmla="*/ 71 w 71"/>
                  <a:gd name="T93" fmla="*/ 91 h 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1" h="91">
                    <a:moveTo>
                      <a:pt x="18" y="61"/>
                    </a:moveTo>
                    <a:lnTo>
                      <a:pt x="10" y="59"/>
                    </a:lnTo>
                    <a:lnTo>
                      <a:pt x="0" y="50"/>
                    </a:lnTo>
                    <a:lnTo>
                      <a:pt x="8" y="40"/>
                    </a:lnTo>
                    <a:lnTo>
                      <a:pt x="17" y="26"/>
                    </a:lnTo>
                    <a:lnTo>
                      <a:pt x="23" y="23"/>
                    </a:lnTo>
                    <a:lnTo>
                      <a:pt x="42" y="27"/>
                    </a:lnTo>
                    <a:lnTo>
                      <a:pt x="36" y="18"/>
                    </a:lnTo>
                    <a:lnTo>
                      <a:pt x="40" y="17"/>
                    </a:lnTo>
                    <a:lnTo>
                      <a:pt x="50" y="8"/>
                    </a:lnTo>
                    <a:lnTo>
                      <a:pt x="50" y="0"/>
                    </a:lnTo>
                    <a:lnTo>
                      <a:pt x="66" y="10"/>
                    </a:lnTo>
                    <a:lnTo>
                      <a:pt x="69" y="11"/>
                    </a:lnTo>
                    <a:lnTo>
                      <a:pt x="62" y="21"/>
                    </a:lnTo>
                    <a:lnTo>
                      <a:pt x="68" y="39"/>
                    </a:lnTo>
                    <a:lnTo>
                      <a:pt x="61" y="49"/>
                    </a:lnTo>
                    <a:lnTo>
                      <a:pt x="52" y="59"/>
                    </a:lnTo>
                    <a:lnTo>
                      <a:pt x="55" y="68"/>
                    </a:lnTo>
                    <a:lnTo>
                      <a:pt x="71" y="77"/>
                    </a:lnTo>
                    <a:lnTo>
                      <a:pt x="65" y="82"/>
                    </a:lnTo>
                    <a:lnTo>
                      <a:pt x="53" y="88"/>
                    </a:lnTo>
                    <a:lnTo>
                      <a:pt x="53" y="91"/>
                    </a:lnTo>
                    <a:lnTo>
                      <a:pt x="39" y="88"/>
                    </a:lnTo>
                    <a:lnTo>
                      <a:pt x="34" y="91"/>
                    </a:lnTo>
                    <a:lnTo>
                      <a:pt x="29" y="87"/>
                    </a:lnTo>
                    <a:lnTo>
                      <a:pt x="23" y="85"/>
                    </a:lnTo>
                    <a:lnTo>
                      <a:pt x="26" y="77"/>
                    </a:lnTo>
                    <a:lnTo>
                      <a:pt x="29" y="75"/>
                    </a:lnTo>
                    <a:lnTo>
                      <a:pt x="21" y="71"/>
                    </a:lnTo>
                    <a:lnTo>
                      <a:pt x="18" y="61"/>
                    </a:lnTo>
                    <a:close/>
                  </a:path>
                </a:pathLst>
              </a:custGeom>
              <a:grp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23" name="Freeform 238">
                <a:extLst>
                  <a:ext uri="{FF2B5EF4-FFF2-40B4-BE49-F238E27FC236}">
                    <a16:creationId xmlns:a16="http://schemas.microsoft.com/office/drawing/2014/main" id="{AF9867C9-D78F-F5BB-8AA3-806AC5041D48}"/>
                  </a:ext>
                </a:extLst>
              </p:cNvPr>
              <p:cNvSpPr>
                <a:spLocks/>
              </p:cNvSpPr>
              <p:nvPr/>
            </p:nvSpPr>
            <p:spPr bwMode="auto">
              <a:xfrm>
                <a:off x="5108" y="1683"/>
                <a:ext cx="71" cy="107"/>
              </a:xfrm>
              <a:custGeom>
                <a:avLst/>
                <a:gdLst>
                  <a:gd name="T0" fmla="*/ 6545 w 60"/>
                  <a:gd name="T1" fmla="*/ 4510164 h 75"/>
                  <a:gd name="T2" fmla="*/ 6201 w 60"/>
                  <a:gd name="T3" fmla="*/ 4292166 h 75"/>
                  <a:gd name="T4" fmla="*/ 5240 w 60"/>
                  <a:gd name="T5" fmla="*/ 4407683 h 75"/>
                  <a:gd name="T6" fmla="*/ 4726 w 60"/>
                  <a:gd name="T7" fmla="*/ 4564925 h 75"/>
                  <a:gd name="T8" fmla="*/ 4139 w 60"/>
                  <a:gd name="T9" fmla="*/ 4407683 h 75"/>
                  <a:gd name="T10" fmla="*/ 4371 w 60"/>
                  <a:gd name="T11" fmla="*/ 4191849 h 75"/>
                  <a:gd name="T12" fmla="*/ 4139 w 60"/>
                  <a:gd name="T13" fmla="*/ 4125717 h 75"/>
                  <a:gd name="T14" fmla="*/ 3498 w 60"/>
                  <a:gd name="T15" fmla="*/ 3830289 h 75"/>
                  <a:gd name="T16" fmla="*/ 2956 w 60"/>
                  <a:gd name="T17" fmla="*/ 3302166 h 75"/>
                  <a:gd name="T18" fmla="*/ 2956 w 60"/>
                  <a:gd name="T19" fmla="*/ 2995321 h 75"/>
                  <a:gd name="T20" fmla="*/ 2956 w 60"/>
                  <a:gd name="T21" fmla="*/ 2799215 h 75"/>
                  <a:gd name="T22" fmla="*/ 1039 w 60"/>
                  <a:gd name="T23" fmla="*/ 2166981 h 75"/>
                  <a:gd name="T24" fmla="*/ 627 w 60"/>
                  <a:gd name="T25" fmla="*/ 2004158 h 75"/>
                  <a:gd name="T26" fmla="*/ 878 w 60"/>
                  <a:gd name="T27" fmla="*/ 1826742 h 75"/>
                  <a:gd name="T28" fmla="*/ 2229 w 60"/>
                  <a:gd name="T29" fmla="*/ 2004158 h 75"/>
                  <a:gd name="T30" fmla="*/ 2229 w 60"/>
                  <a:gd name="T31" fmla="*/ 1826742 h 75"/>
                  <a:gd name="T32" fmla="*/ 2 w 60"/>
                  <a:gd name="T33" fmla="*/ 1031516 h 75"/>
                  <a:gd name="T34" fmla="*/ 0 w 60"/>
                  <a:gd name="T35" fmla="*/ 849736 h 75"/>
                  <a:gd name="T36" fmla="*/ 0 w 60"/>
                  <a:gd name="T37" fmla="*/ 690184 h 75"/>
                  <a:gd name="T38" fmla="*/ 2229 w 60"/>
                  <a:gd name="T39" fmla="*/ 292628 h 75"/>
                  <a:gd name="T40" fmla="*/ 3375 w 60"/>
                  <a:gd name="T41" fmla="*/ 0 h 75"/>
                  <a:gd name="T42" fmla="*/ 6545 w 60"/>
                  <a:gd name="T43" fmla="*/ 1031516 h 75"/>
                  <a:gd name="T44" fmla="*/ 9265 w 60"/>
                  <a:gd name="T45" fmla="*/ 2099524 h 75"/>
                  <a:gd name="T46" fmla="*/ 10964 w 60"/>
                  <a:gd name="T47" fmla="*/ 3578548 h 75"/>
                  <a:gd name="T48" fmla="*/ 10141 w 60"/>
                  <a:gd name="T49" fmla="*/ 3830289 h 75"/>
                  <a:gd name="T50" fmla="*/ 8683 w 60"/>
                  <a:gd name="T51" fmla="*/ 3993545 h 75"/>
                  <a:gd name="T52" fmla="*/ 7784 w 60"/>
                  <a:gd name="T53" fmla="*/ 3983350 h 75"/>
                  <a:gd name="T54" fmla="*/ 7745 w 60"/>
                  <a:gd name="T55" fmla="*/ 4125717 h 75"/>
                  <a:gd name="T56" fmla="*/ 7338 w 60"/>
                  <a:gd name="T57" fmla="*/ 4191849 h 75"/>
                  <a:gd name="T58" fmla="*/ 6859 w 60"/>
                  <a:gd name="T59" fmla="*/ 4191849 h 75"/>
                  <a:gd name="T60" fmla="*/ 6545 w 60"/>
                  <a:gd name="T61" fmla="*/ 4510164 h 7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
                  <a:gd name="T94" fmla="*/ 0 h 75"/>
                  <a:gd name="T95" fmla="*/ 60 w 60"/>
                  <a:gd name="T96" fmla="*/ 75 h 7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 h="75">
                    <a:moveTo>
                      <a:pt x="35" y="74"/>
                    </a:moveTo>
                    <a:lnTo>
                      <a:pt x="34" y="71"/>
                    </a:lnTo>
                    <a:lnTo>
                      <a:pt x="29" y="72"/>
                    </a:lnTo>
                    <a:lnTo>
                      <a:pt x="25" y="75"/>
                    </a:lnTo>
                    <a:lnTo>
                      <a:pt x="22" y="72"/>
                    </a:lnTo>
                    <a:lnTo>
                      <a:pt x="24" y="69"/>
                    </a:lnTo>
                    <a:lnTo>
                      <a:pt x="22" y="68"/>
                    </a:lnTo>
                    <a:lnTo>
                      <a:pt x="19" y="63"/>
                    </a:lnTo>
                    <a:lnTo>
                      <a:pt x="16" y="55"/>
                    </a:lnTo>
                    <a:lnTo>
                      <a:pt x="16" y="49"/>
                    </a:lnTo>
                    <a:lnTo>
                      <a:pt x="16" y="46"/>
                    </a:lnTo>
                    <a:lnTo>
                      <a:pt x="6" y="36"/>
                    </a:lnTo>
                    <a:lnTo>
                      <a:pt x="3" y="33"/>
                    </a:lnTo>
                    <a:lnTo>
                      <a:pt x="5" y="30"/>
                    </a:lnTo>
                    <a:lnTo>
                      <a:pt x="12" y="33"/>
                    </a:lnTo>
                    <a:lnTo>
                      <a:pt x="12" y="30"/>
                    </a:lnTo>
                    <a:lnTo>
                      <a:pt x="2" y="17"/>
                    </a:lnTo>
                    <a:lnTo>
                      <a:pt x="0" y="14"/>
                    </a:lnTo>
                    <a:lnTo>
                      <a:pt x="0" y="11"/>
                    </a:lnTo>
                    <a:lnTo>
                      <a:pt x="12" y="5"/>
                    </a:lnTo>
                    <a:lnTo>
                      <a:pt x="18" y="0"/>
                    </a:lnTo>
                    <a:lnTo>
                      <a:pt x="35" y="17"/>
                    </a:lnTo>
                    <a:lnTo>
                      <a:pt x="51" y="34"/>
                    </a:lnTo>
                    <a:lnTo>
                      <a:pt x="60" y="59"/>
                    </a:lnTo>
                    <a:lnTo>
                      <a:pt x="54" y="63"/>
                    </a:lnTo>
                    <a:lnTo>
                      <a:pt x="47" y="66"/>
                    </a:lnTo>
                    <a:lnTo>
                      <a:pt x="42" y="65"/>
                    </a:lnTo>
                    <a:lnTo>
                      <a:pt x="41" y="68"/>
                    </a:lnTo>
                    <a:lnTo>
                      <a:pt x="40" y="69"/>
                    </a:lnTo>
                    <a:lnTo>
                      <a:pt x="37" y="69"/>
                    </a:lnTo>
                    <a:lnTo>
                      <a:pt x="35" y="74"/>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424" name="Freeform 239">
                <a:extLst>
                  <a:ext uri="{FF2B5EF4-FFF2-40B4-BE49-F238E27FC236}">
                    <a16:creationId xmlns:a16="http://schemas.microsoft.com/office/drawing/2014/main" id="{23ECFFEB-39BA-39FB-6BC3-CFAF1319984C}"/>
                  </a:ext>
                </a:extLst>
              </p:cNvPr>
              <p:cNvSpPr>
                <a:spLocks/>
              </p:cNvSpPr>
              <p:nvPr/>
            </p:nvSpPr>
            <p:spPr bwMode="auto">
              <a:xfrm>
                <a:off x="5096" y="2028"/>
                <a:ext cx="28" cy="81"/>
              </a:xfrm>
              <a:custGeom>
                <a:avLst/>
                <a:gdLst>
                  <a:gd name="T0" fmla="*/ 6838 w 23"/>
                  <a:gd name="T1" fmla="*/ 5196399 h 56"/>
                  <a:gd name="T2" fmla="*/ 1417 w 23"/>
                  <a:gd name="T3" fmla="*/ 3998215 h 56"/>
                  <a:gd name="T4" fmla="*/ 0 w 23"/>
                  <a:gd name="T5" fmla="*/ 2138093 h 56"/>
                  <a:gd name="T6" fmla="*/ 2557 w 23"/>
                  <a:gd name="T7" fmla="*/ 1021957 h 56"/>
                  <a:gd name="T8" fmla="*/ 5617 w 23"/>
                  <a:gd name="T9" fmla="*/ 0 h 56"/>
                  <a:gd name="T10" fmla="*/ 10135 w 23"/>
                  <a:gd name="T11" fmla="*/ 271223 h 56"/>
                  <a:gd name="T12" fmla="*/ 9406 w 23"/>
                  <a:gd name="T13" fmla="*/ 1589617 h 56"/>
                  <a:gd name="T14" fmla="*/ 8325 w 23"/>
                  <a:gd name="T15" fmla="*/ 2764199 h 56"/>
                  <a:gd name="T16" fmla="*/ 8126 w 23"/>
                  <a:gd name="T17" fmla="*/ 3998215 h 56"/>
                  <a:gd name="T18" fmla="*/ 6838 w 23"/>
                  <a:gd name="T19" fmla="*/ 5196399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56"/>
                  <a:gd name="T32" fmla="*/ 23 w 23"/>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56">
                    <a:moveTo>
                      <a:pt x="16" y="56"/>
                    </a:moveTo>
                    <a:lnTo>
                      <a:pt x="3" y="43"/>
                    </a:lnTo>
                    <a:lnTo>
                      <a:pt x="0" y="23"/>
                    </a:lnTo>
                    <a:lnTo>
                      <a:pt x="6" y="11"/>
                    </a:lnTo>
                    <a:lnTo>
                      <a:pt x="13" y="0"/>
                    </a:lnTo>
                    <a:lnTo>
                      <a:pt x="23" y="3"/>
                    </a:lnTo>
                    <a:lnTo>
                      <a:pt x="21" y="17"/>
                    </a:lnTo>
                    <a:lnTo>
                      <a:pt x="19" y="30"/>
                    </a:lnTo>
                    <a:lnTo>
                      <a:pt x="18" y="43"/>
                    </a:lnTo>
                    <a:lnTo>
                      <a:pt x="16" y="56"/>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5" name="Freeform 240">
                <a:extLst>
                  <a:ext uri="{FF2B5EF4-FFF2-40B4-BE49-F238E27FC236}">
                    <a16:creationId xmlns:a16="http://schemas.microsoft.com/office/drawing/2014/main" id="{2E434E31-1B57-17B8-11B3-8F5A64098230}"/>
                  </a:ext>
                </a:extLst>
              </p:cNvPr>
              <p:cNvSpPr>
                <a:spLocks/>
              </p:cNvSpPr>
              <p:nvPr/>
            </p:nvSpPr>
            <p:spPr bwMode="auto">
              <a:xfrm>
                <a:off x="4325" y="1344"/>
                <a:ext cx="559" cy="263"/>
              </a:xfrm>
              <a:custGeom>
                <a:avLst/>
                <a:gdLst>
                  <a:gd name="T0" fmla="*/ 72737 w 467"/>
                  <a:gd name="T1" fmla="*/ 13457128 h 183"/>
                  <a:gd name="T2" fmla="*/ 66394 w 467"/>
                  <a:gd name="T3" fmla="*/ 12757945 h 183"/>
                  <a:gd name="T4" fmla="*/ 55972 w 467"/>
                  <a:gd name="T5" fmla="*/ 12522849 h 183"/>
                  <a:gd name="T6" fmla="*/ 45114 w 467"/>
                  <a:gd name="T7" fmla="*/ 12410244 h 183"/>
                  <a:gd name="T8" fmla="*/ 38308 w 467"/>
                  <a:gd name="T9" fmla="*/ 10308513 h 183"/>
                  <a:gd name="T10" fmla="*/ 27264 w 467"/>
                  <a:gd name="T11" fmla="*/ 9304969 h 183"/>
                  <a:gd name="T12" fmla="*/ 18750 w 467"/>
                  <a:gd name="T13" fmla="*/ 8877201 h 183"/>
                  <a:gd name="T14" fmla="*/ 15896 w 467"/>
                  <a:gd name="T15" fmla="*/ 6781767 h 183"/>
                  <a:gd name="T16" fmla="*/ 6932 w 467"/>
                  <a:gd name="T17" fmla="*/ 5412560 h 183"/>
                  <a:gd name="T18" fmla="*/ 1 w 467"/>
                  <a:gd name="T19" fmla="*/ 3984163 h 183"/>
                  <a:gd name="T20" fmla="*/ 1835 w 467"/>
                  <a:gd name="T21" fmla="*/ 3364299 h 183"/>
                  <a:gd name="T22" fmla="*/ 8665 w 467"/>
                  <a:gd name="T23" fmla="*/ 2397509 h 183"/>
                  <a:gd name="T24" fmla="*/ 20257 w 467"/>
                  <a:gd name="T25" fmla="*/ 1928980 h 183"/>
                  <a:gd name="T26" fmla="*/ 26736 w 467"/>
                  <a:gd name="T27" fmla="*/ 2649294 h 183"/>
                  <a:gd name="T28" fmla="*/ 34974 w 467"/>
                  <a:gd name="T29" fmla="*/ 2216853 h 183"/>
                  <a:gd name="T30" fmla="*/ 32590 w 467"/>
                  <a:gd name="T31" fmla="*/ 0 h 183"/>
                  <a:gd name="T32" fmla="*/ 45114 w 467"/>
                  <a:gd name="T33" fmla="*/ 746832 h 183"/>
                  <a:gd name="T34" fmla="*/ 53547 w 467"/>
                  <a:gd name="T35" fmla="*/ 2455415 h 183"/>
                  <a:gd name="T36" fmla="*/ 65398 w 467"/>
                  <a:gd name="T37" fmla="*/ 2397509 h 183"/>
                  <a:gd name="T38" fmla="*/ 72325 w 467"/>
                  <a:gd name="T39" fmla="*/ 3134736 h 183"/>
                  <a:gd name="T40" fmla="*/ 84761 w 467"/>
                  <a:gd name="T41" fmla="*/ 3638492 h 183"/>
                  <a:gd name="T42" fmla="*/ 93118 w 467"/>
                  <a:gd name="T43" fmla="*/ 2397509 h 183"/>
                  <a:gd name="T44" fmla="*/ 103261 w 467"/>
                  <a:gd name="T45" fmla="*/ 2935518 h 183"/>
                  <a:gd name="T46" fmla="*/ 104406 w 467"/>
                  <a:gd name="T47" fmla="*/ 5071470 h 183"/>
                  <a:gd name="T48" fmla="*/ 106828 w 467"/>
                  <a:gd name="T49" fmla="*/ 5606271 h 183"/>
                  <a:gd name="T50" fmla="*/ 111830 w 467"/>
                  <a:gd name="T51" fmla="*/ 5806815 h 183"/>
                  <a:gd name="T52" fmla="*/ 121969 w 467"/>
                  <a:gd name="T53" fmla="*/ 6580376 h 183"/>
                  <a:gd name="T54" fmla="*/ 116623 w 467"/>
                  <a:gd name="T55" fmla="*/ 7288504 h 183"/>
                  <a:gd name="T56" fmla="*/ 111830 w 467"/>
                  <a:gd name="T57" fmla="*/ 8765436 h 183"/>
                  <a:gd name="T58" fmla="*/ 104218 w 467"/>
                  <a:gd name="T59" fmla="*/ 9707723 h 183"/>
                  <a:gd name="T60" fmla="*/ 99102 w 467"/>
                  <a:gd name="T61" fmla="*/ 10474735 h 183"/>
                  <a:gd name="T62" fmla="*/ 98159 w 467"/>
                  <a:gd name="T63" fmla="*/ 11993529 h 183"/>
                  <a:gd name="T64" fmla="*/ 90164 w 467"/>
                  <a:gd name="T65" fmla="*/ 12901787 h 183"/>
                  <a:gd name="T66" fmla="*/ 82864 w 467"/>
                  <a:gd name="T67" fmla="*/ 13508521 h 183"/>
                  <a:gd name="T68" fmla="*/ 77375 w 467"/>
                  <a:gd name="T69" fmla="*/ 13632358 h 1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7"/>
                  <a:gd name="T106" fmla="*/ 0 h 183"/>
                  <a:gd name="T107" fmla="*/ 467 w 467"/>
                  <a:gd name="T108" fmla="*/ 183 h 18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7" h="183">
                    <a:moveTo>
                      <a:pt x="293" y="179"/>
                    </a:moveTo>
                    <a:lnTo>
                      <a:pt x="276" y="176"/>
                    </a:lnTo>
                    <a:lnTo>
                      <a:pt x="257" y="172"/>
                    </a:lnTo>
                    <a:lnTo>
                      <a:pt x="252" y="167"/>
                    </a:lnTo>
                    <a:lnTo>
                      <a:pt x="232" y="166"/>
                    </a:lnTo>
                    <a:lnTo>
                      <a:pt x="212" y="164"/>
                    </a:lnTo>
                    <a:lnTo>
                      <a:pt x="191" y="164"/>
                    </a:lnTo>
                    <a:lnTo>
                      <a:pt x="171" y="163"/>
                    </a:lnTo>
                    <a:lnTo>
                      <a:pt x="158" y="148"/>
                    </a:lnTo>
                    <a:lnTo>
                      <a:pt x="145" y="135"/>
                    </a:lnTo>
                    <a:lnTo>
                      <a:pt x="125" y="129"/>
                    </a:lnTo>
                    <a:lnTo>
                      <a:pt x="104" y="122"/>
                    </a:lnTo>
                    <a:lnTo>
                      <a:pt x="87" y="119"/>
                    </a:lnTo>
                    <a:lnTo>
                      <a:pt x="71" y="116"/>
                    </a:lnTo>
                    <a:lnTo>
                      <a:pt x="65" y="102"/>
                    </a:lnTo>
                    <a:lnTo>
                      <a:pt x="61" y="89"/>
                    </a:lnTo>
                    <a:lnTo>
                      <a:pt x="39" y="73"/>
                    </a:lnTo>
                    <a:lnTo>
                      <a:pt x="27" y="71"/>
                    </a:lnTo>
                    <a:lnTo>
                      <a:pt x="7" y="58"/>
                    </a:lnTo>
                    <a:lnTo>
                      <a:pt x="1" y="52"/>
                    </a:lnTo>
                    <a:lnTo>
                      <a:pt x="0" y="50"/>
                    </a:lnTo>
                    <a:lnTo>
                      <a:pt x="7" y="44"/>
                    </a:lnTo>
                    <a:lnTo>
                      <a:pt x="20" y="38"/>
                    </a:lnTo>
                    <a:lnTo>
                      <a:pt x="33" y="31"/>
                    </a:lnTo>
                    <a:lnTo>
                      <a:pt x="48" y="22"/>
                    </a:lnTo>
                    <a:lnTo>
                      <a:pt x="77" y="25"/>
                    </a:lnTo>
                    <a:lnTo>
                      <a:pt x="81" y="31"/>
                    </a:lnTo>
                    <a:lnTo>
                      <a:pt x="101" y="35"/>
                    </a:lnTo>
                    <a:lnTo>
                      <a:pt x="123" y="38"/>
                    </a:lnTo>
                    <a:lnTo>
                      <a:pt x="133" y="29"/>
                    </a:lnTo>
                    <a:lnTo>
                      <a:pt x="120" y="18"/>
                    </a:lnTo>
                    <a:lnTo>
                      <a:pt x="123" y="0"/>
                    </a:lnTo>
                    <a:lnTo>
                      <a:pt x="148" y="5"/>
                    </a:lnTo>
                    <a:lnTo>
                      <a:pt x="171" y="10"/>
                    </a:lnTo>
                    <a:lnTo>
                      <a:pt x="183" y="21"/>
                    </a:lnTo>
                    <a:lnTo>
                      <a:pt x="203" y="32"/>
                    </a:lnTo>
                    <a:lnTo>
                      <a:pt x="228" y="26"/>
                    </a:lnTo>
                    <a:lnTo>
                      <a:pt x="248" y="31"/>
                    </a:lnTo>
                    <a:lnTo>
                      <a:pt x="267" y="35"/>
                    </a:lnTo>
                    <a:lnTo>
                      <a:pt x="274" y="41"/>
                    </a:lnTo>
                    <a:lnTo>
                      <a:pt x="303" y="50"/>
                    </a:lnTo>
                    <a:lnTo>
                      <a:pt x="321" y="47"/>
                    </a:lnTo>
                    <a:lnTo>
                      <a:pt x="337" y="42"/>
                    </a:lnTo>
                    <a:lnTo>
                      <a:pt x="353" y="31"/>
                    </a:lnTo>
                    <a:lnTo>
                      <a:pt x="379" y="36"/>
                    </a:lnTo>
                    <a:lnTo>
                      <a:pt x="392" y="38"/>
                    </a:lnTo>
                    <a:lnTo>
                      <a:pt x="393" y="51"/>
                    </a:lnTo>
                    <a:lnTo>
                      <a:pt x="396" y="66"/>
                    </a:lnTo>
                    <a:lnTo>
                      <a:pt x="392" y="67"/>
                    </a:lnTo>
                    <a:lnTo>
                      <a:pt x="405" y="74"/>
                    </a:lnTo>
                    <a:lnTo>
                      <a:pt x="419" y="73"/>
                    </a:lnTo>
                    <a:lnTo>
                      <a:pt x="424" y="76"/>
                    </a:lnTo>
                    <a:lnTo>
                      <a:pt x="431" y="70"/>
                    </a:lnTo>
                    <a:lnTo>
                      <a:pt x="463" y="86"/>
                    </a:lnTo>
                    <a:lnTo>
                      <a:pt x="467" y="95"/>
                    </a:lnTo>
                    <a:lnTo>
                      <a:pt x="443" y="95"/>
                    </a:lnTo>
                    <a:lnTo>
                      <a:pt x="427" y="102"/>
                    </a:lnTo>
                    <a:lnTo>
                      <a:pt x="424" y="115"/>
                    </a:lnTo>
                    <a:lnTo>
                      <a:pt x="408" y="119"/>
                    </a:lnTo>
                    <a:lnTo>
                      <a:pt x="395" y="127"/>
                    </a:lnTo>
                    <a:lnTo>
                      <a:pt x="374" y="121"/>
                    </a:lnTo>
                    <a:lnTo>
                      <a:pt x="376" y="137"/>
                    </a:lnTo>
                    <a:lnTo>
                      <a:pt x="386" y="145"/>
                    </a:lnTo>
                    <a:lnTo>
                      <a:pt x="373" y="157"/>
                    </a:lnTo>
                    <a:lnTo>
                      <a:pt x="360" y="167"/>
                    </a:lnTo>
                    <a:lnTo>
                      <a:pt x="342" y="169"/>
                    </a:lnTo>
                    <a:lnTo>
                      <a:pt x="325" y="170"/>
                    </a:lnTo>
                    <a:lnTo>
                      <a:pt x="315" y="177"/>
                    </a:lnTo>
                    <a:lnTo>
                      <a:pt x="305" y="183"/>
                    </a:lnTo>
                    <a:lnTo>
                      <a:pt x="293" y="17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6" name="Freeform 241">
                <a:extLst>
                  <a:ext uri="{FF2B5EF4-FFF2-40B4-BE49-F238E27FC236}">
                    <a16:creationId xmlns:a16="http://schemas.microsoft.com/office/drawing/2014/main" id="{6425D181-03DD-6F74-8BC9-63C1B85D6C18}"/>
                  </a:ext>
                </a:extLst>
              </p:cNvPr>
              <p:cNvSpPr>
                <a:spLocks/>
              </p:cNvSpPr>
              <p:nvPr/>
            </p:nvSpPr>
            <p:spPr bwMode="auto">
              <a:xfrm>
                <a:off x="4085" y="1560"/>
                <a:ext cx="171" cy="102"/>
              </a:xfrm>
              <a:custGeom>
                <a:avLst/>
                <a:gdLst>
                  <a:gd name="T0" fmla="*/ 15125 w 142"/>
                  <a:gd name="T1" fmla="*/ 3160684 h 71"/>
                  <a:gd name="T2" fmla="*/ 9707 w 142"/>
                  <a:gd name="T3" fmla="*/ 2379510 h 71"/>
                  <a:gd name="T4" fmla="*/ 3556 w 142"/>
                  <a:gd name="T5" fmla="*/ 2200084 h 71"/>
                  <a:gd name="T6" fmla="*/ 0 w 142"/>
                  <a:gd name="T7" fmla="*/ 1213270 h 71"/>
                  <a:gd name="T8" fmla="*/ 3017 w 142"/>
                  <a:gd name="T9" fmla="*/ 684515 h 71"/>
                  <a:gd name="T10" fmla="*/ 7640 w 142"/>
                  <a:gd name="T11" fmla="*/ 742017 h 71"/>
                  <a:gd name="T12" fmla="*/ 12665 w 142"/>
                  <a:gd name="T13" fmla="*/ 983388 h 71"/>
                  <a:gd name="T14" fmla="*/ 15125 w 142"/>
                  <a:gd name="T15" fmla="*/ 230865 h 71"/>
                  <a:gd name="T16" fmla="*/ 19348 w 142"/>
                  <a:gd name="T17" fmla="*/ 359526 h 71"/>
                  <a:gd name="T18" fmla="*/ 25946 w 142"/>
                  <a:gd name="T19" fmla="*/ 359526 h 71"/>
                  <a:gd name="T20" fmla="*/ 32075 w 142"/>
                  <a:gd name="T21" fmla="*/ 160700 h 71"/>
                  <a:gd name="T22" fmla="*/ 37626 w 142"/>
                  <a:gd name="T23" fmla="*/ 0 h 71"/>
                  <a:gd name="T24" fmla="*/ 43712 w 142"/>
                  <a:gd name="T25" fmla="*/ 866941 h 71"/>
                  <a:gd name="T26" fmla="*/ 45302 w 142"/>
                  <a:gd name="T27" fmla="*/ 1574540 h 71"/>
                  <a:gd name="T28" fmla="*/ 41489 w 142"/>
                  <a:gd name="T29" fmla="*/ 2200084 h 71"/>
                  <a:gd name="T30" fmla="*/ 38303 w 142"/>
                  <a:gd name="T31" fmla="*/ 2874785 h 71"/>
                  <a:gd name="T32" fmla="*/ 33067 w 142"/>
                  <a:gd name="T33" fmla="*/ 3160684 h 71"/>
                  <a:gd name="T34" fmla="*/ 29602 w 142"/>
                  <a:gd name="T35" fmla="*/ 4091277 h 71"/>
                  <a:gd name="T36" fmla="*/ 26945 w 142"/>
                  <a:gd name="T37" fmla="*/ 3846937 h 71"/>
                  <a:gd name="T38" fmla="*/ 24992 w 142"/>
                  <a:gd name="T39" fmla="*/ 3846937 h 71"/>
                  <a:gd name="T40" fmla="*/ 21546 w 142"/>
                  <a:gd name="T41" fmla="*/ 4349802 h 71"/>
                  <a:gd name="T42" fmla="*/ 20283 w 142"/>
                  <a:gd name="T43" fmla="*/ 5362880 h 71"/>
                  <a:gd name="T44" fmla="*/ 11689 w 142"/>
                  <a:gd name="T45" fmla="*/ 5189940 h 71"/>
                  <a:gd name="T46" fmla="*/ 3556 w 142"/>
                  <a:gd name="T47" fmla="*/ 4954510 h 71"/>
                  <a:gd name="T48" fmla="*/ 3556 w 142"/>
                  <a:gd name="T49" fmla="*/ 4091277 h 71"/>
                  <a:gd name="T50" fmla="*/ 9200 w 142"/>
                  <a:gd name="T51" fmla="*/ 3612607 h 71"/>
                  <a:gd name="T52" fmla="*/ 15125 w 142"/>
                  <a:gd name="T53" fmla="*/ 3160684 h 7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42"/>
                  <a:gd name="T82" fmla="*/ 0 h 71"/>
                  <a:gd name="T83" fmla="*/ 142 w 142"/>
                  <a:gd name="T84" fmla="*/ 71 h 7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42" h="71">
                    <a:moveTo>
                      <a:pt x="47" y="42"/>
                    </a:moveTo>
                    <a:lnTo>
                      <a:pt x="31" y="31"/>
                    </a:lnTo>
                    <a:lnTo>
                      <a:pt x="11" y="29"/>
                    </a:lnTo>
                    <a:lnTo>
                      <a:pt x="0" y="16"/>
                    </a:lnTo>
                    <a:lnTo>
                      <a:pt x="10" y="9"/>
                    </a:lnTo>
                    <a:lnTo>
                      <a:pt x="24" y="10"/>
                    </a:lnTo>
                    <a:lnTo>
                      <a:pt x="40" y="13"/>
                    </a:lnTo>
                    <a:lnTo>
                      <a:pt x="47" y="3"/>
                    </a:lnTo>
                    <a:lnTo>
                      <a:pt x="61" y="5"/>
                    </a:lnTo>
                    <a:lnTo>
                      <a:pt x="82" y="5"/>
                    </a:lnTo>
                    <a:lnTo>
                      <a:pt x="101" y="2"/>
                    </a:lnTo>
                    <a:lnTo>
                      <a:pt x="119" y="0"/>
                    </a:lnTo>
                    <a:lnTo>
                      <a:pt x="138" y="12"/>
                    </a:lnTo>
                    <a:lnTo>
                      <a:pt x="142" y="21"/>
                    </a:lnTo>
                    <a:lnTo>
                      <a:pt x="130" y="29"/>
                    </a:lnTo>
                    <a:lnTo>
                      <a:pt x="120" y="38"/>
                    </a:lnTo>
                    <a:lnTo>
                      <a:pt x="104" y="42"/>
                    </a:lnTo>
                    <a:lnTo>
                      <a:pt x="94" y="54"/>
                    </a:lnTo>
                    <a:lnTo>
                      <a:pt x="85" y="51"/>
                    </a:lnTo>
                    <a:lnTo>
                      <a:pt x="79" y="51"/>
                    </a:lnTo>
                    <a:lnTo>
                      <a:pt x="68" y="58"/>
                    </a:lnTo>
                    <a:lnTo>
                      <a:pt x="63" y="71"/>
                    </a:lnTo>
                    <a:lnTo>
                      <a:pt x="37" y="69"/>
                    </a:lnTo>
                    <a:lnTo>
                      <a:pt x="11" y="66"/>
                    </a:lnTo>
                    <a:lnTo>
                      <a:pt x="11" y="54"/>
                    </a:lnTo>
                    <a:lnTo>
                      <a:pt x="29" y="48"/>
                    </a:lnTo>
                    <a:lnTo>
                      <a:pt x="47" y="4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7" name="Line 242">
                <a:extLst>
                  <a:ext uri="{FF2B5EF4-FFF2-40B4-BE49-F238E27FC236}">
                    <a16:creationId xmlns:a16="http://schemas.microsoft.com/office/drawing/2014/main" id="{6B218349-566F-1353-32F7-178D9F52E367}"/>
                  </a:ext>
                </a:extLst>
              </p:cNvPr>
              <p:cNvSpPr>
                <a:spLocks noChangeShapeType="1"/>
              </p:cNvSpPr>
              <p:nvPr/>
            </p:nvSpPr>
            <p:spPr bwMode="auto">
              <a:xfrm>
                <a:off x="4182" y="1726"/>
                <a:ext cx="6" cy="4"/>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8" name="Line 243">
                <a:extLst>
                  <a:ext uri="{FF2B5EF4-FFF2-40B4-BE49-F238E27FC236}">
                    <a16:creationId xmlns:a16="http://schemas.microsoft.com/office/drawing/2014/main" id="{BA95C6A2-32E9-7351-DF93-6D180124E1C0}"/>
                  </a:ext>
                </a:extLst>
              </p:cNvPr>
              <p:cNvSpPr>
                <a:spLocks noChangeShapeType="1"/>
              </p:cNvSpPr>
              <p:nvPr/>
            </p:nvSpPr>
            <p:spPr bwMode="auto">
              <a:xfrm>
                <a:off x="4186" y="1727"/>
                <a:ext cx="2" cy="8"/>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29" name="Line 244">
                <a:extLst>
                  <a:ext uri="{FF2B5EF4-FFF2-40B4-BE49-F238E27FC236}">
                    <a16:creationId xmlns:a16="http://schemas.microsoft.com/office/drawing/2014/main" id="{CE92FFB2-B6BB-F464-9171-A2951FA3978D}"/>
                  </a:ext>
                </a:extLst>
              </p:cNvPr>
              <p:cNvSpPr>
                <a:spLocks noChangeShapeType="1"/>
              </p:cNvSpPr>
              <p:nvPr/>
            </p:nvSpPr>
            <p:spPr bwMode="auto">
              <a:xfrm flipH="1">
                <a:off x="4180" y="1731"/>
                <a:ext cx="6" cy="7"/>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0" name="Line 245">
                <a:extLst>
                  <a:ext uri="{FF2B5EF4-FFF2-40B4-BE49-F238E27FC236}">
                    <a16:creationId xmlns:a16="http://schemas.microsoft.com/office/drawing/2014/main" id="{29EFBDA5-5A50-52B4-6BED-FD9A644F2506}"/>
                  </a:ext>
                </a:extLst>
              </p:cNvPr>
              <p:cNvSpPr>
                <a:spLocks noChangeShapeType="1"/>
              </p:cNvSpPr>
              <p:nvPr/>
            </p:nvSpPr>
            <p:spPr bwMode="auto">
              <a:xfrm flipH="1">
                <a:off x="4175" y="1736"/>
                <a:ext cx="7" cy="7"/>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1" name="Line 246">
                <a:extLst>
                  <a:ext uri="{FF2B5EF4-FFF2-40B4-BE49-F238E27FC236}">
                    <a16:creationId xmlns:a16="http://schemas.microsoft.com/office/drawing/2014/main" id="{941D5CE3-43AB-C696-28BD-B562A60C10C7}"/>
                  </a:ext>
                </a:extLst>
              </p:cNvPr>
              <p:cNvSpPr>
                <a:spLocks noChangeShapeType="1"/>
              </p:cNvSpPr>
              <p:nvPr/>
            </p:nvSpPr>
            <p:spPr bwMode="auto">
              <a:xfrm flipH="1">
                <a:off x="4172" y="1740"/>
                <a:ext cx="6" cy="5"/>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2" name="Line 247">
                <a:extLst>
                  <a:ext uri="{FF2B5EF4-FFF2-40B4-BE49-F238E27FC236}">
                    <a16:creationId xmlns:a16="http://schemas.microsoft.com/office/drawing/2014/main" id="{C2ACCD86-312E-926F-CC20-0FA8E3CFA94A}"/>
                  </a:ext>
                </a:extLst>
              </p:cNvPr>
              <p:cNvSpPr>
                <a:spLocks noChangeShapeType="1"/>
              </p:cNvSpPr>
              <p:nvPr/>
            </p:nvSpPr>
            <p:spPr bwMode="auto">
              <a:xfrm flipH="1">
                <a:off x="4168" y="1743"/>
                <a:ext cx="6" cy="8"/>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3" name="Line 248">
                <a:extLst>
                  <a:ext uri="{FF2B5EF4-FFF2-40B4-BE49-F238E27FC236}">
                    <a16:creationId xmlns:a16="http://schemas.microsoft.com/office/drawing/2014/main" id="{73D637E8-BD07-DA73-A046-F44EE655E348}"/>
                  </a:ext>
                </a:extLst>
              </p:cNvPr>
              <p:cNvSpPr>
                <a:spLocks noChangeShapeType="1"/>
              </p:cNvSpPr>
              <p:nvPr/>
            </p:nvSpPr>
            <p:spPr bwMode="auto">
              <a:xfrm>
                <a:off x="4171" y="1748"/>
                <a:ext cx="1" cy="9"/>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4" name="Line 249">
                <a:extLst>
                  <a:ext uri="{FF2B5EF4-FFF2-40B4-BE49-F238E27FC236}">
                    <a16:creationId xmlns:a16="http://schemas.microsoft.com/office/drawing/2014/main" id="{EB4DD601-D669-1D1C-91D7-9971949C2D49}"/>
                  </a:ext>
                </a:extLst>
              </p:cNvPr>
              <p:cNvSpPr>
                <a:spLocks noChangeShapeType="1"/>
              </p:cNvSpPr>
              <p:nvPr/>
            </p:nvSpPr>
            <p:spPr bwMode="auto">
              <a:xfrm>
                <a:off x="4171" y="1754"/>
                <a:ext cx="1" cy="11"/>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5" name="Line 250">
                <a:extLst>
                  <a:ext uri="{FF2B5EF4-FFF2-40B4-BE49-F238E27FC236}">
                    <a16:creationId xmlns:a16="http://schemas.microsoft.com/office/drawing/2014/main" id="{18ADAEF9-0204-F219-62C4-2007563040CF}"/>
                  </a:ext>
                </a:extLst>
              </p:cNvPr>
              <p:cNvSpPr>
                <a:spLocks noChangeShapeType="1"/>
              </p:cNvSpPr>
              <p:nvPr/>
            </p:nvSpPr>
            <p:spPr bwMode="auto">
              <a:xfrm>
                <a:off x="4172" y="1763"/>
                <a:ext cx="3" cy="7"/>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6" name="Line 251">
                <a:extLst>
                  <a:ext uri="{FF2B5EF4-FFF2-40B4-BE49-F238E27FC236}">
                    <a16:creationId xmlns:a16="http://schemas.microsoft.com/office/drawing/2014/main" id="{0C2829A9-9732-3265-9888-2F034D42928B}"/>
                  </a:ext>
                </a:extLst>
              </p:cNvPr>
              <p:cNvSpPr>
                <a:spLocks noChangeShapeType="1"/>
              </p:cNvSpPr>
              <p:nvPr/>
            </p:nvSpPr>
            <p:spPr bwMode="auto">
              <a:xfrm>
                <a:off x="4174" y="1768"/>
                <a:ext cx="5" cy="10"/>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7" name="Line 252">
                <a:extLst>
                  <a:ext uri="{FF2B5EF4-FFF2-40B4-BE49-F238E27FC236}">
                    <a16:creationId xmlns:a16="http://schemas.microsoft.com/office/drawing/2014/main" id="{F17087CF-FB52-3B75-B013-94D44E936F0E}"/>
                  </a:ext>
                </a:extLst>
              </p:cNvPr>
              <p:cNvSpPr>
                <a:spLocks noChangeShapeType="1"/>
              </p:cNvSpPr>
              <p:nvPr/>
            </p:nvSpPr>
            <p:spPr bwMode="auto">
              <a:xfrm>
                <a:off x="4178" y="1776"/>
                <a:ext cx="2" cy="5"/>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8" name="Line 253">
                <a:extLst>
                  <a:ext uri="{FF2B5EF4-FFF2-40B4-BE49-F238E27FC236}">
                    <a16:creationId xmlns:a16="http://schemas.microsoft.com/office/drawing/2014/main" id="{BC8CA4AE-BE62-5AE1-A89D-1DBF5296A8FE}"/>
                  </a:ext>
                </a:extLst>
              </p:cNvPr>
              <p:cNvSpPr>
                <a:spLocks noChangeShapeType="1"/>
              </p:cNvSpPr>
              <p:nvPr/>
            </p:nvSpPr>
            <p:spPr bwMode="auto">
              <a:xfrm>
                <a:off x="4194" y="1812"/>
                <a:ext cx="1" cy="5"/>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39" name="Line 254">
                <a:extLst>
                  <a:ext uri="{FF2B5EF4-FFF2-40B4-BE49-F238E27FC236}">
                    <a16:creationId xmlns:a16="http://schemas.microsoft.com/office/drawing/2014/main" id="{CC667641-8603-F5A7-D0E0-C620A714237F}"/>
                  </a:ext>
                </a:extLst>
              </p:cNvPr>
              <p:cNvSpPr>
                <a:spLocks noChangeShapeType="1"/>
              </p:cNvSpPr>
              <p:nvPr/>
            </p:nvSpPr>
            <p:spPr bwMode="auto">
              <a:xfrm>
                <a:off x="4194" y="1815"/>
                <a:ext cx="3" cy="8"/>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0" name="Line 255">
                <a:extLst>
                  <a:ext uri="{FF2B5EF4-FFF2-40B4-BE49-F238E27FC236}">
                    <a16:creationId xmlns:a16="http://schemas.microsoft.com/office/drawing/2014/main" id="{4833BC4B-010E-0E0B-B951-31BD2030ECA4}"/>
                  </a:ext>
                </a:extLst>
              </p:cNvPr>
              <p:cNvSpPr>
                <a:spLocks noChangeShapeType="1"/>
              </p:cNvSpPr>
              <p:nvPr/>
            </p:nvSpPr>
            <p:spPr bwMode="auto">
              <a:xfrm>
                <a:off x="4197" y="1822"/>
                <a:ext cx="8" cy="6"/>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1" name="Line 256">
                <a:extLst>
                  <a:ext uri="{FF2B5EF4-FFF2-40B4-BE49-F238E27FC236}">
                    <a16:creationId xmlns:a16="http://schemas.microsoft.com/office/drawing/2014/main" id="{428F0AE6-8691-9B12-32D0-B9EE2C4A0334}"/>
                  </a:ext>
                </a:extLst>
              </p:cNvPr>
              <p:cNvSpPr>
                <a:spLocks noChangeShapeType="1"/>
              </p:cNvSpPr>
              <p:nvPr/>
            </p:nvSpPr>
            <p:spPr bwMode="auto">
              <a:xfrm>
                <a:off x="4203" y="1826"/>
                <a:ext cx="6" cy="2"/>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2" name="Line 257">
                <a:extLst>
                  <a:ext uri="{FF2B5EF4-FFF2-40B4-BE49-F238E27FC236}">
                    <a16:creationId xmlns:a16="http://schemas.microsoft.com/office/drawing/2014/main" id="{CF318297-0AB5-EB05-330D-A84B37A50719}"/>
                  </a:ext>
                </a:extLst>
              </p:cNvPr>
              <p:cNvSpPr>
                <a:spLocks noChangeShapeType="1"/>
              </p:cNvSpPr>
              <p:nvPr/>
            </p:nvSpPr>
            <p:spPr bwMode="auto">
              <a:xfrm flipV="1">
                <a:off x="4289" y="1796"/>
                <a:ext cx="10" cy="4"/>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3" name="Line 258">
                <a:extLst>
                  <a:ext uri="{FF2B5EF4-FFF2-40B4-BE49-F238E27FC236}">
                    <a16:creationId xmlns:a16="http://schemas.microsoft.com/office/drawing/2014/main" id="{9C47408E-04FF-5A35-3CF5-8C36D27B10C0}"/>
                  </a:ext>
                </a:extLst>
              </p:cNvPr>
              <p:cNvSpPr>
                <a:spLocks noChangeShapeType="1"/>
              </p:cNvSpPr>
              <p:nvPr/>
            </p:nvSpPr>
            <p:spPr bwMode="auto">
              <a:xfrm flipV="1">
                <a:off x="4298" y="1781"/>
                <a:ext cx="1" cy="15"/>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4" name="Line 259">
                <a:extLst>
                  <a:ext uri="{FF2B5EF4-FFF2-40B4-BE49-F238E27FC236}">
                    <a16:creationId xmlns:a16="http://schemas.microsoft.com/office/drawing/2014/main" id="{292A6680-4CDF-A9A0-72BD-51DF6FAD8ED3}"/>
                  </a:ext>
                </a:extLst>
              </p:cNvPr>
              <p:cNvSpPr>
                <a:spLocks noChangeShapeType="1"/>
              </p:cNvSpPr>
              <p:nvPr/>
            </p:nvSpPr>
            <p:spPr bwMode="auto">
              <a:xfrm flipV="1">
                <a:off x="4299" y="1762"/>
                <a:ext cx="3" cy="23"/>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5" name="Line 260">
                <a:extLst>
                  <a:ext uri="{FF2B5EF4-FFF2-40B4-BE49-F238E27FC236}">
                    <a16:creationId xmlns:a16="http://schemas.microsoft.com/office/drawing/2014/main" id="{C19A87CA-0020-DDA4-9DB2-0D2C0E14141F}"/>
                  </a:ext>
                </a:extLst>
              </p:cNvPr>
              <p:cNvSpPr>
                <a:spLocks noChangeShapeType="1"/>
              </p:cNvSpPr>
              <p:nvPr/>
            </p:nvSpPr>
            <p:spPr bwMode="auto">
              <a:xfrm flipH="1" flipV="1">
                <a:off x="4287" y="1753"/>
                <a:ext cx="15" cy="10"/>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6" name="Line 261">
                <a:extLst>
                  <a:ext uri="{FF2B5EF4-FFF2-40B4-BE49-F238E27FC236}">
                    <a16:creationId xmlns:a16="http://schemas.microsoft.com/office/drawing/2014/main" id="{A53D6898-BCD5-8792-DDAC-9742746CE482}"/>
                  </a:ext>
                </a:extLst>
              </p:cNvPr>
              <p:cNvSpPr>
                <a:spLocks noChangeShapeType="1"/>
              </p:cNvSpPr>
              <p:nvPr/>
            </p:nvSpPr>
            <p:spPr bwMode="auto">
              <a:xfrm flipH="1" flipV="1">
                <a:off x="4277" y="1753"/>
                <a:ext cx="12" cy="1"/>
              </a:xfrm>
              <a:prstGeom prst="line">
                <a:avLst/>
              </a:prstGeom>
              <a:grpFill/>
              <a:ln w="1651">
                <a:solidFill>
                  <a:schemeClr val="bg1"/>
                </a:solidFill>
                <a:round/>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7" name="Freeform 262">
                <a:extLst>
                  <a:ext uri="{FF2B5EF4-FFF2-40B4-BE49-F238E27FC236}">
                    <a16:creationId xmlns:a16="http://schemas.microsoft.com/office/drawing/2014/main" id="{53C24140-3158-63B9-8A0A-D7B586FC702E}"/>
                  </a:ext>
                </a:extLst>
              </p:cNvPr>
              <p:cNvSpPr>
                <a:spLocks/>
              </p:cNvSpPr>
              <p:nvPr/>
            </p:nvSpPr>
            <p:spPr bwMode="auto">
              <a:xfrm>
                <a:off x="4048" y="1602"/>
                <a:ext cx="150" cy="128"/>
              </a:xfrm>
              <a:custGeom>
                <a:avLst/>
                <a:gdLst>
                  <a:gd name="T0" fmla="*/ 29909 w 125"/>
                  <a:gd name="T1" fmla="*/ 6196524 h 89"/>
                  <a:gd name="T2" fmla="*/ 26873 w 125"/>
                  <a:gd name="T3" fmla="*/ 6196524 h 89"/>
                  <a:gd name="T4" fmla="*/ 21547 w 125"/>
                  <a:gd name="T5" fmla="*/ 6948099 h 89"/>
                  <a:gd name="T6" fmla="*/ 19958 w 125"/>
                  <a:gd name="T7" fmla="*/ 5204790 h 89"/>
                  <a:gd name="T8" fmla="*/ 18662 w 125"/>
                  <a:gd name="T9" fmla="*/ 5204790 h 89"/>
                  <a:gd name="T10" fmla="*/ 17308 w 125"/>
                  <a:gd name="T11" fmla="*/ 4662591 h 89"/>
                  <a:gd name="T12" fmla="*/ 15552 w 125"/>
                  <a:gd name="T13" fmla="*/ 4926455 h 89"/>
                  <a:gd name="T14" fmla="*/ 14704 w 125"/>
                  <a:gd name="T15" fmla="*/ 5696232 h 89"/>
                  <a:gd name="T16" fmla="*/ 11554 w 125"/>
                  <a:gd name="T17" fmla="*/ 6196524 h 89"/>
                  <a:gd name="T18" fmla="*/ 10872 w 125"/>
                  <a:gd name="T19" fmla="*/ 6402175 h 89"/>
                  <a:gd name="T20" fmla="*/ 8023 w 125"/>
                  <a:gd name="T21" fmla="*/ 6402175 h 89"/>
                  <a:gd name="T22" fmla="*/ 5572 w 125"/>
                  <a:gd name="T23" fmla="*/ 6454802 h 89"/>
                  <a:gd name="T24" fmla="*/ 4231 w 125"/>
                  <a:gd name="T25" fmla="*/ 6218643 h 89"/>
                  <a:gd name="T26" fmla="*/ 4768 w 125"/>
                  <a:gd name="T27" fmla="*/ 5334565 h 89"/>
                  <a:gd name="T28" fmla="*/ 6092 w 125"/>
                  <a:gd name="T29" fmla="*/ 4451512 h 89"/>
                  <a:gd name="T30" fmla="*/ 4768 w 125"/>
                  <a:gd name="T31" fmla="*/ 3943182 h 89"/>
                  <a:gd name="T32" fmla="*/ 1916 w 125"/>
                  <a:gd name="T33" fmla="*/ 3425427 h 89"/>
                  <a:gd name="T34" fmla="*/ 0 w 125"/>
                  <a:gd name="T35" fmla="*/ 2864414 h 89"/>
                  <a:gd name="T36" fmla="*/ 4643 w 125"/>
                  <a:gd name="T37" fmla="*/ 1906369 h 89"/>
                  <a:gd name="T38" fmla="*/ 8772 w 125"/>
                  <a:gd name="T39" fmla="*/ 757753 h 89"/>
                  <a:gd name="T40" fmla="*/ 11864 w 125"/>
                  <a:gd name="T41" fmla="*/ 0 h 89"/>
                  <a:gd name="T42" fmla="*/ 17645 w 125"/>
                  <a:gd name="T43" fmla="*/ 166045 h 89"/>
                  <a:gd name="T44" fmla="*/ 22394 w 125"/>
                  <a:gd name="T45" fmla="*/ 1021703 h 89"/>
                  <a:gd name="T46" fmla="*/ 17084 w 125"/>
                  <a:gd name="T47" fmla="*/ 1469415 h 89"/>
                  <a:gd name="T48" fmla="*/ 11864 w 125"/>
                  <a:gd name="T49" fmla="*/ 1968091 h 89"/>
                  <a:gd name="T50" fmla="*/ 11864 w 125"/>
                  <a:gd name="T51" fmla="*/ 2864414 h 89"/>
                  <a:gd name="T52" fmla="*/ 19512 w 125"/>
                  <a:gd name="T53" fmla="*/ 3120637 h 89"/>
                  <a:gd name="T54" fmla="*/ 26873 w 125"/>
                  <a:gd name="T55" fmla="*/ 3241958 h 89"/>
                  <a:gd name="T56" fmla="*/ 28751 w 125"/>
                  <a:gd name="T57" fmla="*/ 4451512 h 89"/>
                  <a:gd name="T58" fmla="*/ 33041 w 125"/>
                  <a:gd name="T59" fmla="*/ 4488106 h 89"/>
                  <a:gd name="T60" fmla="*/ 35654 w 125"/>
                  <a:gd name="T61" fmla="*/ 6196524 h 89"/>
                  <a:gd name="T62" fmla="*/ 35425 w 125"/>
                  <a:gd name="T63" fmla="*/ 6218643 h 89"/>
                  <a:gd name="T64" fmla="*/ 31429 w 125"/>
                  <a:gd name="T65" fmla="*/ 6196524 h 89"/>
                  <a:gd name="T66" fmla="*/ 29909 w 125"/>
                  <a:gd name="T67" fmla="*/ 6196524 h 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5"/>
                  <a:gd name="T103" fmla="*/ 0 h 89"/>
                  <a:gd name="T104" fmla="*/ 125 w 125"/>
                  <a:gd name="T105" fmla="*/ 89 h 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5" h="89">
                    <a:moveTo>
                      <a:pt x="106" y="79"/>
                    </a:moveTo>
                    <a:lnTo>
                      <a:pt x="94" y="79"/>
                    </a:lnTo>
                    <a:lnTo>
                      <a:pt x="76" y="89"/>
                    </a:lnTo>
                    <a:lnTo>
                      <a:pt x="70" y="67"/>
                    </a:lnTo>
                    <a:lnTo>
                      <a:pt x="65" y="67"/>
                    </a:lnTo>
                    <a:lnTo>
                      <a:pt x="61" y="60"/>
                    </a:lnTo>
                    <a:lnTo>
                      <a:pt x="54" y="63"/>
                    </a:lnTo>
                    <a:lnTo>
                      <a:pt x="52" y="73"/>
                    </a:lnTo>
                    <a:lnTo>
                      <a:pt x="41" y="79"/>
                    </a:lnTo>
                    <a:lnTo>
                      <a:pt x="38" y="82"/>
                    </a:lnTo>
                    <a:lnTo>
                      <a:pt x="28" y="82"/>
                    </a:lnTo>
                    <a:lnTo>
                      <a:pt x="19" y="83"/>
                    </a:lnTo>
                    <a:lnTo>
                      <a:pt x="15" y="80"/>
                    </a:lnTo>
                    <a:lnTo>
                      <a:pt x="17" y="69"/>
                    </a:lnTo>
                    <a:lnTo>
                      <a:pt x="22" y="57"/>
                    </a:lnTo>
                    <a:lnTo>
                      <a:pt x="17" y="50"/>
                    </a:lnTo>
                    <a:lnTo>
                      <a:pt x="7" y="44"/>
                    </a:lnTo>
                    <a:lnTo>
                      <a:pt x="0" y="37"/>
                    </a:lnTo>
                    <a:lnTo>
                      <a:pt x="16" y="24"/>
                    </a:lnTo>
                    <a:lnTo>
                      <a:pt x="31" y="10"/>
                    </a:lnTo>
                    <a:lnTo>
                      <a:pt x="42" y="0"/>
                    </a:lnTo>
                    <a:lnTo>
                      <a:pt x="62" y="2"/>
                    </a:lnTo>
                    <a:lnTo>
                      <a:pt x="78" y="13"/>
                    </a:lnTo>
                    <a:lnTo>
                      <a:pt x="60" y="19"/>
                    </a:lnTo>
                    <a:lnTo>
                      <a:pt x="42" y="25"/>
                    </a:lnTo>
                    <a:lnTo>
                      <a:pt x="42" y="37"/>
                    </a:lnTo>
                    <a:lnTo>
                      <a:pt x="68" y="40"/>
                    </a:lnTo>
                    <a:lnTo>
                      <a:pt x="94" y="42"/>
                    </a:lnTo>
                    <a:lnTo>
                      <a:pt x="102" y="57"/>
                    </a:lnTo>
                    <a:lnTo>
                      <a:pt x="116" y="58"/>
                    </a:lnTo>
                    <a:lnTo>
                      <a:pt x="125" y="79"/>
                    </a:lnTo>
                    <a:lnTo>
                      <a:pt x="124" y="80"/>
                    </a:lnTo>
                    <a:lnTo>
                      <a:pt x="110" y="79"/>
                    </a:lnTo>
                    <a:lnTo>
                      <a:pt x="106" y="7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8" name="Freeform 263">
                <a:extLst>
                  <a:ext uri="{FF2B5EF4-FFF2-40B4-BE49-F238E27FC236}">
                    <a16:creationId xmlns:a16="http://schemas.microsoft.com/office/drawing/2014/main" id="{7EE77D68-6934-1E8C-1803-1B6D72CED899}"/>
                  </a:ext>
                </a:extLst>
              </p:cNvPr>
              <p:cNvSpPr>
                <a:spLocks/>
              </p:cNvSpPr>
              <p:nvPr/>
            </p:nvSpPr>
            <p:spPr bwMode="auto">
              <a:xfrm>
                <a:off x="5138" y="1285"/>
                <a:ext cx="157" cy="210"/>
              </a:xfrm>
              <a:custGeom>
                <a:avLst/>
                <a:gdLst>
                  <a:gd name="T0" fmla="*/ 31408 w 131"/>
                  <a:gd name="T1" fmla="*/ 7713236 h 146"/>
                  <a:gd name="T2" fmla="*/ 27271 w 131"/>
                  <a:gd name="T3" fmla="*/ 6623026 h 146"/>
                  <a:gd name="T4" fmla="*/ 22174 w 131"/>
                  <a:gd name="T5" fmla="*/ 5362539 h 146"/>
                  <a:gd name="T6" fmla="*/ 17392 w 131"/>
                  <a:gd name="T7" fmla="*/ 4242014 h 146"/>
                  <a:gd name="T8" fmla="*/ 12206 w 131"/>
                  <a:gd name="T9" fmla="*/ 3130090 h 146"/>
                  <a:gd name="T10" fmla="*/ 11291 w 131"/>
                  <a:gd name="T11" fmla="*/ 2663801 h 146"/>
                  <a:gd name="T12" fmla="*/ 5917 w 131"/>
                  <a:gd name="T13" fmla="*/ 1248653 h 146"/>
                  <a:gd name="T14" fmla="*/ 1074 w 131"/>
                  <a:gd name="T15" fmla="*/ 0 h 146"/>
                  <a:gd name="T16" fmla="*/ 0 w 131"/>
                  <a:gd name="T17" fmla="*/ 168268 h 146"/>
                  <a:gd name="T18" fmla="*/ 4119 w 131"/>
                  <a:gd name="T19" fmla="*/ 923632 h 146"/>
                  <a:gd name="T20" fmla="*/ 3811 w 131"/>
                  <a:gd name="T21" fmla="*/ 1389576 h 146"/>
                  <a:gd name="T22" fmla="*/ 1848 w 131"/>
                  <a:gd name="T23" fmla="*/ 1389576 h 146"/>
                  <a:gd name="T24" fmla="*/ 5917 w 131"/>
                  <a:gd name="T25" fmla="*/ 2663801 h 146"/>
                  <a:gd name="T26" fmla="*/ 9793 w 131"/>
                  <a:gd name="T27" fmla="*/ 3728242 h 146"/>
                  <a:gd name="T28" fmla="*/ 13532 w 131"/>
                  <a:gd name="T29" fmla="*/ 4935727 h 146"/>
                  <a:gd name="T30" fmla="*/ 17392 w 131"/>
                  <a:gd name="T31" fmla="*/ 6231805 h 146"/>
                  <a:gd name="T32" fmla="*/ 20204 w 131"/>
                  <a:gd name="T33" fmla="*/ 7687294 h 146"/>
                  <a:gd name="T34" fmla="*/ 23316 w 131"/>
                  <a:gd name="T35" fmla="*/ 8776164 h 146"/>
                  <a:gd name="T36" fmla="*/ 26575 w 131"/>
                  <a:gd name="T37" fmla="*/ 9946824 h 146"/>
                  <a:gd name="T38" fmla="*/ 29939 w 131"/>
                  <a:gd name="T39" fmla="*/ 11422226 h 146"/>
                  <a:gd name="T40" fmla="*/ 30834 w 131"/>
                  <a:gd name="T41" fmla="*/ 11422226 h 146"/>
                  <a:gd name="T42" fmla="*/ 30706 w 131"/>
                  <a:gd name="T43" fmla="*/ 10426763 h 146"/>
                  <a:gd name="T44" fmla="*/ 34396 w 131"/>
                  <a:gd name="T45" fmla="*/ 10887555 h 146"/>
                  <a:gd name="T46" fmla="*/ 35881 w 131"/>
                  <a:gd name="T47" fmla="*/ 11422226 h 146"/>
                  <a:gd name="T48" fmla="*/ 33285 w 131"/>
                  <a:gd name="T49" fmla="*/ 10426763 h 146"/>
                  <a:gd name="T50" fmla="*/ 25281 w 131"/>
                  <a:gd name="T51" fmla="*/ 8711018 h 146"/>
                  <a:gd name="T52" fmla="*/ 23947 w 131"/>
                  <a:gd name="T53" fmla="*/ 6970130 h 146"/>
                  <a:gd name="T54" fmla="*/ 25182 w 131"/>
                  <a:gd name="T55" fmla="*/ 6915415 h 146"/>
                  <a:gd name="T56" fmla="*/ 29939 w 131"/>
                  <a:gd name="T57" fmla="*/ 7439028 h 146"/>
                  <a:gd name="T58" fmla="*/ 31408 w 131"/>
                  <a:gd name="T59" fmla="*/ 7713236 h 14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1"/>
                  <a:gd name="T91" fmla="*/ 0 h 146"/>
                  <a:gd name="T92" fmla="*/ 131 w 131"/>
                  <a:gd name="T93" fmla="*/ 146 h 14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1" h="146">
                    <a:moveTo>
                      <a:pt x="115" y="99"/>
                    </a:moveTo>
                    <a:lnTo>
                      <a:pt x="99" y="85"/>
                    </a:lnTo>
                    <a:lnTo>
                      <a:pt x="81" y="69"/>
                    </a:lnTo>
                    <a:lnTo>
                      <a:pt x="63" y="54"/>
                    </a:lnTo>
                    <a:lnTo>
                      <a:pt x="44" y="40"/>
                    </a:lnTo>
                    <a:lnTo>
                      <a:pt x="41" y="34"/>
                    </a:lnTo>
                    <a:lnTo>
                      <a:pt x="22" y="16"/>
                    </a:lnTo>
                    <a:lnTo>
                      <a:pt x="4" y="0"/>
                    </a:lnTo>
                    <a:lnTo>
                      <a:pt x="0" y="2"/>
                    </a:lnTo>
                    <a:lnTo>
                      <a:pt x="15" y="12"/>
                    </a:lnTo>
                    <a:lnTo>
                      <a:pt x="13" y="18"/>
                    </a:lnTo>
                    <a:lnTo>
                      <a:pt x="7" y="18"/>
                    </a:lnTo>
                    <a:lnTo>
                      <a:pt x="22" y="34"/>
                    </a:lnTo>
                    <a:lnTo>
                      <a:pt x="36" y="48"/>
                    </a:lnTo>
                    <a:lnTo>
                      <a:pt x="49" y="63"/>
                    </a:lnTo>
                    <a:lnTo>
                      <a:pt x="63" y="80"/>
                    </a:lnTo>
                    <a:lnTo>
                      <a:pt x="74" y="98"/>
                    </a:lnTo>
                    <a:lnTo>
                      <a:pt x="86" y="112"/>
                    </a:lnTo>
                    <a:lnTo>
                      <a:pt x="97" y="127"/>
                    </a:lnTo>
                    <a:lnTo>
                      <a:pt x="109" y="146"/>
                    </a:lnTo>
                    <a:lnTo>
                      <a:pt x="113" y="146"/>
                    </a:lnTo>
                    <a:lnTo>
                      <a:pt x="112" y="133"/>
                    </a:lnTo>
                    <a:lnTo>
                      <a:pt x="125" y="139"/>
                    </a:lnTo>
                    <a:lnTo>
                      <a:pt x="131" y="146"/>
                    </a:lnTo>
                    <a:lnTo>
                      <a:pt x="121" y="133"/>
                    </a:lnTo>
                    <a:lnTo>
                      <a:pt x="93" y="111"/>
                    </a:lnTo>
                    <a:lnTo>
                      <a:pt x="87" y="89"/>
                    </a:lnTo>
                    <a:lnTo>
                      <a:pt x="92" y="88"/>
                    </a:lnTo>
                    <a:lnTo>
                      <a:pt x="109" y="95"/>
                    </a:lnTo>
                    <a:lnTo>
                      <a:pt x="115" y="99"/>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49" name="Freeform 264">
                <a:extLst>
                  <a:ext uri="{FF2B5EF4-FFF2-40B4-BE49-F238E27FC236}">
                    <a16:creationId xmlns:a16="http://schemas.microsoft.com/office/drawing/2014/main" id="{34A19A28-53F6-B691-8B9B-311C1F4731F2}"/>
                  </a:ext>
                </a:extLst>
              </p:cNvPr>
              <p:cNvSpPr>
                <a:spLocks/>
              </p:cNvSpPr>
              <p:nvPr/>
            </p:nvSpPr>
            <p:spPr bwMode="auto">
              <a:xfrm>
                <a:off x="5379" y="1509"/>
                <a:ext cx="16" cy="24"/>
              </a:xfrm>
              <a:custGeom>
                <a:avLst/>
                <a:gdLst>
                  <a:gd name="T0" fmla="*/ 877 w 14"/>
                  <a:gd name="T1" fmla="*/ 0 h 17"/>
                  <a:gd name="T2" fmla="*/ 1 w 14"/>
                  <a:gd name="T3" fmla="*/ 177257 h 17"/>
                  <a:gd name="T4" fmla="*/ 0 w 14"/>
                  <a:gd name="T5" fmla="*/ 755682 h 17"/>
                  <a:gd name="T6" fmla="*/ 318 w 14"/>
                  <a:gd name="T7" fmla="*/ 440269 h 17"/>
                  <a:gd name="T8" fmla="*/ 707 w 14"/>
                  <a:gd name="T9" fmla="*/ 1 h 17"/>
                  <a:gd name="T10" fmla="*/ 877 w 14"/>
                  <a:gd name="T11" fmla="*/ 0 h 17"/>
                  <a:gd name="T12" fmla="*/ 0 60000 65536"/>
                  <a:gd name="T13" fmla="*/ 0 60000 65536"/>
                  <a:gd name="T14" fmla="*/ 0 60000 65536"/>
                  <a:gd name="T15" fmla="*/ 0 60000 65536"/>
                  <a:gd name="T16" fmla="*/ 0 60000 65536"/>
                  <a:gd name="T17" fmla="*/ 0 60000 65536"/>
                  <a:gd name="T18" fmla="*/ 0 w 14"/>
                  <a:gd name="T19" fmla="*/ 0 h 17"/>
                  <a:gd name="T20" fmla="*/ 14 w 1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4" h="17">
                    <a:moveTo>
                      <a:pt x="14" y="0"/>
                    </a:moveTo>
                    <a:lnTo>
                      <a:pt x="1" y="4"/>
                    </a:lnTo>
                    <a:lnTo>
                      <a:pt x="0" y="17"/>
                    </a:lnTo>
                    <a:lnTo>
                      <a:pt x="5" y="10"/>
                    </a:lnTo>
                    <a:lnTo>
                      <a:pt x="11" y="1"/>
                    </a:lnTo>
                    <a:lnTo>
                      <a:pt x="14"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50" name="Freeform 265">
                <a:extLst>
                  <a:ext uri="{FF2B5EF4-FFF2-40B4-BE49-F238E27FC236}">
                    <a16:creationId xmlns:a16="http://schemas.microsoft.com/office/drawing/2014/main" id="{931948CD-9498-5491-95B7-650CE90CB91D}"/>
                  </a:ext>
                </a:extLst>
              </p:cNvPr>
              <p:cNvSpPr>
                <a:spLocks/>
              </p:cNvSpPr>
              <p:nvPr/>
            </p:nvSpPr>
            <p:spPr bwMode="auto">
              <a:xfrm>
                <a:off x="5425" y="1377"/>
                <a:ext cx="6" cy="16"/>
              </a:xfrm>
              <a:custGeom>
                <a:avLst/>
                <a:gdLst>
                  <a:gd name="T0" fmla="*/ 1049869 w 4"/>
                  <a:gd name="T1" fmla="*/ 228463 h 11"/>
                  <a:gd name="T2" fmla="*/ 311073 w 4"/>
                  <a:gd name="T3" fmla="*/ 1189809 h 11"/>
                  <a:gd name="T4" fmla="*/ 0 w 4"/>
                  <a:gd name="T5" fmla="*/ 0 h 11"/>
                  <a:gd name="T6" fmla="*/ 1049869 w 4"/>
                  <a:gd name="T7" fmla="*/ 228463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4" y="2"/>
                    </a:moveTo>
                    <a:lnTo>
                      <a:pt x="1" y="11"/>
                    </a:lnTo>
                    <a:lnTo>
                      <a:pt x="0" y="0"/>
                    </a:lnTo>
                    <a:lnTo>
                      <a:pt x="4" y="2"/>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51" name="Freeform 266">
                <a:extLst>
                  <a:ext uri="{FF2B5EF4-FFF2-40B4-BE49-F238E27FC236}">
                    <a16:creationId xmlns:a16="http://schemas.microsoft.com/office/drawing/2014/main" id="{E78A633A-F84E-3D9F-41FC-F8D99CCB5F39}"/>
                  </a:ext>
                </a:extLst>
              </p:cNvPr>
              <p:cNvSpPr>
                <a:spLocks/>
              </p:cNvSpPr>
              <p:nvPr/>
            </p:nvSpPr>
            <p:spPr bwMode="auto">
              <a:xfrm>
                <a:off x="5364" y="1533"/>
                <a:ext cx="8" cy="17"/>
              </a:xfrm>
              <a:custGeom>
                <a:avLst/>
                <a:gdLst>
                  <a:gd name="T0" fmla="*/ 47519 w 6"/>
                  <a:gd name="T1" fmla="*/ 0 h 12"/>
                  <a:gd name="T2" fmla="*/ 0 w 6"/>
                  <a:gd name="T3" fmla="*/ 580607 h 12"/>
                  <a:gd name="T4" fmla="*/ 0 w 6"/>
                  <a:gd name="T5" fmla="*/ 158205 h 12"/>
                  <a:gd name="T6" fmla="*/ 47519 w 6"/>
                  <a:gd name="T7" fmla="*/ 0 h 12"/>
                  <a:gd name="T8" fmla="*/ 0 60000 65536"/>
                  <a:gd name="T9" fmla="*/ 0 60000 65536"/>
                  <a:gd name="T10" fmla="*/ 0 60000 65536"/>
                  <a:gd name="T11" fmla="*/ 0 60000 65536"/>
                  <a:gd name="T12" fmla="*/ 0 w 6"/>
                  <a:gd name="T13" fmla="*/ 0 h 12"/>
                  <a:gd name="T14" fmla="*/ 6 w 6"/>
                  <a:gd name="T15" fmla="*/ 12 h 12"/>
                </a:gdLst>
                <a:ahLst/>
                <a:cxnLst>
                  <a:cxn ang="T8">
                    <a:pos x="T0" y="T1"/>
                  </a:cxn>
                  <a:cxn ang="T9">
                    <a:pos x="T2" y="T3"/>
                  </a:cxn>
                  <a:cxn ang="T10">
                    <a:pos x="T4" y="T5"/>
                  </a:cxn>
                  <a:cxn ang="T11">
                    <a:pos x="T6" y="T7"/>
                  </a:cxn>
                </a:cxnLst>
                <a:rect l="T12" t="T13" r="T14" b="T15"/>
                <a:pathLst>
                  <a:path w="6" h="12">
                    <a:moveTo>
                      <a:pt x="6" y="0"/>
                    </a:moveTo>
                    <a:lnTo>
                      <a:pt x="0" y="12"/>
                    </a:lnTo>
                    <a:lnTo>
                      <a:pt x="0" y="3"/>
                    </a:lnTo>
                    <a:lnTo>
                      <a:pt x="6"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52" name="Freeform 267">
                <a:extLst>
                  <a:ext uri="{FF2B5EF4-FFF2-40B4-BE49-F238E27FC236}">
                    <a16:creationId xmlns:a16="http://schemas.microsoft.com/office/drawing/2014/main" id="{C49AD7AD-3536-452C-D509-275D57B9A944}"/>
                  </a:ext>
                </a:extLst>
              </p:cNvPr>
              <p:cNvSpPr>
                <a:spLocks/>
              </p:cNvSpPr>
              <p:nvPr/>
            </p:nvSpPr>
            <p:spPr bwMode="auto">
              <a:xfrm>
                <a:off x="4680" y="837"/>
                <a:ext cx="12" cy="6"/>
              </a:xfrm>
              <a:custGeom>
                <a:avLst/>
                <a:gdLst>
                  <a:gd name="T0" fmla="*/ 2759 w 10"/>
                  <a:gd name="T1" fmla="*/ 0 h 4"/>
                  <a:gd name="T2" fmla="*/ 0 w 10"/>
                  <a:gd name="T3" fmla="*/ 0 h 4"/>
                  <a:gd name="T4" fmla="*/ 2759 w 10"/>
                  <a:gd name="T5" fmla="*/ 1049869 h 4"/>
                  <a:gd name="T6" fmla="*/ 2759 w 10"/>
                  <a:gd name="T7" fmla="*/ 0 h 4"/>
                  <a:gd name="T8" fmla="*/ 0 60000 65536"/>
                  <a:gd name="T9" fmla="*/ 0 60000 65536"/>
                  <a:gd name="T10" fmla="*/ 0 60000 65536"/>
                  <a:gd name="T11" fmla="*/ 0 60000 65536"/>
                  <a:gd name="T12" fmla="*/ 0 w 10"/>
                  <a:gd name="T13" fmla="*/ 0 h 4"/>
                  <a:gd name="T14" fmla="*/ 10 w 10"/>
                  <a:gd name="T15" fmla="*/ 4 h 4"/>
                </a:gdLst>
                <a:ahLst/>
                <a:cxnLst>
                  <a:cxn ang="T8">
                    <a:pos x="T0" y="T1"/>
                  </a:cxn>
                  <a:cxn ang="T9">
                    <a:pos x="T2" y="T3"/>
                  </a:cxn>
                  <a:cxn ang="T10">
                    <a:pos x="T4" y="T5"/>
                  </a:cxn>
                  <a:cxn ang="T11">
                    <a:pos x="T6" y="T7"/>
                  </a:cxn>
                </a:cxnLst>
                <a:rect l="T12" t="T13" r="T14" b="T15"/>
                <a:pathLst>
                  <a:path w="10" h="4">
                    <a:moveTo>
                      <a:pt x="10" y="0"/>
                    </a:moveTo>
                    <a:lnTo>
                      <a:pt x="0" y="0"/>
                    </a:lnTo>
                    <a:lnTo>
                      <a:pt x="10" y="4"/>
                    </a:lnTo>
                    <a:lnTo>
                      <a:pt x="10" y="0"/>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53" name="Freeform 268">
                <a:extLst>
                  <a:ext uri="{FF2B5EF4-FFF2-40B4-BE49-F238E27FC236}">
                    <a16:creationId xmlns:a16="http://schemas.microsoft.com/office/drawing/2014/main" id="{83624293-D615-A270-51CE-2BB9FD9BC8D8}"/>
                  </a:ext>
                </a:extLst>
              </p:cNvPr>
              <p:cNvSpPr>
                <a:spLocks/>
              </p:cNvSpPr>
              <p:nvPr/>
            </p:nvSpPr>
            <p:spPr bwMode="auto">
              <a:xfrm>
                <a:off x="5492" y="1263"/>
                <a:ext cx="27" cy="16"/>
              </a:xfrm>
              <a:custGeom>
                <a:avLst/>
                <a:gdLst>
                  <a:gd name="T0" fmla="*/ 3461 w 23"/>
                  <a:gd name="T1" fmla="*/ 1189809 h 11"/>
                  <a:gd name="T2" fmla="*/ 0 w 23"/>
                  <a:gd name="T3" fmla="*/ 0 h 11"/>
                  <a:gd name="T4" fmla="*/ 2705 w 23"/>
                  <a:gd name="T5" fmla="*/ 889308 h 11"/>
                  <a:gd name="T6" fmla="*/ 3461 w 23"/>
                  <a:gd name="T7" fmla="*/ 1189809 h 11"/>
                  <a:gd name="T8" fmla="*/ 0 60000 65536"/>
                  <a:gd name="T9" fmla="*/ 0 60000 65536"/>
                  <a:gd name="T10" fmla="*/ 0 60000 65536"/>
                  <a:gd name="T11" fmla="*/ 0 60000 65536"/>
                  <a:gd name="T12" fmla="*/ 0 w 23"/>
                  <a:gd name="T13" fmla="*/ 0 h 11"/>
                  <a:gd name="T14" fmla="*/ 23 w 23"/>
                  <a:gd name="T15" fmla="*/ 11 h 11"/>
                </a:gdLst>
                <a:ahLst/>
                <a:cxnLst>
                  <a:cxn ang="T8">
                    <a:pos x="T0" y="T1"/>
                  </a:cxn>
                  <a:cxn ang="T9">
                    <a:pos x="T2" y="T3"/>
                  </a:cxn>
                  <a:cxn ang="T10">
                    <a:pos x="T4" y="T5"/>
                  </a:cxn>
                  <a:cxn ang="T11">
                    <a:pos x="T6" y="T7"/>
                  </a:cxn>
                </a:cxnLst>
                <a:rect l="T12" t="T13" r="T14" b="T15"/>
                <a:pathLst>
                  <a:path w="23" h="11">
                    <a:moveTo>
                      <a:pt x="23" y="11"/>
                    </a:moveTo>
                    <a:lnTo>
                      <a:pt x="0" y="0"/>
                    </a:lnTo>
                    <a:lnTo>
                      <a:pt x="19" y="8"/>
                    </a:lnTo>
                    <a:lnTo>
                      <a:pt x="23" y="11"/>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454" name="Freeform 269">
                <a:extLst>
                  <a:ext uri="{FF2B5EF4-FFF2-40B4-BE49-F238E27FC236}">
                    <a16:creationId xmlns:a16="http://schemas.microsoft.com/office/drawing/2014/main" id="{62773172-0294-7DDA-3AA9-FC08C35919C5}"/>
                  </a:ext>
                </a:extLst>
              </p:cNvPr>
              <p:cNvSpPr>
                <a:spLocks/>
              </p:cNvSpPr>
              <p:nvPr/>
            </p:nvSpPr>
            <p:spPr bwMode="auto">
              <a:xfrm>
                <a:off x="4579" y="805"/>
                <a:ext cx="16" cy="10"/>
              </a:xfrm>
              <a:custGeom>
                <a:avLst/>
                <a:gdLst>
                  <a:gd name="T0" fmla="*/ 6012 w 13"/>
                  <a:gd name="T1" fmla="*/ 204471 h 7"/>
                  <a:gd name="T2" fmla="*/ 0 w 13"/>
                  <a:gd name="T3" fmla="*/ 0 h 7"/>
                  <a:gd name="T4" fmla="*/ 8391 w 13"/>
                  <a:gd name="T5" fmla="*/ 438027 h 7"/>
                  <a:gd name="T6" fmla="*/ 6012 w 13"/>
                  <a:gd name="T7" fmla="*/ 204471 h 7"/>
                  <a:gd name="T8" fmla="*/ 0 60000 65536"/>
                  <a:gd name="T9" fmla="*/ 0 60000 65536"/>
                  <a:gd name="T10" fmla="*/ 0 60000 65536"/>
                  <a:gd name="T11" fmla="*/ 0 60000 65536"/>
                  <a:gd name="T12" fmla="*/ 0 w 13"/>
                  <a:gd name="T13" fmla="*/ 0 h 7"/>
                  <a:gd name="T14" fmla="*/ 13 w 13"/>
                  <a:gd name="T15" fmla="*/ 7 h 7"/>
                </a:gdLst>
                <a:ahLst/>
                <a:cxnLst>
                  <a:cxn ang="T8">
                    <a:pos x="T0" y="T1"/>
                  </a:cxn>
                  <a:cxn ang="T9">
                    <a:pos x="T2" y="T3"/>
                  </a:cxn>
                  <a:cxn ang="T10">
                    <a:pos x="T4" y="T5"/>
                  </a:cxn>
                  <a:cxn ang="T11">
                    <a:pos x="T6" y="T7"/>
                  </a:cxn>
                </a:cxnLst>
                <a:rect l="T12" t="T13" r="T14" b="T15"/>
                <a:pathLst>
                  <a:path w="13" h="7">
                    <a:moveTo>
                      <a:pt x="10" y="3"/>
                    </a:moveTo>
                    <a:lnTo>
                      <a:pt x="0" y="0"/>
                    </a:lnTo>
                    <a:lnTo>
                      <a:pt x="13" y="7"/>
                    </a:lnTo>
                    <a:lnTo>
                      <a:pt x="10" y="3"/>
                    </a:lnTo>
                    <a:close/>
                  </a:path>
                </a:pathLst>
              </a:custGeom>
              <a:grp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grpSp>
        <p:sp>
          <p:nvSpPr>
            <p:cNvPr id="210" name="Freeform 270">
              <a:extLst>
                <a:ext uri="{FF2B5EF4-FFF2-40B4-BE49-F238E27FC236}">
                  <a16:creationId xmlns:a16="http://schemas.microsoft.com/office/drawing/2014/main" id="{8FBC7737-83EA-762B-607B-CA87506F43B8}"/>
                </a:ext>
              </a:extLst>
            </p:cNvPr>
            <p:cNvSpPr>
              <a:spLocks/>
            </p:cNvSpPr>
            <p:nvPr/>
          </p:nvSpPr>
          <p:spPr bwMode="auto">
            <a:xfrm>
              <a:off x="4844592" y="1878754"/>
              <a:ext cx="22389" cy="4556"/>
            </a:xfrm>
            <a:custGeom>
              <a:avLst/>
              <a:gdLst>
                <a:gd name="T0" fmla="*/ 1430 w 12"/>
                <a:gd name="T1" fmla="*/ 20671 h 3"/>
                <a:gd name="T2" fmla="*/ 0 w 12"/>
                <a:gd name="T3" fmla="*/ 15503 h 3"/>
                <a:gd name="T4" fmla="*/ 570 w 12"/>
                <a:gd name="T5" fmla="*/ 0 h 3"/>
                <a:gd name="T6" fmla="*/ 1430 w 12"/>
                <a:gd name="T7" fmla="*/ 20671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12" y="3"/>
                  </a:moveTo>
                  <a:lnTo>
                    <a:pt x="0" y="2"/>
                  </a:lnTo>
                  <a:lnTo>
                    <a:pt x="5" y="0"/>
                  </a:lnTo>
                  <a:lnTo>
                    <a:pt x="12"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1" name="Freeform 271">
              <a:extLst>
                <a:ext uri="{FF2B5EF4-FFF2-40B4-BE49-F238E27FC236}">
                  <a16:creationId xmlns:a16="http://schemas.microsoft.com/office/drawing/2014/main" id="{92BEE65F-060B-856B-F1C5-F5EEA353D151}"/>
                </a:ext>
              </a:extLst>
            </p:cNvPr>
            <p:cNvSpPr>
              <a:spLocks/>
            </p:cNvSpPr>
            <p:nvPr/>
          </p:nvSpPr>
          <p:spPr bwMode="auto">
            <a:xfrm>
              <a:off x="4641499" y="2401159"/>
              <a:ext cx="3198" cy="3037"/>
            </a:xfrm>
            <a:custGeom>
              <a:avLst/>
              <a:gdLst>
                <a:gd name="T0" fmla="*/ 2 w 2"/>
                <a:gd name="T1" fmla="*/ 0 h 2"/>
                <a:gd name="T2" fmla="*/ 0 w 2"/>
                <a:gd name="T3" fmla="*/ 0 h 2"/>
                <a:gd name="T4" fmla="*/ 2 w 2"/>
                <a:gd name="T5" fmla="*/ 2 h 2"/>
                <a:gd name="T6" fmla="*/ 2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lnTo>
                    <a:pt x="0" y="0"/>
                  </a:lnTo>
                  <a:lnTo>
                    <a:pt x="2" y="2"/>
                  </a:lnTo>
                  <a:lnTo>
                    <a:pt x="2"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2" name="Freeform 272">
              <a:extLst>
                <a:ext uri="{FF2B5EF4-FFF2-40B4-BE49-F238E27FC236}">
                  <a16:creationId xmlns:a16="http://schemas.microsoft.com/office/drawing/2014/main" id="{20B146FD-7E78-55D3-961B-E241C3423897}"/>
                </a:ext>
              </a:extLst>
            </p:cNvPr>
            <p:cNvSpPr>
              <a:spLocks/>
            </p:cNvSpPr>
            <p:nvPr/>
          </p:nvSpPr>
          <p:spPr bwMode="auto">
            <a:xfrm>
              <a:off x="4742246" y="2200701"/>
              <a:ext cx="156718" cy="59227"/>
            </a:xfrm>
            <a:custGeom>
              <a:avLst/>
              <a:gdLst>
                <a:gd name="T0" fmla="*/ 7453 w 82"/>
                <a:gd name="T1" fmla="*/ 0 h 29"/>
                <a:gd name="T2" fmla="*/ 7453 w 82"/>
                <a:gd name="T3" fmla="*/ 203060 h 29"/>
                <a:gd name="T4" fmla="*/ 6484 w 82"/>
                <a:gd name="T5" fmla="*/ 616848 h 29"/>
                <a:gd name="T6" fmla="*/ 5218 w 82"/>
                <a:gd name="T7" fmla="*/ 792889 h 29"/>
                <a:gd name="T8" fmla="*/ 5218 w 82"/>
                <a:gd name="T9" fmla="*/ 893366 h 29"/>
                <a:gd name="T10" fmla="*/ 4357 w 82"/>
                <a:gd name="T11" fmla="*/ 1293840 h 29"/>
                <a:gd name="T12" fmla="*/ 2553 w 82"/>
                <a:gd name="T13" fmla="*/ 1474314 h 29"/>
                <a:gd name="T14" fmla="*/ 1251 w 82"/>
                <a:gd name="T15" fmla="*/ 1474314 h 29"/>
                <a:gd name="T16" fmla="*/ 0 w 82"/>
                <a:gd name="T17" fmla="*/ 1474314 h 29"/>
                <a:gd name="T18" fmla="*/ 2553 w 82"/>
                <a:gd name="T19" fmla="*/ 2713833 h 29"/>
                <a:gd name="T20" fmla="*/ 3646 w 82"/>
                <a:gd name="T21" fmla="*/ 2792261 h 29"/>
                <a:gd name="T22" fmla="*/ 8013 w 82"/>
                <a:gd name="T23" fmla="*/ 2792261 h 29"/>
                <a:gd name="T24" fmla="*/ 13228 w 82"/>
                <a:gd name="T25" fmla="*/ 1975085 h 29"/>
                <a:gd name="T26" fmla="*/ 19538 w 82"/>
                <a:gd name="T27" fmla="*/ 1975085 h 29"/>
                <a:gd name="T28" fmla="*/ 20652 w 82"/>
                <a:gd name="T29" fmla="*/ 893366 h 29"/>
                <a:gd name="T30" fmla="*/ 15204 w 82"/>
                <a:gd name="T31" fmla="*/ 438227 h 29"/>
                <a:gd name="T32" fmla="*/ 12546 w 82"/>
                <a:gd name="T33" fmla="*/ 438227 h 29"/>
                <a:gd name="T34" fmla="*/ 11493 w 82"/>
                <a:gd name="T35" fmla="*/ 203060 h 29"/>
                <a:gd name="T36" fmla="*/ 7453 w 82"/>
                <a:gd name="T37" fmla="*/ 0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29"/>
                <a:gd name="T59" fmla="*/ 82 w 82"/>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29">
                  <a:moveTo>
                    <a:pt x="30" y="0"/>
                  </a:moveTo>
                  <a:lnTo>
                    <a:pt x="30" y="2"/>
                  </a:lnTo>
                  <a:lnTo>
                    <a:pt x="26" y="6"/>
                  </a:lnTo>
                  <a:lnTo>
                    <a:pt x="21" y="8"/>
                  </a:lnTo>
                  <a:lnTo>
                    <a:pt x="21" y="9"/>
                  </a:lnTo>
                  <a:lnTo>
                    <a:pt x="17" y="13"/>
                  </a:lnTo>
                  <a:lnTo>
                    <a:pt x="10" y="15"/>
                  </a:lnTo>
                  <a:lnTo>
                    <a:pt x="5" y="15"/>
                  </a:lnTo>
                  <a:lnTo>
                    <a:pt x="0" y="15"/>
                  </a:lnTo>
                  <a:lnTo>
                    <a:pt x="10" y="28"/>
                  </a:lnTo>
                  <a:lnTo>
                    <a:pt x="14" y="29"/>
                  </a:lnTo>
                  <a:lnTo>
                    <a:pt x="32" y="29"/>
                  </a:lnTo>
                  <a:lnTo>
                    <a:pt x="53" y="21"/>
                  </a:lnTo>
                  <a:lnTo>
                    <a:pt x="78" y="21"/>
                  </a:lnTo>
                  <a:lnTo>
                    <a:pt x="82" y="9"/>
                  </a:lnTo>
                  <a:lnTo>
                    <a:pt x="61" y="5"/>
                  </a:lnTo>
                  <a:lnTo>
                    <a:pt x="49" y="5"/>
                  </a:lnTo>
                  <a:lnTo>
                    <a:pt x="46" y="2"/>
                  </a:lnTo>
                  <a:lnTo>
                    <a:pt x="30"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3" name="Freeform 273">
              <a:extLst>
                <a:ext uri="{FF2B5EF4-FFF2-40B4-BE49-F238E27FC236}">
                  <a16:creationId xmlns:a16="http://schemas.microsoft.com/office/drawing/2014/main" id="{7C5533FA-61CC-96A7-0E94-5E95054214C9}"/>
                </a:ext>
              </a:extLst>
            </p:cNvPr>
            <p:cNvSpPr>
              <a:spLocks/>
            </p:cNvSpPr>
            <p:nvPr/>
          </p:nvSpPr>
          <p:spPr bwMode="auto">
            <a:xfrm>
              <a:off x="4667086" y="2297892"/>
              <a:ext cx="79958" cy="50115"/>
            </a:xfrm>
            <a:custGeom>
              <a:avLst/>
              <a:gdLst>
                <a:gd name="T0" fmla="*/ 1943 w 42"/>
                <a:gd name="T1" fmla="*/ 1876882 h 25"/>
                <a:gd name="T2" fmla="*/ 2881 w 42"/>
                <a:gd name="T3" fmla="*/ 2048533 h 25"/>
                <a:gd name="T4" fmla="*/ 3490 w 42"/>
                <a:gd name="T5" fmla="*/ 1675720 h 25"/>
                <a:gd name="T6" fmla="*/ 4083 w 42"/>
                <a:gd name="T7" fmla="*/ 1794473 h 25"/>
                <a:gd name="T8" fmla="*/ 4155 w 42"/>
                <a:gd name="T9" fmla="*/ 1876882 h 25"/>
                <a:gd name="T10" fmla="*/ 4861 w 42"/>
                <a:gd name="T11" fmla="*/ 1794473 h 25"/>
                <a:gd name="T12" fmla="*/ 5533 w 42"/>
                <a:gd name="T13" fmla="*/ 2048533 h 25"/>
                <a:gd name="T14" fmla="*/ 5796 w 42"/>
                <a:gd name="T15" fmla="*/ 1876882 h 25"/>
                <a:gd name="T16" fmla="*/ 5787 w 42"/>
                <a:gd name="T17" fmla="*/ 1794473 h 25"/>
                <a:gd name="T18" fmla="*/ 5787 w 42"/>
                <a:gd name="T19" fmla="*/ 1525830 h 25"/>
                <a:gd name="T20" fmla="*/ 6587 w 42"/>
                <a:gd name="T21" fmla="*/ 1427023 h 25"/>
                <a:gd name="T22" fmla="*/ 7010 w 42"/>
                <a:gd name="T23" fmla="*/ 1427023 h 25"/>
                <a:gd name="T24" fmla="*/ 6900 w 42"/>
                <a:gd name="T25" fmla="*/ 1246162 h 25"/>
                <a:gd name="T26" fmla="*/ 6900 w 42"/>
                <a:gd name="T27" fmla="*/ 1059604 h 25"/>
                <a:gd name="T28" fmla="*/ 6587 w 42"/>
                <a:gd name="T29" fmla="*/ 787813 h 25"/>
                <a:gd name="T30" fmla="*/ 7531 w 42"/>
                <a:gd name="T31" fmla="*/ 735836 h 25"/>
                <a:gd name="T32" fmla="*/ 7842 w 42"/>
                <a:gd name="T33" fmla="*/ 658702 h 25"/>
                <a:gd name="T34" fmla="*/ 8965 w 42"/>
                <a:gd name="T35" fmla="*/ 658702 h 25"/>
                <a:gd name="T36" fmla="*/ 8965 w 42"/>
                <a:gd name="T37" fmla="*/ 510997 h 25"/>
                <a:gd name="T38" fmla="*/ 9061 w 42"/>
                <a:gd name="T39" fmla="*/ 510997 h 25"/>
                <a:gd name="T40" fmla="*/ 9336 w 42"/>
                <a:gd name="T41" fmla="*/ 379925 h 25"/>
                <a:gd name="T42" fmla="*/ 8214 w 42"/>
                <a:gd name="T43" fmla="*/ 171132 h 25"/>
                <a:gd name="T44" fmla="*/ 8214 w 42"/>
                <a:gd name="T45" fmla="*/ 0 h 25"/>
                <a:gd name="T46" fmla="*/ 2033 w 42"/>
                <a:gd name="T47" fmla="*/ 510997 h 25"/>
                <a:gd name="T48" fmla="*/ 813 w 42"/>
                <a:gd name="T49" fmla="*/ 510997 h 25"/>
                <a:gd name="T50" fmla="*/ 0 w 42"/>
                <a:gd name="T51" fmla="*/ 787813 h 25"/>
                <a:gd name="T52" fmla="*/ 813 w 42"/>
                <a:gd name="T53" fmla="*/ 1794473 h 25"/>
                <a:gd name="T54" fmla="*/ 1943 w 42"/>
                <a:gd name="T55" fmla="*/ 1876882 h 2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2"/>
                <a:gd name="T85" fmla="*/ 0 h 25"/>
                <a:gd name="T86" fmla="*/ 42 w 42"/>
                <a:gd name="T87" fmla="*/ 25 h 2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2" h="25">
                  <a:moveTo>
                    <a:pt x="8" y="23"/>
                  </a:moveTo>
                  <a:lnTo>
                    <a:pt x="13" y="25"/>
                  </a:lnTo>
                  <a:lnTo>
                    <a:pt x="16" y="21"/>
                  </a:lnTo>
                  <a:lnTo>
                    <a:pt x="18" y="22"/>
                  </a:lnTo>
                  <a:lnTo>
                    <a:pt x="19" y="23"/>
                  </a:lnTo>
                  <a:lnTo>
                    <a:pt x="21" y="22"/>
                  </a:lnTo>
                  <a:lnTo>
                    <a:pt x="24" y="25"/>
                  </a:lnTo>
                  <a:lnTo>
                    <a:pt x="26" y="23"/>
                  </a:lnTo>
                  <a:lnTo>
                    <a:pt x="25" y="22"/>
                  </a:lnTo>
                  <a:lnTo>
                    <a:pt x="25" y="19"/>
                  </a:lnTo>
                  <a:lnTo>
                    <a:pt x="29" y="18"/>
                  </a:lnTo>
                  <a:lnTo>
                    <a:pt x="32" y="18"/>
                  </a:lnTo>
                  <a:lnTo>
                    <a:pt x="31" y="15"/>
                  </a:lnTo>
                  <a:lnTo>
                    <a:pt x="31" y="13"/>
                  </a:lnTo>
                  <a:lnTo>
                    <a:pt x="29" y="10"/>
                  </a:lnTo>
                  <a:lnTo>
                    <a:pt x="34" y="9"/>
                  </a:lnTo>
                  <a:lnTo>
                    <a:pt x="35" y="8"/>
                  </a:lnTo>
                  <a:lnTo>
                    <a:pt x="40" y="8"/>
                  </a:lnTo>
                  <a:lnTo>
                    <a:pt x="40" y="6"/>
                  </a:lnTo>
                  <a:lnTo>
                    <a:pt x="41" y="6"/>
                  </a:lnTo>
                  <a:lnTo>
                    <a:pt x="42" y="5"/>
                  </a:lnTo>
                  <a:lnTo>
                    <a:pt x="37" y="2"/>
                  </a:lnTo>
                  <a:lnTo>
                    <a:pt x="37" y="0"/>
                  </a:lnTo>
                  <a:lnTo>
                    <a:pt x="9" y="6"/>
                  </a:lnTo>
                  <a:lnTo>
                    <a:pt x="3" y="6"/>
                  </a:lnTo>
                  <a:lnTo>
                    <a:pt x="0" y="10"/>
                  </a:lnTo>
                  <a:lnTo>
                    <a:pt x="3" y="22"/>
                  </a:lnTo>
                  <a:lnTo>
                    <a:pt x="8" y="2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4" name="Freeform 274">
              <a:extLst>
                <a:ext uri="{FF2B5EF4-FFF2-40B4-BE49-F238E27FC236}">
                  <a16:creationId xmlns:a16="http://schemas.microsoft.com/office/drawing/2014/main" id="{11501056-F751-05ED-A2A9-91140F156144}"/>
                </a:ext>
              </a:extLst>
            </p:cNvPr>
            <p:cNvSpPr>
              <a:spLocks/>
            </p:cNvSpPr>
            <p:nvPr/>
          </p:nvSpPr>
          <p:spPr bwMode="auto">
            <a:xfrm>
              <a:off x="4577533" y="1558326"/>
              <a:ext cx="276654" cy="440399"/>
            </a:xfrm>
            <a:custGeom>
              <a:avLst/>
              <a:gdLst>
                <a:gd name="T0" fmla="*/ 29432 w 144"/>
                <a:gd name="T1" fmla="*/ 5947501 h 219"/>
                <a:gd name="T2" fmla="*/ 24696 w 144"/>
                <a:gd name="T3" fmla="*/ 6696918 h 219"/>
                <a:gd name="T4" fmla="*/ 21951 w 144"/>
                <a:gd name="T5" fmla="*/ 7319487 h 219"/>
                <a:gd name="T6" fmla="*/ 21038 w 144"/>
                <a:gd name="T7" fmla="*/ 8095144 h 219"/>
                <a:gd name="T8" fmla="*/ 26158 w 144"/>
                <a:gd name="T9" fmla="*/ 9836665 h 219"/>
                <a:gd name="T10" fmla="*/ 24498 w 144"/>
                <a:gd name="T11" fmla="*/ 10955635 h 219"/>
                <a:gd name="T12" fmla="*/ 23019 w 144"/>
                <a:gd name="T13" fmla="*/ 10728087 h 219"/>
                <a:gd name="T14" fmla="*/ 26749 w 144"/>
                <a:gd name="T15" fmla="*/ 10955635 h 219"/>
                <a:gd name="T16" fmla="*/ 23946 w 144"/>
                <a:gd name="T17" fmla="*/ 11224465 h 219"/>
                <a:gd name="T18" fmla="*/ 19466 w 144"/>
                <a:gd name="T19" fmla="*/ 11717499 h 219"/>
                <a:gd name="T20" fmla="*/ 20556 w 144"/>
                <a:gd name="T21" fmla="*/ 12557674 h 219"/>
                <a:gd name="T22" fmla="*/ 20556 w 144"/>
                <a:gd name="T23" fmla="*/ 12775289 h 219"/>
                <a:gd name="T24" fmla="*/ 19160 w 144"/>
                <a:gd name="T25" fmla="*/ 14593047 h 219"/>
                <a:gd name="T26" fmla="*/ 12306 w 144"/>
                <a:gd name="T27" fmla="*/ 15532351 h 219"/>
                <a:gd name="T28" fmla="*/ 6997 w 144"/>
                <a:gd name="T29" fmla="*/ 14593047 h 219"/>
                <a:gd name="T30" fmla="*/ 1965 w 144"/>
                <a:gd name="T31" fmla="*/ 12557674 h 219"/>
                <a:gd name="T32" fmla="*/ 1134 w 144"/>
                <a:gd name="T33" fmla="*/ 12111203 h 219"/>
                <a:gd name="T34" fmla="*/ 944 w 144"/>
                <a:gd name="T35" fmla="*/ 11283342 h 219"/>
                <a:gd name="T36" fmla="*/ 3359 w 144"/>
                <a:gd name="T37" fmla="*/ 9211476 h 219"/>
                <a:gd name="T38" fmla="*/ 4848 w 144"/>
                <a:gd name="T39" fmla="*/ 8527466 h 219"/>
                <a:gd name="T40" fmla="*/ 1636 w 144"/>
                <a:gd name="T41" fmla="*/ 6986607 h 219"/>
                <a:gd name="T42" fmla="*/ 4917 w 144"/>
                <a:gd name="T43" fmla="*/ 5460027 h 219"/>
                <a:gd name="T44" fmla="*/ 6364 w 144"/>
                <a:gd name="T45" fmla="*/ 4784947 h 219"/>
                <a:gd name="T46" fmla="*/ 8526 w 144"/>
                <a:gd name="T47" fmla="*/ 3207457 h 219"/>
                <a:gd name="T48" fmla="*/ 13275 w 144"/>
                <a:gd name="T49" fmla="*/ 2320679 h 219"/>
                <a:gd name="T50" fmla="*/ 19466 w 144"/>
                <a:gd name="T51" fmla="*/ 940668 h 219"/>
                <a:gd name="T52" fmla="*/ 26158 w 144"/>
                <a:gd name="T53" fmla="*/ 549127 h 219"/>
                <a:gd name="T54" fmla="*/ 27621 w 144"/>
                <a:gd name="T55" fmla="*/ 0 h 219"/>
                <a:gd name="T56" fmla="*/ 40552 w 144"/>
                <a:gd name="T57" fmla="*/ 2483271 h 219"/>
                <a:gd name="T58" fmla="*/ 37925 w 144"/>
                <a:gd name="T59" fmla="*/ 3443823 h 219"/>
                <a:gd name="T60" fmla="*/ 36359 w 144"/>
                <a:gd name="T61" fmla="*/ 3756671 h 219"/>
                <a:gd name="T62" fmla="*/ 33224 w 144"/>
                <a:gd name="T63" fmla="*/ 4108953 h 219"/>
                <a:gd name="T64" fmla="*/ 33754 w 144"/>
                <a:gd name="T65" fmla="*/ 5104992 h 2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4"/>
                <a:gd name="T100" fmla="*/ 0 h 219"/>
                <a:gd name="T101" fmla="*/ 144 w 144"/>
                <a:gd name="T102" fmla="*/ 219 h 2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4" h="219">
                  <a:moveTo>
                    <a:pt x="115" y="72"/>
                  </a:moveTo>
                  <a:lnTo>
                    <a:pt x="100" y="84"/>
                  </a:lnTo>
                  <a:lnTo>
                    <a:pt x="90" y="91"/>
                  </a:lnTo>
                  <a:lnTo>
                    <a:pt x="84" y="94"/>
                  </a:lnTo>
                  <a:lnTo>
                    <a:pt x="75" y="96"/>
                  </a:lnTo>
                  <a:lnTo>
                    <a:pt x="74" y="103"/>
                  </a:lnTo>
                  <a:lnTo>
                    <a:pt x="72" y="106"/>
                  </a:lnTo>
                  <a:lnTo>
                    <a:pt x="71" y="114"/>
                  </a:lnTo>
                  <a:lnTo>
                    <a:pt x="75" y="132"/>
                  </a:lnTo>
                  <a:lnTo>
                    <a:pt x="88" y="139"/>
                  </a:lnTo>
                  <a:lnTo>
                    <a:pt x="96" y="146"/>
                  </a:lnTo>
                  <a:lnTo>
                    <a:pt x="83" y="154"/>
                  </a:lnTo>
                  <a:lnTo>
                    <a:pt x="78" y="148"/>
                  </a:lnTo>
                  <a:lnTo>
                    <a:pt x="78" y="151"/>
                  </a:lnTo>
                  <a:lnTo>
                    <a:pt x="62" y="152"/>
                  </a:lnTo>
                  <a:lnTo>
                    <a:pt x="91" y="154"/>
                  </a:lnTo>
                  <a:lnTo>
                    <a:pt x="83" y="161"/>
                  </a:lnTo>
                  <a:lnTo>
                    <a:pt x="81" y="158"/>
                  </a:lnTo>
                  <a:lnTo>
                    <a:pt x="72" y="165"/>
                  </a:lnTo>
                  <a:lnTo>
                    <a:pt x="67" y="165"/>
                  </a:lnTo>
                  <a:lnTo>
                    <a:pt x="71" y="170"/>
                  </a:lnTo>
                  <a:lnTo>
                    <a:pt x="70" y="177"/>
                  </a:lnTo>
                  <a:lnTo>
                    <a:pt x="71" y="180"/>
                  </a:lnTo>
                  <a:lnTo>
                    <a:pt x="70" y="180"/>
                  </a:lnTo>
                  <a:lnTo>
                    <a:pt x="68" y="193"/>
                  </a:lnTo>
                  <a:lnTo>
                    <a:pt x="65" y="206"/>
                  </a:lnTo>
                  <a:lnTo>
                    <a:pt x="43" y="210"/>
                  </a:lnTo>
                  <a:lnTo>
                    <a:pt x="42" y="219"/>
                  </a:lnTo>
                  <a:lnTo>
                    <a:pt x="27" y="219"/>
                  </a:lnTo>
                  <a:lnTo>
                    <a:pt x="23" y="206"/>
                  </a:lnTo>
                  <a:lnTo>
                    <a:pt x="20" y="196"/>
                  </a:lnTo>
                  <a:lnTo>
                    <a:pt x="7" y="177"/>
                  </a:lnTo>
                  <a:lnTo>
                    <a:pt x="9" y="173"/>
                  </a:lnTo>
                  <a:lnTo>
                    <a:pt x="4" y="171"/>
                  </a:lnTo>
                  <a:lnTo>
                    <a:pt x="0" y="161"/>
                  </a:lnTo>
                  <a:lnTo>
                    <a:pt x="3" y="159"/>
                  </a:lnTo>
                  <a:lnTo>
                    <a:pt x="10" y="145"/>
                  </a:lnTo>
                  <a:lnTo>
                    <a:pt x="11" y="130"/>
                  </a:lnTo>
                  <a:lnTo>
                    <a:pt x="11" y="126"/>
                  </a:lnTo>
                  <a:lnTo>
                    <a:pt x="16" y="120"/>
                  </a:lnTo>
                  <a:lnTo>
                    <a:pt x="7" y="114"/>
                  </a:lnTo>
                  <a:lnTo>
                    <a:pt x="6" y="98"/>
                  </a:lnTo>
                  <a:lnTo>
                    <a:pt x="6" y="84"/>
                  </a:lnTo>
                  <a:lnTo>
                    <a:pt x="17" y="77"/>
                  </a:lnTo>
                  <a:lnTo>
                    <a:pt x="27" y="75"/>
                  </a:lnTo>
                  <a:lnTo>
                    <a:pt x="22" y="68"/>
                  </a:lnTo>
                  <a:lnTo>
                    <a:pt x="30" y="49"/>
                  </a:lnTo>
                  <a:lnTo>
                    <a:pt x="29" y="45"/>
                  </a:lnTo>
                  <a:lnTo>
                    <a:pt x="39" y="42"/>
                  </a:lnTo>
                  <a:lnTo>
                    <a:pt x="45" y="33"/>
                  </a:lnTo>
                  <a:lnTo>
                    <a:pt x="51" y="17"/>
                  </a:lnTo>
                  <a:lnTo>
                    <a:pt x="67" y="13"/>
                  </a:lnTo>
                  <a:lnTo>
                    <a:pt x="68" y="7"/>
                  </a:lnTo>
                  <a:lnTo>
                    <a:pt x="88" y="8"/>
                  </a:lnTo>
                  <a:lnTo>
                    <a:pt x="87" y="0"/>
                  </a:lnTo>
                  <a:lnTo>
                    <a:pt x="93" y="0"/>
                  </a:lnTo>
                  <a:lnTo>
                    <a:pt x="126" y="13"/>
                  </a:lnTo>
                  <a:lnTo>
                    <a:pt x="138" y="35"/>
                  </a:lnTo>
                  <a:lnTo>
                    <a:pt x="144" y="49"/>
                  </a:lnTo>
                  <a:lnTo>
                    <a:pt x="128" y="49"/>
                  </a:lnTo>
                  <a:lnTo>
                    <a:pt x="123" y="51"/>
                  </a:lnTo>
                  <a:lnTo>
                    <a:pt x="122" y="53"/>
                  </a:lnTo>
                  <a:lnTo>
                    <a:pt x="119" y="53"/>
                  </a:lnTo>
                  <a:lnTo>
                    <a:pt x="113" y="58"/>
                  </a:lnTo>
                  <a:lnTo>
                    <a:pt x="110" y="65"/>
                  </a:lnTo>
                  <a:lnTo>
                    <a:pt x="115" y="7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5" name="Freeform 275">
              <a:extLst>
                <a:ext uri="{FF2B5EF4-FFF2-40B4-BE49-F238E27FC236}">
                  <a16:creationId xmlns:a16="http://schemas.microsoft.com/office/drawing/2014/main" id="{F1AB5875-A7A6-9471-92CB-0F08D4D748EC}"/>
                </a:ext>
              </a:extLst>
            </p:cNvPr>
            <p:cNvSpPr>
              <a:spLocks/>
            </p:cNvSpPr>
            <p:nvPr/>
          </p:nvSpPr>
          <p:spPr bwMode="auto">
            <a:xfrm>
              <a:off x="4751840" y="1916720"/>
              <a:ext cx="15991" cy="31891"/>
            </a:xfrm>
            <a:custGeom>
              <a:avLst/>
              <a:gdLst>
                <a:gd name="T0" fmla="*/ 7702 w 8"/>
                <a:gd name="T1" fmla="*/ 0 h 15"/>
                <a:gd name="T2" fmla="*/ 7702 w 8"/>
                <a:gd name="T3" fmla="*/ 673885 h 15"/>
                <a:gd name="T4" fmla="*/ 4240 w 8"/>
                <a:gd name="T5" fmla="*/ 1724156 h 15"/>
                <a:gd name="T6" fmla="*/ 2714 w 8"/>
                <a:gd name="T7" fmla="*/ 2126083 h 15"/>
                <a:gd name="T8" fmla="*/ 0 w 8"/>
                <a:gd name="T9" fmla="*/ 1175561 h 15"/>
                <a:gd name="T10" fmla="*/ 7702 w 8"/>
                <a:gd name="T11" fmla="*/ 0 h 15"/>
                <a:gd name="T12" fmla="*/ 0 60000 65536"/>
                <a:gd name="T13" fmla="*/ 0 60000 65536"/>
                <a:gd name="T14" fmla="*/ 0 60000 65536"/>
                <a:gd name="T15" fmla="*/ 0 60000 65536"/>
                <a:gd name="T16" fmla="*/ 0 60000 65536"/>
                <a:gd name="T17" fmla="*/ 0 60000 65536"/>
                <a:gd name="T18" fmla="*/ 0 w 8"/>
                <a:gd name="T19" fmla="*/ 0 h 15"/>
                <a:gd name="T20" fmla="*/ 8 w 8"/>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8" h="15">
                  <a:moveTo>
                    <a:pt x="8" y="0"/>
                  </a:moveTo>
                  <a:lnTo>
                    <a:pt x="8" y="5"/>
                  </a:lnTo>
                  <a:lnTo>
                    <a:pt x="5" y="12"/>
                  </a:lnTo>
                  <a:lnTo>
                    <a:pt x="3" y="15"/>
                  </a:lnTo>
                  <a:lnTo>
                    <a:pt x="0" y="8"/>
                  </a:lnTo>
                  <a:lnTo>
                    <a:pt x="8"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6" name="Freeform 276">
              <a:extLst>
                <a:ext uri="{FF2B5EF4-FFF2-40B4-BE49-F238E27FC236}">
                  <a16:creationId xmlns:a16="http://schemas.microsoft.com/office/drawing/2014/main" id="{B3C09A82-8C10-74D8-B19A-76CB11C47783}"/>
                </a:ext>
              </a:extLst>
            </p:cNvPr>
            <p:cNvSpPr>
              <a:spLocks/>
            </p:cNvSpPr>
            <p:nvPr/>
          </p:nvSpPr>
          <p:spPr bwMode="auto">
            <a:xfrm>
              <a:off x="4467190" y="2269040"/>
              <a:ext cx="115140" cy="60745"/>
            </a:xfrm>
            <a:custGeom>
              <a:avLst/>
              <a:gdLst>
                <a:gd name="T0" fmla="*/ 9781 w 61"/>
                <a:gd name="T1" fmla="*/ 1339311 h 30"/>
                <a:gd name="T2" fmla="*/ 9440 w 61"/>
                <a:gd name="T3" fmla="*/ 1604405 h 30"/>
                <a:gd name="T4" fmla="*/ 7713 w 61"/>
                <a:gd name="T5" fmla="*/ 1604405 h 30"/>
                <a:gd name="T6" fmla="*/ 6713 w 61"/>
                <a:gd name="T7" fmla="*/ 2127028 h 30"/>
                <a:gd name="T8" fmla="*/ 5014 w 61"/>
                <a:gd name="T9" fmla="*/ 1604405 h 30"/>
                <a:gd name="T10" fmla="*/ 3841 w 61"/>
                <a:gd name="T11" fmla="*/ 2039370 h 30"/>
                <a:gd name="T12" fmla="*/ 2188 w 61"/>
                <a:gd name="T13" fmla="*/ 2127028 h 30"/>
                <a:gd name="T14" fmla="*/ 956 w 61"/>
                <a:gd name="T15" fmla="*/ 1582691 h 30"/>
                <a:gd name="T16" fmla="*/ 0 w 61"/>
                <a:gd name="T17" fmla="*/ 1658122 h 30"/>
                <a:gd name="T18" fmla="*/ 2188 w 61"/>
                <a:gd name="T19" fmla="*/ 454820 h 30"/>
                <a:gd name="T20" fmla="*/ 2757 w 61"/>
                <a:gd name="T21" fmla="*/ 317316 h 30"/>
                <a:gd name="T22" fmla="*/ 3458 w 61"/>
                <a:gd name="T23" fmla="*/ 1 h 30"/>
                <a:gd name="T24" fmla="*/ 5918 w 61"/>
                <a:gd name="T25" fmla="*/ 0 h 30"/>
                <a:gd name="T26" fmla="*/ 8245 w 61"/>
                <a:gd name="T27" fmla="*/ 221383 h 30"/>
                <a:gd name="T28" fmla="*/ 8245 w 61"/>
                <a:gd name="T29" fmla="*/ 483178 h 30"/>
                <a:gd name="T30" fmla="*/ 8245 w 61"/>
                <a:gd name="T31" fmla="*/ 544844 h 30"/>
                <a:gd name="T32" fmla="*/ 7924 w 61"/>
                <a:gd name="T33" fmla="*/ 692555 h 30"/>
                <a:gd name="T34" fmla="*/ 8287 w 61"/>
                <a:gd name="T35" fmla="*/ 692555 h 30"/>
                <a:gd name="T36" fmla="*/ 10388 w 61"/>
                <a:gd name="T37" fmla="*/ 934403 h 30"/>
                <a:gd name="T38" fmla="*/ 10388 w 61"/>
                <a:gd name="T39" fmla="*/ 992662 h 30"/>
                <a:gd name="T40" fmla="*/ 9781 w 61"/>
                <a:gd name="T41" fmla="*/ 133931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1"/>
                <a:gd name="T64" fmla="*/ 0 h 30"/>
                <a:gd name="T65" fmla="*/ 61 w 61"/>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1" h="30">
                  <a:moveTo>
                    <a:pt x="58" y="19"/>
                  </a:moveTo>
                  <a:lnTo>
                    <a:pt x="55" y="23"/>
                  </a:lnTo>
                  <a:lnTo>
                    <a:pt x="45" y="23"/>
                  </a:lnTo>
                  <a:lnTo>
                    <a:pt x="39" y="30"/>
                  </a:lnTo>
                  <a:lnTo>
                    <a:pt x="30" y="23"/>
                  </a:lnTo>
                  <a:lnTo>
                    <a:pt x="22" y="29"/>
                  </a:lnTo>
                  <a:lnTo>
                    <a:pt x="13" y="30"/>
                  </a:lnTo>
                  <a:lnTo>
                    <a:pt x="6" y="22"/>
                  </a:lnTo>
                  <a:lnTo>
                    <a:pt x="0" y="24"/>
                  </a:lnTo>
                  <a:lnTo>
                    <a:pt x="13" y="6"/>
                  </a:lnTo>
                  <a:lnTo>
                    <a:pt x="16" y="4"/>
                  </a:lnTo>
                  <a:lnTo>
                    <a:pt x="20" y="1"/>
                  </a:lnTo>
                  <a:lnTo>
                    <a:pt x="35" y="0"/>
                  </a:lnTo>
                  <a:lnTo>
                    <a:pt x="48" y="3"/>
                  </a:lnTo>
                  <a:lnTo>
                    <a:pt x="48" y="7"/>
                  </a:lnTo>
                  <a:lnTo>
                    <a:pt x="48" y="8"/>
                  </a:lnTo>
                  <a:lnTo>
                    <a:pt x="46" y="10"/>
                  </a:lnTo>
                  <a:lnTo>
                    <a:pt x="49" y="10"/>
                  </a:lnTo>
                  <a:lnTo>
                    <a:pt x="61" y="13"/>
                  </a:lnTo>
                  <a:lnTo>
                    <a:pt x="61" y="14"/>
                  </a:lnTo>
                  <a:lnTo>
                    <a:pt x="58" y="19"/>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217" name="Freeform 277">
              <a:extLst>
                <a:ext uri="{FF2B5EF4-FFF2-40B4-BE49-F238E27FC236}">
                  <a16:creationId xmlns:a16="http://schemas.microsoft.com/office/drawing/2014/main" id="{58678B5E-E945-E751-EBA4-9A0BA989B9DD}"/>
                </a:ext>
              </a:extLst>
            </p:cNvPr>
            <p:cNvSpPr>
              <a:spLocks/>
            </p:cNvSpPr>
            <p:nvPr/>
          </p:nvSpPr>
          <p:spPr bwMode="auto">
            <a:xfrm>
              <a:off x="4892567" y="2098954"/>
              <a:ext cx="490942" cy="282463"/>
            </a:xfrm>
            <a:custGeom>
              <a:avLst/>
              <a:gdLst>
                <a:gd name="T0" fmla="*/ 37745 w 256"/>
                <a:gd name="T1" fmla="*/ 0 h 141"/>
                <a:gd name="T2" fmla="*/ 34366 w 256"/>
                <a:gd name="T3" fmla="*/ 334307 h 141"/>
                <a:gd name="T4" fmla="*/ 30262 w 256"/>
                <a:gd name="T5" fmla="*/ 799963 h 141"/>
                <a:gd name="T6" fmla="*/ 30262 w 256"/>
                <a:gd name="T7" fmla="*/ 1317758 h 141"/>
                <a:gd name="T8" fmla="*/ 23541 w 256"/>
                <a:gd name="T9" fmla="*/ 1020523 h 141"/>
                <a:gd name="T10" fmla="*/ 17053 w 256"/>
                <a:gd name="T11" fmla="*/ 772687 h 141"/>
                <a:gd name="T12" fmla="*/ 10069 w 256"/>
                <a:gd name="T13" fmla="*/ 772687 h 141"/>
                <a:gd name="T14" fmla="*/ 3837 w 256"/>
                <a:gd name="T15" fmla="*/ 642053 h 141"/>
                <a:gd name="T16" fmla="*/ 5660 w 256"/>
                <a:gd name="T17" fmla="*/ 1927918 h 141"/>
                <a:gd name="T18" fmla="*/ 5518 w 256"/>
                <a:gd name="T19" fmla="*/ 2553184 h 141"/>
                <a:gd name="T20" fmla="*/ 1587 w 256"/>
                <a:gd name="T21" fmla="*/ 3716204 h 141"/>
                <a:gd name="T22" fmla="*/ 1103 w 256"/>
                <a:gd name="T23" fmla="*/ 4140670 h 141"/>
                <a:gd name="T24" fmla="*/ 0 w 256"/>
                <a:gd name="T25" fmla="*/ 5001270 h 141"/>
                <a:gd name="T26" fmla="*/ 3282 w 256"/>
                <a:gd name="T27" fmla="*/ 5550913 h 141"/>
                <a:gd name="T28" fmla="*/ 3282 w 256"/>
                <a:gd name="T29" fmla="*/ 5460526 h 141"/>
                <a:gd name="T30" fmla="*/ 10710 w 256"/>
                <a:gd name="T31" fmla="*/ 5668718 h 141"/>
                <a:gd name="T32" fmla="*/ 17053 w 256"/>
                <a:gd name="T33" fmla="*/ 5165228 h 141"/>
                <a:gd name="T34" fmla="*/ 20826 w 256"/>
                <a:gd name="T35" fmla="*/ 4454097 h 141"/>
                <a:gd name="T36" fmla="*/ 21958 w 256"/>
                <a:gd name="T37" fmla="*/ 4585781 h 141"/>
                <a:gd name="T38" fmla="*/ 25235 w 256"/>
                <a:gd name="T39" fmla="*/ 5323923 h 141"/>
                <a:gd name="T40" fmla="*/ 27855 w 256"/>
                <a:gd name="T41" fmla="*/ 6100819 h 141"/>
                <a:gd name="T42" fmla="*/ 31157 w 256"/>
                <a:gd name="T43" fmla="*/ 6789985 h 141"/>
                <a:gd name="T44" fmla="*/ 34366 w 256"/>
                <a:gd name="T45" fmla="*/ 7492446 h 141"/>
                <a:gd name="T46" fmla="*/ 37745 w 256"/>
                <a:gd name="T47" fmla="*/ 7014666 h 141"/>
                <a:gd name="T48" fmla="*/ 38853 w 256"/>
                <a:gd name="T49" fmla="*/ 7177538 h 141"/>
                <a:gd name="T50" fmla="*/ 38322 w 256"/>
                <a:gd name="T51" fmla="*/ 6569699 h 141"/>
                <a:gd name="T52" fmla="*/ 39314 w 256"/>
                <a:gd name="T53" fmla="*/ 7014666 h 141"/>
                <a:gd name="T54" fmla="*/ 42097 w 256"/>
                <a:gd name="T55" fmla="*/ 7027749 h 141"/>
                <a:gd name="T56" fmla="*/ 38204 w 256"/>
                <a:gd name="T57" fmla="*/ 7177538 h 141"/>
                <a:gd name="T58" fmla="*/ 39656 w 256"/>
                <a:gd name="T59" fmla="*/ 7492446 h 141"/>
                <a:gd name="T60" fmla="*/ 43072 w 256"/>
                <a:gd name="T61" fmla="*/ 7682303 h 141"/>
                <a:gd name="T62" fmla="*/ 46593 w 256"/>
                <a:gd name="T63" fmla="*/ 7894881 h 141"/>
                <a:gd name="T64" fmla="*/ 42540 w 256"/>
                <a:gd name="T65" fmla="*/ 8587354 h 141"/>
                <a:gd name="T66" fmla="*/ 45413 w 256"/>
                <a:gd name="T67" fmla="*/ 8822987 h 141"/>
                <a:gd name="T68" fmla="*/ 47146 w 256"/>
                <a:gd name="T69" fmla="*/ 9268171 h 141"/>
                <a:gd name="T70" fmla="*/ 47839 w 256"/>
                <a:gd name="T71" fmla="*/ 9751155 h 141"/>
                <a:gd name="T72" fmla="*/ 53569 w 256"/>
                <a:gd name="T73" fmla="*/ 9268171 h 141"/>
                <a:gd name="T74" fmla="*/ 55875 w 256"/>
                <a:gd name="T75" fmla="*/ 9066659 h 141"/>
                <a:gd name="T76" fmla="*/ 58388 w 256"/>
                <a:gd name="T77" fmla="*/ 8807222 h 141"/>
                <a:gd name="T78" fmla="*/ 55111 w 256"/>
                <a:gd name="T79" fmla="*/ 8643124 h 141"/>
                <a:gd name="T80" fmla="*/ 51653 w 256"/>
                <a:gd name="T81" fmla="*/ 7952370 h 141"/>
                <a:gd name="T82" fmla="*/ 52191 w 256"/>
                <a:gd name="T83" fmla="*/ 7399830 h 141"/>
                <a:gd name="T84" fmla="*/ 51834 w 256"/>
                <a:gd name="T85" fmla="*/ 7682303 h 141"/>
                <a:gd name="T86" fmla="*/ 52946 w 256"/>
                <a:gd name="T87" fmla="*/ 7492446 h 141"/>
                <a:gd name="T88" fmla="*/ 58388 w 256"/>
                <a:gd name="T89" fmla="*/ 7014666 h 141"/>
                <a:gd name="T90" fmla="*/ 64463 w 256"/>
                <a:gd name="T91" fmla="*/ 6381045 h 141"/>
                <a:gd name="T92" fmla="*/ 66467 w 256"/>
                <a:gd name="T93" fmla="*/ 6381045 h 141"/>
                <a:gd name="T94" fmla="*/ 68260 w 256"/>
                <a:gd name="T95" fmla="*/ 5668718 h 141"/>
                <a:gd name="T96" fmla="*/ 71289 w 256"/>
                <a:gd name="T97" fmla="*/ 5240183 h 141"/>
                <a:gd name="T98" fmla="*/ 68798 w 256"/>
                <a:gd name="T99" fmla="*/ 3531138 h 141"/>
                <a:gd name="T100" fmla="*/ 62882 w 256"/>
                <a:gd name="T101" fmla="*/ 3038510 h 141"/>
                <a:gd name="T102" fmla="*/ 57369 w 256"/>
                <a:gd name="T103" fmla="*/ 2593985 h 141"/>
                <a:gd name="T104" fmla="*/ 54460 w 256"/>
                <a:gd name="T105" fmla="*/ 2761981 h 141"/>
                <a:gd name="T106" fmla="*/ 49422 w 256"/>
                <a:gd name="T107" fmla="*/ 1641853 h 141"/>
                <a:gd name="T108" fmla="*/ 44670 w 256"/>
                <a:gd name="T109" fmla="*/ 642053 h 141"/>
                <a:gd name="T110" fmla="*/ 43725 w 256"/>
                <a:gd name="T111" fmla="*/ 218361 h 141"/>
                <a:gd name="T112" fmla="*/ 37745 w 256"/>
                <a:gd name="T113" fmla="*/ 0 h 14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6"/>
                <a:gd name="T172" fmla="*/ 0 h 141"/>
                <a:gd name="T173" fmla="*/ 256 w 256"/>
                <a:gd name="T174" fmla="*/ 141 h 14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6" h="141">
                  <a:moveTo>
                    <a:pt x="135" y="0"/>
                  </a:moveTo>
                  <a:lnTo>
                    <a:pt x="123" y="5"/>
                  </a:lnTo>
                  <a:lnTo>
                    <a:pt x="108" y="12"/>
                  </a:lnTo>
                  <a:lnTo>
                    <a:pt x="108" y="19"/>
                  </a:lnTo>
                  <a:lnTo>
                    <a:pt x="84" y="15"/>
                  </a:lnTo>
                  <a:lnTo>
                    <a:pt x="61" y="11"/>
                  </a:lnTo>
                  <a:lnTo>
                    <a:pt x="36" y="11"/>
                  </a:lnTo>
                  <a:lnTo>
                    <a:pt x="13" y="9"/>
                  </a:lnTo>
                  <a:lnTo>
                    <a:pt x="20" y="28"/>
                  </a:lnTo>
                  <a:lnTo>
                    <a:pt x="19" y="37"/>
                  </a:lnTo>
                  <a:lnTo>
                    <a:pt x="6" y="54"/>
                  </a:lnTo>
                  <a:lnTo>
                    <a:pt x="4" y="60"/>
                  </a:lnTo>
                  <a:lnTo>
                    <a:pt x="0" y="72"/>
                  </a:lnTo>
                  <a:lnTo>
                    <a:pt x="12" y="80"/>
                  </a:lnTo>
                  <a:lnTo>
                    <a:pt x="12" y="79"/>
                  </a:lnTo>
                  <a:lnTo>
                    <a:pt x="38" y="82"/>
                  </a:lnTo>
                  <a:lnTo>
                    <a:pt x="61" y="75"/>
                  </a:lnTo>
                  <a:lnTo>
                    <a:pt x="74" y="64"/>
                  </a:lnTo>
                  <a:lnTo>
                    <a:pt x="78" y="66"/>
                  </a:lnTo>
                  <a:lnTo>
                    <a:pt x="90" y="77"/>
                  </a:lnTo>
                  <a:lnTo>
                    <a:pt x="100" y="88"/>
                  </a:lnTo>
                  <a:lnTo>
                    <a:pt x="112" y="98"/>
                  </a:lnTo>
                  <a:lnTo>
                    <a:pt x="123" y="108"/>
                  </a:lnTo>
                  <a:lnTo>
                    <a:pt x="135" y="101"/>
                  </a:lnTo>
                  <a:lnTo>
                    <a:pt x="139" y="104"/>
                  </a:lnTo>
                  <a:lnTo>
                    <a:pt x="138" y="95"/>
                  </a:lnTo>
                  <a:lnTo>
                    <a:pt x="141" y="101"/>
                  </a:lnTo>
                  <a:lnTo>
                    <a:pt x="151" y="102"/>
                  </a:lnTo>
                  <a:lnTo>
                    <a:pt x="137" y="104"/>
                  </a:lnTo>
                  <a:lnTo>
                    <a:pt x="142" y="108"/>
                  </a:lnTo>
                  <a:lnTo>
                    <a:pt x="154" y="111"/>
                  </a:lnTo>
                  <a:lnTo>
                    <a:pt x="167" y="114"/>
                  </a:lnTo>
                  <a:lnTo>
                    <a:pt x="153" y="124"/>
                  </a:lnTo>
                  <a:lnTo>
                    <a:pt x="163" y="128"/>
                  </a:lnTo>
                  <a:lnTo>
                    <a:pt x="169" y="134"/>
                  </a:lnTo>
                  <a:lnTo>
                    <a:pt x="171" y="141"/>
                  </a:lnTo>
                  <a:lnTo>
                    <a:pt x="192" y="134"/>
                  </a:lnTo>
                  <a:lnTo>
                    <a:pt x="200" y="131"/>
                  </a:lnTo>
                  <a:lnTo>
                    <a:pt x="209" y="127"/>
                  </a:lnTo>
                  <a:lnTo>
                    <a:pt x="198" y="125"/>
                  </a:lnTo>
                  <a:lnTo>
                    <a:pt x="185" y="115"/>
                  </a:lnTo>
                  <a:lnTo>
                    <a:pt x="187" y="107"/>
                  </a:lnTo>
                  <a:lnTo>
                    <a:pt x="186" y="111"/>
                  </a:lnTo>
                  <a:lnTo>
                    <a:pt x="190" y="108"/>
                  </a:lnTo>
                  <a:lnTo>
                    <a:pt x="209" y="101"/>
                  </a:lnTo>
                  <a:lnTo>
                    <a:pt x="232" y="92"/>
                  </a:lnTo>
                  <a:lnTo>
                    <a:pt x="238" y="92"/>
                  </a:lnTo>
                  <a:lnTo>
                    <a:pt x="244" y="82"/>
                  </a:lnTo>
                  <a:lnTo>
                    <a:pt x="256" y="76"/>
                  </a:lnTo>
                  <a:lnTo>
                    <a:pt x="246" y="51"/>
                  </a:lnTo>
                  <a:lnTo>
                    <a:pt x="225" y="44"/>
                  </a:lnTo>
                  <a:lnTo>
                    <a:pt x="205" y="38"/>
                  </a:lnTo>
                  <a:lnTo>
                    <a:pt x="195" y="40"/>
                  </a:lnTo>
                  <a:lnTo>
                    <a:pt x="177" y="24"/>
                  </a:lnTo>
                  <a:lnTo>
                    <a:pt x="160" y="9"/>
                  </a:lnTo>
                  <a:lnTo>
                    <a:pt x="157" y="3"/>
                  </a:lnTo>
                  <a:lnTo>
                    <a:pt x="135"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8" name="Freeform 278">
              <a:extLst>
                <a:ext uri="{FF2B5EF4-FFF2-40B4-BE49-F238E27FC236}">
                  <a16:creationId xmlns:a16="http://schemas.microsoft.com/office/drawing/2014/main" id="{4121E4F9-9C09-E87F-4D37-C5A33C9E1260}"/>
                </a:ext>
              </a:extLst>
            </p:cNvPr>
            <p:cNvSpPr>
              <a:spLocks/>
            </p:cNvSpPr>
            <p:nvPr/>
          </p:nvSpPr>
          <p:spPr bwMode="auto">
            <a:xfrm>
              <a:off x="4807812" y="2322190"/>
              <a:ext cx="121536" cy="150344"/>
            </a:xfrm>
            <a:custGeom>
              <a:avLst/>
              <a:gdLst>
                <a:gd name="T0" fmla="*/ 2377 w 64"/>
                <a:gd name="T1" fmla="*/ 1407533 h 74"/>
                <a:gd name="T2" fmla="*/ 2377 w 64"/>
                <a:gd name="T3" fmla="*/ 1468122 h 74"/>
                <a:gd name="T4" fmla="*/ 1686 w 64"/>
                <a:gd name="T5" fmla="*/ 1468122 h 74"/>
                <a:gd name="T6" fmla="*/ 1196 w 64"/>
                <a:gd name="T7" fmla="*/ 1893844 h 74"/>
                <a:gd name="T8" fmla="*/ 2231 w 64"/>
                <a:gd name="T9" fmla="*/ 1893844 h 74"/>
                <a:gd name="T10" fmla="*/ 2231 w 64"/>
                <a:gd name="T11" fmla="*/ 2259788 h 74"/>
                <a:gd name="T12" fmla="*/ 2231 w 64"/>
                <a:gd name="T13" fmla="*/ 2452908 h 74"/>
                <a:gd name="T14" fmla="*/ 1686 w 64"/>
                <a:gd name="T15" fmla="*/ 2686297 h 74"/>
                <a:gd name="T16" fmla="*/ 1686 w 64"/>
                <a:gd name="T17" fmla="*/ 2876394 h 74"/>
                <a:gd name="T18" fmla="*/ 2231 w 64"/>
                <a:gd name="T19" fmla="*/ 2942813 h 74"/>
                <a:gd name="T20" fmla="*/ 3305 w 64"/>
                <a:gd name="T21" fmla="*/ 3440556 h 74"/>
                <a:gd name="T22" fmla="*/ 2377 w 64"/>
                <a:gd name="T23" fmla="*/ 3546772 h 74"/>
                <a:gd name="T24" fmla="*/ 3146 w 64"/>
                <a:gd name="T25" fmla="*/ 3755359 h 74"/>
                <a:gd name="T26" fmla="*/ 3146 w 64"/>
                <a:gd name="T27" fmla="*/ 4159110 h 74"/>
                <a:gd name="T28" fmla="*/ 1686 w 64"/>
                <a:gd name="T29" fmla="*/ 4316620 h 74"/>
                <a:gd name="T30" fmla="*/ 2231 w 64"/>
                <a:gd name="T31" fmla="*/ 4579085 h 74"/>
                <a:gd name="T32" fmla="*/ 1879 w 64"/>
                <a:gd name="T33" fmla="*/ 4724671 h 74"/>
                <a:gd name="T34" fmla="*/ 1196 w 64"/>
                <a:gd name="T35" fmla="*/ 4579085 h 74"/>
                <a:gd name="T36" fmla="*/ 714 w 64"/>
                <a:gd name="T37" fmla="*/ 4974857 h 74"/>
                <a:gd name="T38" fmla="*/ 0 w 64"/>
                <a:gd name="T39" fmla="*/ 5142564 h 74"/>
                <a:gd name="T40" fmla="*/ 1007 w 64"/>
                <a:gd name="T41" fmla="*/ 5616397 h 74"/>
                <a:gd name="T42" fmla="*/ 2 w 64"/>
                <a:gd name="T43" fmla="*/ 5819888 h 74"/>
                <a:gd name="T44" fmla="*/ 0 w 64"/>
                <a:gd name="T45" fmla="*/ 5926234 h 74"/>
                <a:gd name="T46" fmla="*/ 2231 w 64"/>
                <a:gd name="T47" fmla="*/ 6441903 h 74"/>
                <a:gd name="T48" fmla="*/ 3305 w 64"/>
                <a:gd name="T49" fmla="*/ 6831615 h 74"/>
                <a:gd name="T50" fmla="*/ 3736 w 64"/>
                <a:gd name="T51" fmla="*/ 5819888 h 74"/>
                <a:gd name="T52" fmla="*/ 5612 w 64"/>
                <a:gd name="T53" fmla="*/ 6038960 h 74"/>
                <a:gd name="T54" fmla="*/ 6365 w 64"/>
                <a:gd name="T55" fmla="*/ 6831615 h 74"/>
                <a:gd name="T56" fmla="*/ 6819 w 64"/>
                <a:gd name="T57" fmla="*/ 6743088 h 74"/>
                <a:gd name="T58" fmla="*/ 7264 w 64"/>
                <a:gd name="T59" fmla="*/ 6567105 h 74"/>
                <a:gd name="T60" fmla="*/ 8098 w 64"/>
                <a:gd name="T61" fmla="*/ 6441903 h 74"/>
                <a:gd name="T62" fmla="*/ 8822 w 64"/>
                <a:gd name="T63" fmla="*/ 6567105 h 74"/>
                <a:gd name="T64" fmla="*/ 8975 w 64"/>
                <a:gd name="T65" fmla="*/ 6417559 h 74"/>
                <a:gd name="T66" fmla="*/ 9616 w 64"/>
                <a:gd name="T67" fmla="*/ 6417559 h 74"/>
                <a:gd name="T68" fmla="*/ 10243 w 64"/>
                <a:gd name="T69" fmla="*/ 6417559 h 74"/>
                <a:gd name="T70" fmla="*/ 10476 w 64"/>
                <a:gd name="T71" fmla="*/ 6417559 h 74"/>
                <a:gd name="T72" fmla="*/ 11753 w 64"/>
                <a:gd name="T73" fmla="*/ 6152709 h 74"/>
                <a:gd name="T74" fmla="*/ 12250 w 64"/>
                <a:gd name="T75" fmla="*/ 6441903 h 74"/>
                <a:gd name="T76" fmla="*/ 13070 w 64"/>
                <a:gd name="T77" fmla="*/ 6417559 h 74"/>
                <a:gd name="T78" fmla="*/ 12164 w 64"/>
                <a:gd name="T79" fmla="*/ 5819888 h 74"/>
                <a:gd name="T80" fmla="*/ 13144 w 64"/>
                <a:gd name="T81" fmla="*/ 4974857 h 74"/>
                <a:gd name="T82" fmla="*/ 12164 w 64"/>
                <a:gd name="T83" fmla="*/ 4098519 h 74"/>
                <a:gd name="T84" fmla="*/ 12250 w 64"/>
                <a:gd name="T85" fmla="*/ 2942813 h 74"/>
                <a:gd name="T86" fmla="*/ 12164 w 64"/>
                <a:gd name="T87" fmla="*/ 2552034 h 74"/>
                <a:gd name="T88" fmla="*/ 11069 w 64"/>
                <a:gd name="T89" fmla="*/ 2282534 h 74"/>
                <a:gd name="T90" fmla="*/ 10243 w 64"/>
                <a:gd name="T91" fmla="*/ 2282534 h 74"/>
                <a:gd name="T92" fmla="*/ 8822 w 64"/>
                <a:gd name="T93" fmla="*/ 1893844 h 74"/>
                <a:gd name="T94" fmla="*/ 4514 w 64"/>
                <a:gd name="T95" fmla="*/ 0 h 74"/>
                <a:gd name="T96" fmla="*/ 2 w 64"/>
                <a:gd name="T97" fmla="*/ 269131 h 74"/>
                <a:gd name="T98" fmla="*/ 1007 w 64"/>
                <a:gd name="T99" fmla="*/ 888583 h 74"/>
                <a:gd name="T100" fmla="*/ 1686 w 64"/>
                <a:gd name="T101" fmla="*/ 888583 h 74"/>
                <a:gd name="T102" fmla="*/ 1007 w 64"/>
                <a:gd name="T103" fmla="*/ 1091725 h 74"/>
                <a:gd name="T104" fmla="*/ 1196 w 64"/>
                <a:gd name="T105" fmla="*/ 1176445 h 74"/>
                <a:gd name="T106" fmla="*/ 2377 w 64"/>
                <a:gd name="T107" fmla="*/ 1407533 h 7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
                <a:gd name="T163" fmla="*/ 0 h 74"/>
                <a:gd name="T164" fmla="*/ 64 w 64"/>
                <a:gd name="T165" fmla="*/ 74 h 7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 h="74">
                  <a:moveTo>
                    <a:pt x="12" y="15"/>
                  </a:moveTo>
                  <a:lnTo>
                    <a:pt x="12" y="16"/>
                  </a:lnTo>
                  <a:lnTo>
                    <a:pt x="8" y="16"/>
                  </a:lnTo>
                  <a:lnTo>
                    <a:pt x="6" y="21"/>
                  </a:lnTo>
                  <a:lnTo>
                    <a:pt x="11" y="21"/>
                  </a:lnTo>
                  <a:lnTo>
                    <a:pt x="11" y="24"/>
                  </a:lnTo>
                  <a:lnTo>
                    <a:pt x="11" y="26"/>
                  </a:lnTo>
                  <a:lnTo>
                    <a:pt x="8" y="29"/>
                  </a:lnTo>
                  <a:lnTo>
                    <a:pt x="8" y="31"/>
                  </a:lnTo>
                  <a:lnTo>
                    <a:pt x="11" y="32"/>
                  </a:lnTo>
                  <a:lnTo>
                    <a:pt x="16" y="37"/>
                  </a:lnTo>
                  <a:lnTo>
                    <a:pt x="12" y="38"/>
                  </a:lnTo>
                  <a:lnTo>
                    <a:pt x="15" y="41"/>
                  </a:lnTo>
                  <a:lnTo>
                    <a:pt x="15" y="45"/>
                  </a:lnTo>
                  <a:lnTo>
                    <a:pt x="8" y="47"/>
                  </a:lnTo>
                  <a:lnTo>
                    <a:pt x="11" y="50"/>
                  </a:lnTo>
                  <a:lnTo>
                    <a:pt x="9" y="51"/>
                  </a:lnTo>
                  <a:lnTo>
                    <a:pt x="6" y="50"/>
                  </a:lnTo>
                  <a:lnTo>
                    <a:pt x="3" y="54"/>
                  </a:lnTo>
                  <a:lnTo>
                    <a:pt x="0" y="56"/>
                  </a:lnTo>
                  <a:lnTo>
                    <a:pt x="5" y="61"/>
                  </a:lnTo>
                  <a:lnTo>
                    <a:pt x="2" y="63"/>
                  </a:lnTo>
                  <a:lnTo>
                    <a:pt x="0" y="64"/>
                  </a:lnTo>
                  <a:lnTo>
                    <a:pt x="11" y="70"/>
                  </a:lnTo>
                  <a:lnTo>
                    <a:pt x="16" y="74"/>
                  </a:lnTo>
                  <a:lnTo>
                    <a:pt x="18" y="63"/>
                  </a:lnTo>
                  <a:lnTo>
                    <a:pt x="28" y="66"/>
                  </a:lnTo>
                  <a:lnTo>
                    <a:pt x="31" y="74"/>
                  </a:lnTo>
                  <a:lnTo>
                    <a:pt x="34" y="73"/>
                  </a:lnTo>
                  <a:lnTo>
                    <a:pt x="35" y="71"/>
                  </a:lnTo>
                  <a:lnTo>
                    <a:pt x="40" y="70"/>
                  </a:lnTo>
                  <a:lnTo>
                    <a:pt x="43" y="71"/>
                  </a:lnTo>
                  <a:lnTo>
                    <a:pt x="44" y="69"/>
                  </a:lnTo>
                  <a:lnTo>
                    <a:pt x="47" y="69"/>
                  </a:lnTo>
                  <a:lnTo>
                    <a:pt x="50" y="69"/>
                  </a:lnTo>
                  <a:lnTo>
                    <a:pt x="51" y="69"/>
                  </a:lnTo>
                  <a:lnTo>
                    <a:pt x="57" y="67"/>
                  </a:lnTo>
                  <a:lnTo>
                    <a:pt x="60" y="70"/>
                  </a:lnTo>
                  <a:lnTo>
                    <a:pt x="63" y="69"/>
                  </a:lnTo>
                  <a:lnTo>
                    <a:pt x="59" y="63"/>
                  </a:lnTo>
                  <a:lnTo>
                    <a:pt x="64" y="54"/>
                  </a:lnTo>
                  <a:lnTo>
                    <a:pt x="59" y="44"/>
                  </a:lnTo>
                  <a:lnTo>
                    <a:pt x="60" y="32"/>
                  </a:lnTo>
                  <a:lnTo>
                    <a:pt x="59" y="28"/>
                  </a:lnTo>
                  <a:lnTo>
                    <a:pt x="54" y="25"/>
                  </a:lnTo>
                  <a:lnTo>
                    <a:pt x="50" y="25"/>
                  </a:lnTo>
                  <a:lnTo>
                    <a:pt x="43" y="21"/>
                  </a:lnTo>
                  <a:lnTo>
                    <a:pt x="22" y="0"/>
                  </a:lnTo>
                  <a:lnTo>
                    <a:pt x="2" y="3"/>
                  </a:lnTo>
                  <a:lnTo>
                    <a:pt x="5" y="10"/>
                  </a:lnTo>
                  <a:lnTo>
                    <a:pt x="8" y="10"/>
                  </a:lnTo>
                  <a:lnTo>
                    <a:pt x="5" y="12"/>
                  </a:lnTo>
                  <a:lnTo>
                    <a:pt x="6" y="13"/>
                  </a:lnTo>
                  <a:lnTo>
                    <a:pt x="12" y="1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19" name="Freeform 279">
              <a:extLst>
                <a:ext uri="{FF2B5EF4-FFF2-40B4-BE49-F238E27FC236}">
                  <a16:creationId xmlns:a16="http://schemas.microsoft.com/office/drawing/2014/main" id="{B22603A6-384E-AD77-FB0C-2F00451BE1EE}"/>
                </a:ext>
              </a:extLst>
            </p:cNvPr>
            <p:cNvSpPr>
              <a:spLocks/>
            </p:cNvSpPr>
            <p:nvPr/>
          </p:nvSpPr>
          <p:spPr bwMode="auto">
            <a:xfrm>
              <a:off x="870487" y="1497852"/>
              <a:ext cx="1971764" cy="1012918"/>
            </a:xfrm>
            <a:custGeom>
              <a:avLst/>
              <a:gdLst>
                <a:gd name="T0" fmla="*/ 222171 w 1028"/>
                <a:gd name="T1" fmla="*/ 6454411 h 503"/>
                <a:gd name="T2" fmla="*/ 234950 w 1028"/>
                <a:gd name="T3" fmla="*/ 2659213 h 503"/>
                <a:gd name="T4" fmla="*/ 211322 w 1028"/>
                <a:gd name="T5" fmla="*/ 4395814 h 503"/>
                <a:gd name="T6" fmla="*/ 202117 w 1028"/>
                <a:gd name="T7" fmla="*/ 2463382 h 503"/>
                <a:gd name="T8" fmla="*/ 201675 w 1028"/>
                <a:gd name="T9" fmla="*/ 233831 h 503"/>
                <a:gd name="T10" fmla="*/ 198417 w 1028"/>
                <a:gd name="T11" fmla="*/ 2944987 h 503"/>
                <a:gd name="T12" fmla="*/ 183314 w 1028"/>
                <a:gd name="T13" fmla="*/ 5831718 h 503"/>
                <a:gd name="T14" fmla="*/ 186716 w 1028"/>
                <a:gd name="T15" fmla="*/ 4233052 h 503"/>
                <a:gd name="T16" fmla="*/ 174967 w 1028"/>
                <a:gd name="T17" fmla="*/ 4895722 h 503"/>
                <a:gd name="T18" fmla="*/ 152245 w 1028"/>
                <a:gd name="T19" fmla="*/ 4149644 h 503"/>
                <a:gd name="T20" fmla="*/ 142202 w 1028"/>
                <a:gd name="T21" fmla="*/ 4974128 h 503"/>
                <a:gd name="T22" fmla="*/ 122256 w 1028"/>
                <a:gd name="T23" fmla="*/ 3654244 h 503"/>
                <a:gd name="T24" fmla="*/ 96504 w 1028"/>
                <a:gd name="T25" fmla="*/ 2790217 h 503"/>
                <a:gd name="T26" fmla="*/ 80459 w 1028"/>
                <a:gd name="T27" fmla="*/ 2224905 h 503"/>
                <a:gd name="T28" fmla="*/ 34542 w 1028"/>
                <a:gd name="T29" fmla="*/ 5369409 h 503"/>
                <a:gd name="T30" fmla="*/ 5997 w 1028"/>
                <a:gd name="T31" fmla="*/ 14410660 h 503"/>
                <a:gd name="T32" fmla="*/ 20270 w 1028"/>
                <a:gd name="T33" fmla="*/ 19495646 h 503"/>
                <a:gd name="T34" fmla="*/ 12872 w 1028"/>
                <a:gd name="T35" fmla="*/ 21315443 h 503"/>
                <a:gd name="T36" fmla="*/ 17099 w 1028"/>
                <a:gd name="T37" fmla="*/ 22833726 h 503"/>
                <a:gd name="T38" fmla="*/ 17456 w 1028"/>
                <a:gd name="T39" fmla="*/ 24607027 h 503"/>
                <a:gd name="T40" fmla="*/ 10117 w 1028"/>
                <a:gd name="T41" fmla="*/ 25823691 h 503"/>
                <a:gd name="T42" fmla="*/ 16414 w 1028"/>
                <a:gd name="T43" fmla="*/ 26373918 h 503"/>
                <a:gd name="T44" fmla="*/ 19425 w 1028"/>
                <a:gd name="T45" fmla="*/ 27551002 h 503"/>
                <a:gd name="T46" fmla="*/ 20937 w 1028"/>
                <a:gd name="T47" fmla="*/ 28431734 h 503"/>
                <a:gd name="T48" fmla="*/ 75978 w 1028"/>
                <a:gd name="T49" fmla="*/ 28584372 h 503"/>
                <a:gd name="T50" fmla="*/ 131296 w 1028"/>
                <a:gd name="T51" fmla="*/ 28203525 h 503"/>
                <a:gd name="T52" fmla="*/ 163187 w 1028"/>
                <a:gd name="T53" fmla="*/ 31422993 h 503"/>
                <a:gd name="T54" fmla="*/ 162209 w 1028"/>
                <a:gd name="T55" fmla="*/ 37950839 h 503"/>
                <a:gd name="T56" fmla="*/ 194556 w 1028"/>
                <a:gd name="T57" fmla="*/ 34947805 h 503"/>
                <a:gd name="T58" fmla="*/ 229695 w 1028"/>
                <a:gd name="T59" fmla="*/ 30979154 h 503"/>
                <a:gd name="T60" fmla="*/ 243202 w 1028"/>
                <a:gd name="T61" fmla="*/ 32926303 h 503"/>
                <a:gd name="T62" fmla="*/ 235385 w 1028"/>
                <a:gd name="T63" fmla="*/ 34529172 h 503"/>
                <a:gd name="T64" fmla="*/ 255852 w 1028"/>
                <a:gd name="T65" fmla="*/ 33667092 h 503"/>
                <a:gd name="T66" fmla="*/ 242422 w 1028"/>
                <a:gd name="T67" fmla="*/ 31226521 h 503"/>
                <a:gd name="T68" fmla="*/ 249447 w 1028"/>
                <a:gd name="T69" fmla="*/ 28943991 h 503"/>
                <a:gd name="T70" fmla="*/ 226700 w 1028"/>
                <a:gd name="T71" fmla="*/ 29802070 h 503"/>
                <a:gd name="T72" fmla="*/ 273959 w 1028"/>
                <a:gd name="T73" fmla="*/ 25823691 h 503"/>
                <a:gd name="T74" fmla="*/ 288409 w 1028"/>
                <a:gd name="T75" fmla="*/ 22833726 h 503"/>
                <a:gd name="T76" fmla="*/ 273400 w 1028"/>
                <a:gd name="T77" fmla="*/ 22667335 h 503"/>
                <a:gd name="T78" fmla="*/ 276553 w 1028"/>
                <a:gd name="T79" fmla="*/ 20897650 h 503"/>
                <a:gd name="T80" fmla="*/ 274720 w 1028"/>
                <a:gd name="T81" fmla="*/ 19956031 h 503"/>
                <a:gd name="T82" fmla="*/ 270621 w 1028"/>
                <a:gd name="T83" fmla="*/ 18409254 h 503"/>
                <a:gd name="T84" fmla="*/ 270621 w 1028"/>
                <a:gd name="T85" fmla="*/ 16802361 h 503"/>
                <a:gd name="T86" fmla="*/ 269984 w 1028"/>
                <a:gd name="T87" fmla="*/ 14410660 h 503"/>
                <a:gd name="T88" fmla="*/ 263716 w 1028"/>
                <a:gd name="T89" fmla="*/ 15465475 h 503"/>
                <a:gd name="T90" fmla="*/ 252078 w 1028"/>
                <a:gd name="T91" fmla="*/ 16802361 h 503"/>
                <a:gd name="T92" fmla="*/ 250330 w 1028"/>
                <a:gd name="T93" fmla="*/ 14922952 h 503"/>
                <a:gd name="T94" fmla="*/ 246706 w 1028"/>
                <a:gd name="T95" fmla="*/ 12285276 h 503"/>
                <a:gd name="T96" fmla="*/ 226859 w 1028"/>
                <a:gd name="T97" fmla="*/ 12477103 h 503"/>
                <a:gd name="T98" fmla="*/ 216069 w 1028"/>
                <a:gd name="T99" fmla="*/ 19495646 h 503"/>
                <a:gd name="T100" fmla="*/ 196657 w 1028"/>
                <a:gd name="T101" fmla="*/ 25091365 h 503"/>
                <a:gd name="T102" fmla="*/ 190970 w 1028"/>
                <a:gd name="T103" fmla="*/ 21861370 h 503"/>
                <a:gd name="T104" fmla="*/ 167804 w 1028"/>
                <a:gd name="T105" fmla="*/ 17893904 h 503"/>
                <a:gd name="T106" fmla="*/ 159219 w 1028"/>
                <a:gd name="T107" fmla="*/ 15465475 h 503"/>
                <a:gd name="T108" fmla="*/ 180951 w 1028"/>
                <a:gd name="T109" fmla="*/ 10851963 h 503"/>
                <a:gd name="T110" fmla="*/ 191532 w 1028"/>
                <a:gd name="T111" fmla="*/ 9338591 h 503"/>
                <a:gd name="T112" fmla="*/ 202117 w 1028"/>
                <a:gd name="T113" fmla="*/ 7361504 h 5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28"/>
                <a:gd name="T172" fmla="*/ 0 h 503"/>
                <a:gd name="T173" fmla="*/ 1028 w 1028"/>
                <a:gd name="T174" fmla="*/ 503 h 5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28" h="503">
                  <a:moveTo>
                    <a:pt x="757" y="87"/>
                  </a:moveTo>
                  <a:lnTo>
                    <a:pt x="751" y="83"/>
                  </a:lnTo>
                  <a:lnTo>
                    <a:pt x="767" y="83"/>
                  </a:lnTo>
                  <a:lnTo>
                    <a:pt x="776" y="87"/>
                  </a:lnTo>
                  <a:lnTo>
                    <a:pt x="783" y="86"/>
                  </a:lnTo>
                  <a:lnTo>
                    <a:pt x="777" y="77"/>
                  </a:lnTo>
                  <a:lnTo>
                    <a:pt x="783" y="79"/>
                  </a:lnTo>
                  <a:lnTo>
                    <a:pt x="786" y="80"/>
                  </a:lnTo>
                  <a:lnTo>
                    <a:pt x="792" y="84"/>
                  </a:lnTo>
                  <a:lnTo>
                    <a:pt x="821" y="74"/>
                  </a:lnTo>
                  <a:lnTo>
                    <a:pt x="825" y="65"/>
                  </a:lnTo>
                  <a:lnTo>
                    <a:pt x="823" y="58"/>
                  </a:lnTo>
                  <a:lnTo>
                    <a:pt x="825" y="52"/>
                  </a:lnTo>
                  <a:lnTo>
                    <a:pt x="839" y="48"/>
                  </a:lnTo>
                  <a:lnTo>
                    <a:pt x="832" y="47"/>
                  </a:lnTo>
                  <a:lnTo>
                    <a:pt x="842" y="41"/>
                  </a:lnTo>
                  <a:lnTo>
                    <a:pt x="825" y="36"/>
                  </a:lnTo>
                  <a:lnTo>
                    <a:pt x="838" y="35"/>
                  </a:lnTo>
                  <a:lnTo>
                    <a:pt x="802" y="34"/>
                  </a:lnTo>
                  <a:lnTo>
                    <a:pt x="799" y="42"/>
                  </a:lnTo>
                  <a:lnTo>
                    <a:pt x="800" y="45"/>
                  </a:lnTo>
                  <a:lnTo>
                    <a:pt x="799" y="48"/>
                  </a:lnTo>
                  <a:lnTo>
                    <a:pt x="789" y="48"/>
                  </a:lnTo>
                  <a:lnTo>
                    <a:pt x="761" y="70"/>
                  </a:lnTo>
                  <a:lnTo>
                    <a:pt x="752" y="71"/>
                  </a:lnTo>
                  <a:lnTo>
                    <a:pt x="749" y="60"/>
                  </a:lnTo>
                  <a:lnTo>
                    <a:pt x="754" y="57"/>
                  </a:lnTo>
                  <a:lnTo>
                    <a:pt x="761" y="45"/>
                  </a:lnTo>
                  <a:lnTo>
                    <a:pt x="751" y="41"/>
                  </a:lnTo>
                  <a:lnTo>
                    <a:pt x="729" y="57"/>
                  </a:lnTo>
                  <a:lnTo>
                    <a:pt x="735" y="44"/>
                  </a:lnTo>
                  <a:lnTo>
                    <a:pt x="731" y="39"/>
                  </a:lnTo>
                  <a:lnTo>
                    <a:pt x="742" y="38"/>
                  </a:lnTo>
                  <a:lnTo>
                    <a:pt x="735" y="35"/>
                  </a:lnTo>
                  <a:lnTo>
                    <a:pt x="722" y="34"/>
                  </a:lnTo>
                  <a:lnTo>
                    <a:pt x="720" y="32"/>
                  </a:lnTo>
                  <a:lnTo>
                    <a:pt x="731" y="28"/>
                  </a:lnTo>
                  <a:lnTo>
                    <a:pt x="731" y="26"/>
                  </a:lnTo>
                  <a:lnTo>
                    <a:pt x="736" y="26"/>
                  </a:lnTo>
                  <a:lnTo>
                    <a:pt x="732" y="16"/>
                  </a:lnTo>
                  <a:lnTo>
                    <a:pt x="736" y="7"/>
                  </a:lnTo>
                  <a:lnTo>
                    <a:pt x="729" y="3"/>
                  </a:lnTo>
                  <a:lnTo>
                    <a:pt x="725" y="3"/>
                  </a:lnTo>
                  <a:lnTo>
                    <a:pt x="729" y="0"/>
                  </a:lnTo>
                  <a:lnTo>
                    <a:pt x="719" y="3"/>
                  </a:lnTo>
                  <a:lnTo>
                    <a:pt x="725" y="3"/>
                  </a:lnTo>
                  <a:lnTo>
                    <a:pt x="707" y="6"/>
                  </a:lnTo>
                  <a:lnTo>
                    <a:pt x="709" y="9"/>
                  </a:lnTo>
                  <a:lnTo>
                    <a:pt x="697" y="10"/>
                  </a:lnTo>
                  <a:lnTo>
                    <a:pt x="691" y="20"/>
                  </a:lnTo>
                  <a:lnTo>
                    <a:pt x="694" y="22"/>
                  </a:lnTo>
                  <a:lnTo>
                    <a:pt x="685" y="23"/>
                  </a:lnTo>
                  <a:lnTo>
                    <a:pt x="681" y="31"/>
                  </a:lnTo>
                  <a:lnTo>
                    <a:pt x="707" y="38"/>
                  </a:lnTo>
                  <a:lnTo>
                    <a:pt x="700" y="41"/>
                  </a:lnTo>
                  <a:lnTo>
                    <a:pt x="701" y="39"/>
                  </a:lnTo>
                  <a:lnTo>
                    <a:pt x="694" y="42"/>
                  </a:lnTo>
                  <a:lnTo>
                    <a:pt x="687" y="48"/>
                  </a:lnTo>
                  <a:lnTo>
                    <a:pt x="699" y="45"/>
                  </a:lnTo>
                  <a:lnTo>
                    <a:pt x="694" y="51"/>
                  </a:lnTo>
                  <a:lnTo>
                    <a:pt x="669" y="58"/>
                  </a:lnTo>
                  <a:lnTo>
                    <a:pt x="659" y="70"/>
                  </a:lnTo>
                  <a:lnTo>
                    <a:pt x="654" y="76"/>
                  </a:lnTo>
                  <a:lnTo>
                    <a:pt x="646" y="76"/>
                  </a:lnTo>
                  <a:lnTo>
                    <a:pt x="646" y="79"/>
                  </a:lnTo>
                  <a:lnTo>
                    <a:pt x="645" y="76"/>
                  </a:lnTo>
                  <a:lnTo>
                    <a:pt x="646" y="76"/>
                  </a:lnTo>
                  <a:lnTo>
                    <a:pt x="655" y="74"/>
                  </a:lnTo>
                  <a:lnTo>
                    <a:pt x="652" y="73"/>
                  </a:lnTo>
                  <a:lnTo>
                    <a:pt x="655" y="70"/>
                  </a:lnTo>
                  <a:lnTo>
                    <a:pt x="649" y="70"/>
                  </a:lnTo>
                  <a:lnTo>
                    <a:pt x="665" y="55"/>
                  </a:lnTo>
                  <a:lnTo>
                    <a:pt x="654" y="58"/>
                  </a:lnTo>
                  <a:lnTo>
                    <a:pt x="656" y="55"/>
                  </a:lnTo>
                  <a:lnTo>
                    <a:pt x="643" y="54"/>
                  </a:lnTo>
                  <a:lnTo>
                    <a:pt x="633" y="57"/>
                  </a:lnTo>
                  <a:lnTo>
                    <a:pt x="636" y="61"/>
                  </a:lnTo>
                  <a:lnTo>
                    <a:pt x="645" y="63"/>
                  </a:lnTo>
                  <a:lnTo>
                    <a:pt x="633" y="64"/>
                  </a:lnTo>
                  <a:lnTo>
                    <a:pt x="629" y="58"/>
                  </a:lnTo>
                  <a:lnTo>
                    <a:pt x="624" y="64"/>
                  </a:lnTo>
                  <a:lnTo>
                    <a:pt x="601" y="63"/>
                  </a:lnTo>
                  <a:lnTo>
                    <a:pt x="578" y="63"/>
                  </a:lnTo>
                  <a:lnTo>
                    <a:pt x="571" y="58"/>
                  </a:lnTo>
                  <a:lnTo>
                    <a:pt x="562" y="58"/>
                  </a:lnTo>
                  <a:lnTo>
                    <a:pt x="558" y="52"/>
                  </a:lnTo>
                  <a:lnTo>
                    <a:pt x="553" y="45"/>
                  </a:lnTo>
                  <a:lnTo>
                    <a:pt x="517" y="54"/>
                  </a:lnTo>
                  <a:lnTo>
                    <a:pt x="524" y="57"/>
                  </a:lnTo>
                  <a:lnTo>
                    <a:pt x="542" y="54"/>
                  </a:lnTo>
                  <a:lnTo>
                    <a:pt x="553" y="51"/>
                  </a:lnTo>
                  <a:lnTo>
                    <a:pt x="531" y="58"/>
                  </a:lnTo>
                  <a:lnTo>
                    <a:pt x="521" y="60"/>
                  </a:lnTo>
                  <a:lnTo>
                    <a:pt x="514" y="79"/>
                  </a:lnTo>
                  <a:lnTo>
                    <a:pt x="510" y="74"/>
                  </a:lnTo>
                  <a:lnTo>
                    <a:pt x="505" y="86"/>
                  </a:lnTo>
                  <a:lnTo>
                    <a:pt x="501" y="73"/>
                  </a:lnTo>
                  <a:lnTo>
                    <a:pt x="510" y="73"/>
                  </a:lnTo>
                  <a:lnTo>
                    <a:pt x="507" y="65"/>
                  </a:lnTo>
                  <a:lnTo>
                    <a:pt x="501" y="68"/>
                  </a:lnTo>
                  <a:lnTo>
                    <a:pt x="501" y="64"/>
                  </a:lnTo>
                  <a:lnTo>
                    <a:pt x="492" y="61"/>
                  </a:lnTo>
                  <a:lnTo>
                    <a:pt x="447" y="64"/>
                  </a:lnTo>
                  <a:lnTo>
                    <a:pt x="431" y="61"/>
                  </a:lnTo>
                  <a:lnTo>
                    <a:pt x="449" y="55"/>
                  </a:lnTo>
                  <a:lnTo>
                    <a:pt x="456" y="54"/>
                  </a:lnTo>
                  <a:lnTo>
                    <a:pt x="443" y="44"/>
                  </a:lnTo>
                  <a:lnTo>
                    <a:pt x="436" y="47"/>
                  </a:lnTo>
                  <a:lnTo>
                    <a:pt x="405" y="39"/>
                  </a:lnTo>
                  <a:lnTo>
                    <a:pt x="375" y="32"/>
                  </a:lnTo>
                  <a:lnTo>
                    <a:pt x="360" y="39"/>
                  </a:lnTo>
                  <a:lnTo>
                    <a:pt x="353" y="38"/>
                  </a:lnTo>
                  <a:lnTo>
                    <a:pt x="357" y="34"/>
                  </a:lnTo>
                  <a:lnTo>
                    <a:pt x="361" y="26"/>
                  </a:lnTo>
                  <a:lnTo>
                    <a:pt x="357" y="29"/>
                  </a:lnTo>
                  <a:lnTo>
                    <a:pt x="351" y="34"/>
                  </a:lnTo>
                  <a:lnTo>
                    <a:pt x="344" y="36"/>
                  </a:lnTo>
                  <a:lnTo>
                    <a:pt x="338" y="39"/>
                  </a:lnTo>
                  <a:lnTo>
                    <a:pt x="334" y="29"/>
                  </a:lnTo>
                  <a:lnTo>
                    <a:pt x="328" y="22"/>
                  </a:lnTo>
                  <a:lnTo>
                    <a:pt x="330" y="26"/>
                  </a:lnTo>
                  <a:lnTo>
                    <a:pt x="305" y="34"/>
                  </a:lnTo>
                  <a:lnTo>
                    <a:pt x="306" y="31"/>
                  </a:lnTo>
                  <a:lnTo>
                    <a:pt x="280" y="35"/>
                  </a:lnTo>
                  <a:lnTo>
                    <a:pt x="306" y="26"/>
                  </a:lnTo>
                  <a:lnTo>
                    <a:pt x="287" y="29"/>
                  </a:lnTo>
                  <a:lnTo>
                    <a:pt x="258" y="36"/>
                  </a:lnTo>
                  <a:lnTo>
                    <a:pt x="228" y="44"/>
                  </a:lnTo>
                  <a:lnTo>
                    <a:pt x="225" y="48"/>
                  </a:lnTo>
                  <a:lnTo>
                    <a:pt x="215" y="47"/>
                  </a:lnTo>
                  <a:lnTo>
                    <a:pt x="213" y="49"/>
                  </a:lnTo>
                  <a:lnTo>
                    <a:pt x="189" y="42"/>
                  </a:lnTo>
                  <a:lnTo>
                    <a:pt x="167" y="35"/>
                  </a:lnTo>
                  <a:lnTo>
                    <a:pt x="145" y="52"/>
                  </a:lnTo>
                  <a:lnTo>
                    <a:pt x="123" y="70"/>
                  </a:lnTo>
                  <a:lnTo>
                    <a:pt x="101" y="89"/>
                  </a:lnTo>
                  <a:lnTo>
                    <a:pt x="80" y="106"/>
                  </a:lnTo>
                  <a:lnTo>
                    <a:pt x="59" y="125"/>
                  </a:lnTo>
                  <a:lnTo>
                    <a:pt x="39" y="144"/>
                  </a:lnTo>
                  <a:lnTo>
                    <a:pt x="19" y="163"/>
                  </a:lnTo>
                  <a:lnTo>
                    <a:pt x="0" y="182"/>
                  </a:lnTo>
                  <a:lnTo>
                    <a:pt x="24" y="180"/>
                  </a:lnTo>
                  <a:lnTo>
                    <a:pt x="19" y="185"/>
                  </a:lnTo>
                  <a:lnTo>
                    <a:pt x="22" y="188"/>
                  </a:lnTo>
                  <a:lnTo>
                    <a:pt x="22" y="205"/>
                  </a:lnTo>
                  <a:lnTo>
                    <a:pt x="33" y="201"/>
                  </a:lnTo>
                  <a:lnTo>
                    <a:pt x="43" y="195"/>
                  </a:lnTo>
                  <a:lnTo>
                    <a:pt x="61" y="190"/>
                  </a:lnTo>
                  <a:lnTo>
                    <a:pt x="65" y="208"/>
                  </a:lnTo>
                  <a:lnTo>
                    <a:pt x="62" y="224"/>
                  </a:lnTo>
                  <a:lnTo>
                    <a:pt x="59" y="238"/>
                  </a:lnTo>
                  <a:lnTo>
                    <a:pt x="65" y="247"/>
                  </a:lnTo>
                  <a:lnTo>
                    <a:pt x="72" y="254"/>
                  </a:lnTo>
                  <a:lnTo>
                    <a:pt x="58" y="270"/>
                  </a:lnTo>
                  <a:lnTo>
                    <a:pt x="69" y="260"/>
                  </a:lnTo>
                  <a:lnTo>
                    <a:pt x="69" y="263"/>
                  </a:lnTo>
                  <a:lnTo>
                    <a:pt x="58" y="270"/>
                  </a:lnTo>
                  <a:lnTo>
                    <a:pt x="61" y="270"/>
                  </a:lnTo>
                  <a:lnTo>
                    <a:pt x="53" y="276"/>
                  </a:lnTo>
                  <a:lnTo>
                    <a:pt x="49" y="276"/>
                  </a:lnTo>
                  <a:lnTo>
                    <a:pt x="49" y="282"/>
                  </a:lnTo>
                  <a:lnTo>
                    <a:pt x="46" y="278"/>
                  </a:lnTo>
                  <a:lnTo>
                    <a:pt x="45" y="285"/>
                  </a:lnTo>
                  <a:lnTo>
                    <a:pt x="52" y="283"/>
                  </a:lnTo>
                  <a:lnTo>
                    <a:pt x="48" y="283"/>
                  </a:lnTo>
                  <a:lnTo>
                    <a:pt x="48" y="288"/>
                  </a:lnTo>
                  <a:lnTo>
                    <a:pt x="45" y="286"/>
                  </a:lnTo>
                  <a:lnTo>
                    <a:pt x="46" y="298"/>
                  </a:lnTo>
                  <a:lnTo>
                    <a:pt x="64" y="286"/>
                  </a:lnTo>
                  <a:lnTo>
                    <a:pt x="56" y="296"/>
                  </a:lnTo>
                  <a:lnTo>
                    <a:pt x="61" y="298"/>
                  </a:lnTo>
                  <a:lnTo>
                    <a:pt x="53" y="296"/>
                  </a:lnTo>
                  <a:lnTo>
                    <a:pt x="52" y="308"/>
                  </a:lnTo>
                  <a:lnTo>
                    <a:pt x="55" y="307"/>
                  </a:lnTo>
                  <a:lnTo>
                    <a:pt x="45" y="317"/>
                  </a:lnTo>
                  <a:lnTo>
                    <a:pt x="49" y="314"/>
                  </a:lnTo>
                  <a:lnTo>
                    <a:pt x="49" y="318"/>
                  </a:lnTo>
                  <a:lnTo>
                    <a:pt x="69" y="307"/>
                  </a:lnTo>
                  <a:lnTo>
                    <a:pt x="62" y="315"/>
                  </a:lnTo>
                  <a:lnTo>
                    <a:pt x="62" y="321"/>
                  </a:lnTo>
                  <a:lnTo>
                    <a:pt x="59" y="317"/>
                  </a:lnTo>
                  <a:lnTo>
                    <a:pt x="43" y="326"/>
                  </a:lnTo>
                  <a:lnTo>
                    <a:pt x="45" y="328"/>
                  </a:lnTo>
                  <a:lnTo>
                    <a:pt x="49" y="326"/>
                  </a:lnTo>
                  <a:lnTo>
                    <a:pt x="58" y="327"/>
                  </a:lnTo>
                  <a:lnTo>
                    <a:pt x="43" y="331"/>
                  </a:lnTo>
                  <a:lnTo>
                    <a:pt x="39" y="333"/>
                  </a:lnTo>
                  <a:lnTo>
                    <a:pt x="45" y="334"/>
                  </a:lnTo>
                  <a:lnTo>
                    <a:pt x="36" y="337"/>
                  </a:lnTo>
                  <a:lnTo>
                    <a:pt x="48" y="342"/>
                  </a:lnTo>
                  <a:lnTo>
                    <a:pt x="52" y="339"/>
                  </a:lnTo>
                  <a:lnTo>
                    <a:pt x="55" y="340"/>
                  </a:lnTo>
                  <a:lnTo>
                    <a:pt x="49" y="342"/>
                  </a:lnTo>
                  <a:lnTo>
                    <a:pt x="55" y="342"/>
                  </a:lnTo>
                  <a:lnTo>
                    <a:pt x="51" y="344"/>
                  </a:lnTo>
                  <a:lnTo>
                    <a:pt x="64" y="340"/>
                  </a:lnTo>
                  <a:lnTo>
                    <a:pt x="65" y="337"/>
                  </a:lnTo>
                  <a:lnTo>
                    <a:pt x="58" y="344"/>
                  </a:lnTo>
                  <a:lnTo>
                    <a:pt x="52" y="344"/>
                  </a:lnTo>
                  <a:lnTo>
                    <a:pt x="51" y="347"/>
                  </a:lnTo>
                  <a:lnTo>
                    <a:pt x="61" y="344"/>
                  </a:lnTo>
                  <a:lnTo>
                    <a:pt x="61" y="349"/>
                  </a:lnTo>
                  <a:lnTo>
                    <a:pt x="71" y="342"/>
                  </a:lnTo>
                  <a:lnTo>
                    <a:pt x="65" y="350"/>
                  </a:lnTo>
                  <a:lnTo>
                    <a:pt x="74" y="347"/>
                  </a:lnTo>
                  <a:lnTo>
                    <a:pt x="62" y="355"/>
                  </a:lnTo>
                  <a:lnTo>
                    <a:pt x="69" y="359"/>
                  </a:lnTo>
                  <a:lnTo>
                    <a:pt x="75" y="352"/>
                  </a:lnTo>
                  <a:lnTo>
                    <a:pt x="72" y="362"/>
                  </a:lnTo>
                  <a:lnTo>
                    <a:pt x="74" y="362"/>
                  </a:lnTo>
                  <a:lnTo>
                    <a:pt x="68" y="362"/>
                  </a:lnTo>
                  <a:lnTo>
                    <a:pt x="74" y="365"/>
                  </a:lnTo>
                  <a:lnTo>
                    <a:pt x="80" y="362"/>
                  </a:lnTo>
                  <a:lnTo>
                    <a:pt x="75" y="368"/>
                  </a:lnTo>
                  <a:lnTo>
                    <a:pt x="80" y="369"/>
                  </a:lnTo>
                  <a:lnTo>
                    <a:pt x="74" y="371"/>
                  </a:lnTo>
                  <a:lnTo>
                    <a:pt x="78" y="373"/>
                  </a:lnTo>
                  <a:lnTo>
                    <a:pt x="103" y="373"/>
                  </a:lnTo>
                  <a:lnTo>
                    <a:pt x="126" y="373"/>
                  </a:lnTo>
                  <a:lnTo>
                    <a:pt x="151" y="373"/>
                  </a:lnTo>
                  <a:lnTo>
                    <a:pt x="174" y="373"/>
                  </a:lnTo>
                  <a:lnTo>
                    <a:pt x="199" y="373"/>
                  </a:lnTo>
                  <a:lnTo>
                    <a:pt x="222" y="373"/>
                  </a:lnTo>
                  <a:lnTo>
                    <a:pt x="245" y="373"/>
                  </a:lnTo>
                  <a:lnTo>
                    <a:pt x="270" y="373"/>
                  </a:lnTo>
                  <a:lnTo>
                    <a:pt x="293" y="373"/>
                  </a:lnTo>
                  <a:lnTo>
                    <a:pt x="318" y="373"/>
                  </a:lnTo>
                  <a:lnTo>
                    <a:pt x="341" y="373"/>
                  </a:lnTo>
                  <a:lnTo>
                    <a:pt x="366" y="373"/>
                  </a:lnTo>
                  <a:lnTo>
                    <a:pt x="389" y="373"/>
                  </a:lnTo>
                  <a:lnTo>
                    <a:pt x="414" y="373"/>
                  </a:lnTo>
                  <a:lnTo>
                    <a:pt x="437" y="373"/>
                  </a:lnTo>
                  <a:lnTo>
                    <a:pt x="460" y="373"/>
                  </a:lnTo>
                  <a:lnTo>
                    <a:pt x="468" y="368"/>
                  </a:lnTo>
                  <a:lnTo>
                    <a:pt x="465" y="378"/>
                  </a:lnTo>
                  <a:lnTo>
                    <a:pt x="481" y="381"/>
                  </a:lnTo>
                  <a:lnTo>
                    <a:pt x="501" y="389"/>
                  </a:lnTo>
                  <a:lnTo>
                    <a:pt x="514" y="387"/>
                  </a:lnTo>
                  <a:lnTo>
                    <a:pt x="526" y="391"/>
                  </a:lnTo>
                  <a:lnTo>
                    <a:pt x="545" y="387"/>
                  </a:lnTo>
                  <a:lnTo>
                    <a:pt x="556" y="394"/>
                  </a:lnTo>
                  <a:lnTo>
                    <a:pt x="568" y="403"/>
                  </a:lnTo>
                  <a:lnTo>
                    <a:pt x="581" y="410"/>
                  </a:lnTo>
                  <a:lnTo>
                    <a:pt x="592" y="417"/>
                  </a:lnTo>
                  <a:lnTo>
                    <a:pt x="594" y="424"/>
                  </a:lnTo>
                  <a:lnTo>
                    <a:pt x="598" y="424"/>
                  </a:lnTo>
                  <a:lnTo>
                    <a:pt x="597" y="429"/>
                  </a:lnTo>
                  <a:lnTo>
                    <a:pt x="608" y="437"/>
                  </a:lnTo>
                  <a:lnTo>
                    <a:pt x="606" y="453"/>
                  </a:lnTo>
                  <a:lnTo>
                    <a:pt x="603" y="468"/>
                  </a:lnTo>
                  <a:lnTo>
                    <a:pt x="594" y="478"/>
                  </a:lnTo>
                  <a:lnTo>
                    <a:pt x="578" y="495"/>
                  </a:lnTo>
                  <a:lnTo>
                    <a:pt x="581" y="503"/>
                  </a:lnTo>
                  <a:lnTo>
                    <a:pt x="597" y="497"/>
                  </a:lnTo>
                  <a:lnTo>
                    <a:pt x="613" y="493"/>
                  </a:lnTo>
                  <a:lnTo>
                    <a:pt x="627" y="487"/>
                  </a:lnTo>
                  <a:lnTo>
                    <a:pt x="642" y="482"/>
                  </a:lnTo>
                  <a:lnTo>
                    <a:pt x="643" y="471"/>
                  </a:lnTo>
                  <a:lnTo>
                    <a:pt x="661" y="469"/>
                  </a:lnTo>
                  <a:lnTo>
                    <a:pt x="680" y="468"/>
                  </a:lnTo>
                  <a:lnTo>
                    <a:pt x="693" y="456"/>
                  </a:lnTo>
                  <a:lnTo>
                    <a:pt x="707" y="446"/>
                  </a:lnTo>
                  <a:lnTo>
                    <a:pt x="735" y="445"/>
                  </a:lnTo>
                  <a:lnTo>
                    <a:pt x="762" y="443"/>
                  </a:lnTo>
                  <a:lnTo>
                    <a:pt x="773" y="437"/>
                  </a:lnTo>
                  <a:lnTo>
                    <a:pt x="786" y="426"/>
                  </a:lnTo>
                  <a:lnTo>
                    <a:pt x="797" y="413"/>
                  </a:lnTo>
                  <a:lnTo>
                    <a:pt x="810" y="400"/>
                  </a:lnTo>
                  <a:lnTo>
                    <a:pt x="812" y="404"/>
                  </a:lnTo>
                  <a:lnTo>
                    <a:pt x="818" y="404"/>
                  </a:lnTo>
                  <a:lnTo>
                    <a:pt x="828" y="407"/>
                  </a:lnTo>
                  <a:lnTo>
                    <a:pt x="821" y="429"/>
                  </a:lnTo>
                  <a:lnTo>
                    <a:pt x="825" y="440"/>
                  </a:lnTo>
                  <a:lnTo>
                    <a:pt x="828" y="442"/>
                  </a:lnTo>
                  <a:lnTo>
                    <a:pt x="842" y="437"/>
                  </a:lnTo>
                  <a:lnTo>
                    <a:pt x="841" y="439"/>
                  </a:lnTo>
                  <a:lnTo>
                    <a:pt x="861" y="432"/>
                  </a:lnTo>
                  <a:lnTo>
                    <a:pt x="864" y="424"/>
                  </a:lnTo>
                  <a:lnTo>
                    <a:pt x="867" y="429"/>
                  </a:lnTo>
                  <a:lnTo>
                    <a:pt x="870" y="429"/>
                  </a:lnTo>
                  <a:lnTo>
                    <a:pt x="858" y="436"/>
                  </a:lnTo>
                  <a:lnTo>
                    <a:pt x="880" y="437"/>
                  </a:lnTo>
                  <a:lnTo>
                    <a:pt x="867" y="442"/>
                  </a:lnTo>
                  <a:lnTo>
                    <a:pt x="866" y="439"/>
                  </a:lnTo>
                  <a:lnTo>
                    <a:pt x="844" y="449"/>
                  </a:lnTo>
                  <a:lnTo>
                    <a:pt x="848" y="448"/>
                  </a:lnTo>
                  <a:lnTo>
                    <a:pt x="835" y="453"/>
                  </a:lnTo>
                  <a:lnTo>
                    <a:pt x="839" y="450"/>
                  </a:lnTo>
                  <a:lnTo>
                    <a:pt x="832" y="459"/>
                  </a:lnTo>
                  <a:lnTo>
                    <a:pt x="837" y="469"/>
                  </a:lnTo>
                  <a:lnTo>
                    <a:pt x="845" y="466"/>
                  </a:lnTo>
                  <a:lnTo>
                    <a:pt x="866" y="450"/>
                  </a:lnTo>
                  <a:lnTo>
                    <a:pt x="869" y="452"/>
                  </a:lnTo>
                  <a:lnTo>
                    <a:pt x="873" y="449"/>
                  </a:lnTo>
                  <a:lnTo>
                    <a:pt x="876" y="450"/>
                  </a:lnTo>
                  <a:lnTo>
                    <a:pt x="893" y="445"/>
                  </a:lnTo>
                  <a:lnTo>
                    <a:pt x="912" y="439"/>
                  </a:lnTo>
                  <a:lnTo>
                    <a:pt x="906" y="437"/>
                  </a:lnTo>
                  <a:lnTo>
                    <a:pt x="911" y="436"/>
                  </a:lnTo>
                  <a:lnTo>
                    <a:pt x="903" y="427"/>
                  </a:lnTo>
                  <a:lnTo>
                    <a:pt x="898" y="432"/>
                  </a:lnTo>
                  <a:lnTo>
                    <a:pt x="886" y="429"/>
                  </a:lnTo>
                  <a:lnTo>
                    <a:pt x="876" y="424"/>
                  </a:lnTo>
                  <a:lnTo>
                    <a:pt x="869" y="421"/>
                  </a:lnTo>
                  <a:lnTo>
                    <a:pt x="870" y="408"/>
                  </a:lnTo>
                  <a:lnTo>
                    <a:pt x="864" y="407"/>
                  </a:lnTo>
                  <a:lnTo>
                    <a:pt x="874" y="397"/>
                  </a:lnTo>
                  <a:lnTo>
                    <a:pt x="863" y="397"/>
                  </a:lnTo>
                  <a:lnTo>
                    <a:pt x="861" y="394"/>
                  </a:lnTo>
                  <a:lnTo>
                    <a:pt x="848" y="391"/>
                  </a:lnTo>
                  <a:lnTo>
                    <a:pt x="851" y="389"/>
                  </a:lnTo>
                  <a:lnTo>
                    <a:pt x="866" y="389"/>
                  </a:lnTo>
                  <a:lnTo>
                    <a:pt x="885" y="384"/>
                  </a:lnTo>
                  <a:lnTo>
                    <a:pt x="886" y="378"/>
                  </a:lnTo>
                  <a:lnTo>
                    <a:pt x="889" y="378"/>
                  </a:lnTo>
                  <a:lnTo>
                    <a:pt x="887" y="373"/>
                  </a:lnTo>
                  <a:lnTo>
                    <a:pt x="871" y="369"/>
                  </a:lnTo>
                  <a:lnTo>
                    <a:pt x="851" y="375"/>
                  </a:lnTo>
                  <a:lnTo>
                    <a:pt x="831" y="379"/>
                  </a:lnTo>
                  <a:lnTo>
                    <a:pt x="816" y="389"/>
                  </a:lnTo>
                  <a:lnTo>
                    <a:pt x="802" y="400"/>
                  </a:lnTo>
                  <a:lnTo>
                    <a:pt x="780" y="411"/>
                  </a:lnTo>
                  <a:lnTo>
                    <a:pt x="793" y="400"/>
                  </a:lnTo>
                  <a:lnTo>
                    <a:pt x="808" y="389"/>
                  </a:lnTo>
                  <a:lnTo>
                    <a:pt x="792" y="384"/>
                  </a:lnTo>
                  <a:lnTo>
                    <a:pt x="806" y="388"/>
                  </a:lnTo>
                  <a:lnTo>
                    <a:pt x="826" y="375"/>
                  </a:lnTo>
                  <a:lnTo>
                    <a:pt x="848" y="368"/>
                  </a:lnTo>
                  <a:lnTo>
                    <a:pt x="863" y="353"/>
                  </a:lnTo>
                  <a:lnTo>
                    <a:pt x="893" y="353"/>
                  </a:lnTo>
                  <a:lnTo>
                    <a:pt x="924" y="352"/>
                  </a:lnTo>
                  <a:lnTo>
                    <a:pt x="950" y="352"/>
                  </a:lnTo>
                  <a:lnTo>
                    <a:pt x="976" y="337"/>
                  </a:lnTo>
                  <a:lnTo>
                    <a:pt x="999" y="331"/>
                  </a:lnTo>
                  <a:lnTo>
                    <a:pt x="1025" y="318"/>
                  </a:lnTo>
                  <a:lnTo>
                    <a:pt x="1020" y="314"/>
                  </a:lnTo>
                  <a:lnTo>
                    <a:pt x="1025" y="312"/>
                  </a:lnTo>
                  <a:lnTo>
                    <a:pt x="1017" y="311"/>
                  </a:lnTo>
                  <a:lnTo>
                    <a:pt x="1024" y="310"/>
                  </a:lnTo>
                  <a:lnTo>
                    <a:pt x="1024" y="308"/>
                  </a:lnTo>
                  <a:lnTo>
                    <a:pt x="1027" y="302"/>
                  </a:lnTo>
                  <a:lnTo>
                    <a:pt x="1028" y="298"/>
                  </a:lnTo>
                  <a:lnTo>
                    <a:pt x="1020" y="294"/>
                  </a:lnTo>
                  <a:lnTo>
                    <a:pt x="1021" y="292"/>
                  </a:lnTo>
                  <a:lnTo>
                    <a:pt x="1011" y="295"/>
                  </a:lnTo>
                  <a:lnTo>
                    <a:pt x="1014" y="283"/>
                  </a:lnTo>
                  <a:lnTo>
                    <a:pt x="1001" y="286"/>
                  </a:lnTo>
                  <a:lnTo>
                    <a:pt x="1008" y="286"/>
                  </a:lnTo>
                  <a:lnTo>
                    <a:pt x="985" y="294"/>
                  </a:lnTo>
                  <a:lnTo>
                    <a:pt x="969" y="298"/>
                  </a:lnTo>
                  <a:lnTo>
                    <a:pt x="975" y="296"/>
                  </a:lnTo>
                  <a:lnTo>
                    <a:pt x="967" y="292"/>
                  </a:lnTo>
                  <a:lnTo>
                    <a:pt x="976" y="292"/>
                  </a:lnTo>
                  <a:lnTo>
                    <a:pt x="1001" y="283"/>
                  </a:lnTo>
                  <a:lnTo>
                    <a:pt x="983" y="286"/>
                  </a:lnTo>
                  <a:lnTo>
                    <a:pt x="1015" y="278"/>
                  </a:lnTo>
                  <a:lnTo>
                    <a:pt x="996" y="270"/>
                  </a:lnTo>
                  <a:lnTo>
                    <a:pt x="992" y="270"/>
                  </a:lnTo>
                  <a:lnTo>
                    <a:pt x="996" y="266"/>
                  </a:lnTo>
                  <a:lnTo>
                    <a:pt x="985" y="273"/>
                  </a:lnTo>
                  <a:lnTo>
                    <a:pt x="991" y="267"/>
                  </a:lnTo>
                  <a:lnTo>
                    <a:pt x="989" y="266"/>
                  </a:lnTo>
                  <a:lnTo>
                    <a:pt x="982" y="269"/>
                  </a:lnTo>
                  <a:lnTo>
                    <a:pt x="983" y="266"/>
                  </a:lnTo>
                  <a:lnTo>
                    <a:pt x="976" y="269"/>
                  </a:lnTo>
                  <a:lnTo>
                    <a:pt x="979" y="266"/>
                  </a:lnTo>
                  <a:lnTo>
                    <a:pt x="982" y="263"/>
                  </a:lnTo>
                  <a:lnTo>
                    <a:pt x="983" y="257"/>
                  </a:lnTo>
                  <a:lnTo>
                    <a:pt x="979" y="260"/>
                  </a:lnTo>
                  <a:lnTo>
                    <a:pt x="979" y="257"/>
                  </a:lnTo>
                  <a:lnTo>
                    <a:pt x="973" y="251"/>
                  </a:lnTo>
                  <a:lnTo>
                    <a:pt x="966" y="249"/>
                  </a:lnTo>
                  <a:lnTo>
                    <a:pt x="972" y="249"/>
                  </a:lnTo>
                  <a:lnTo>
                    <a:pt x="967" y="246"/>
                  </a:lnTo>
                  <a:lnTo>
                    <a:pt x="972" y="244"/>
                  </a:lnTo>
                  <a:lnTo>
                    <a:pt x="966" y="243"/>
                  </a:lnTo>
                  <a:lnTo>
                    <a:pt x="970" y="243"/>
                  </a:lnTo>
                  <a:lnTo>
                    <a:pt x="964" y="240"/>
                  </a:lnTo>
                  <a:lnTo>
                    <a:pt x="967" y="240"/>
                  </a:lnTo>
                  <a:lnTo>
                    <a:pt x="972" y="241"/>
                  </a:lnTo>
                  <a:lnTo>
                    <a:pt x="980" y="235"/>
                  </a:lnTo>
                  <a:lnTo>
                    <a:pt x="976" y="231"/>
                  </a:lnTo>
                  <a:lnTo>
                    <a:pt x="972" y="228"/>
                  </a:lnTo>
                  <a:lnTo>
                    <a:pt x="977" y="224"/>
                  </a:lnTo>
                  <a:lnTo>
                    <a:pt x="972" y="219"/>
                  </a:lnTo>
                  <a:lnTo>
                    <a:pt x="972" y="218"/>
                  </a:lnTo>
                  <a:lnTo>
                    <a:pt x="964" y="219"/>
                  </a:lnTo>
                  <a:lnTo>
                    <a:pt x="973" y="215"/>
                  </a:lnTo>
                  <a:lnTo>
                    <a:pt x="973" y="212"/>
                  </a:lnTo>
                  <a:lnTo>
                    <a:pt x="962" y="215"/>
                  </a:lnTo>
                  <a:lnTo>
                    <a:pt x="973" y="206"/>
                  </a:lnTo>
                  <a:lnTo>
                    <a:pt x="969" y="203"/>
                  </a:lnTo>
                  <a:lnTo>
                    <a:pt x="964" y="202"/>
                  </a:lnTo>
                  <a:lnTo>
                    <a:pt x="969" y="198"/>
                  </a:lnTo>
                  <a:lnTo>
                    <a:pt x="966" y="196"/>
                  </a:lnTo>
                  <a:lnTo>
                    <a:pt x="963" y="188"/>
                  </a:lnTo>
                  <a:lnTo>
                    <a:pt x="963" y="186"/>
                  </a:lnTo>
                  <a:lnTo>
                    <a:pt x="957" y="186"/>
                  </a:lnTo>
                  <a:lnTo>
                    <a:pt x="963" y="182"/>
                  </a:lnTo>
                  <a:lnTo>
                    <a:pt x="954" y="186"/>
                  </a:lnTo>
                  <a:lnTo>
                    <a:pt x="954" y="190"/>
                  </a:lnTo>
                  <a:lnTo>
                    <a:pt x="947" y="190"/>
                  </a:lnTo>
                  <a:lnTo>
                    <a:pt x="948" y="195"/>
                  </a:lnTo>
                  <a:lnTo>
                    <a:pt x="946" y="198"/>
                  </a:lnTo>
                  <a:lnTo>
                    <a:pt x="940" y="202"/>
                  </a:lnTo>
                  <a:lnTo>
                    <a:pt x="934" y="208"/>
                  </a:lnTo>
                  <a:lnTo>
                    <a:pt x="931" y="214"/>
                  </a:lnTo>
                  <a:lnTo>
                    <a:pt x="928" y="206"/>
                  </a:lnTo>
                  <a:lnTo>
                    <a:pt x="915" y="214"/>
                  </a:lnTo>
                  <a:lnTo>
                    <a:pt x="905" y="221"/>
                  </a:lnTo>
                  <a:lnTo>
                    <a:pt x="906" y="215"/>
                  </a:lnTo>
                  <a:lnTo>
                    <a:pt x="902" y="218"/>
                  </a:lnTo>
                  <a:lnTo>
                    <a:pt x="905" y="211"/>
                  </a:lnTo>
                  <a:lnTo>
                    <a:pt x="898" y="219"/>
                  </a:lnTo>
                  <a:lnTo>
                    <a:pt x="883" y="224"/>
                  </a:lnTo>
                  <a:lnTo>
                    <a:pt x="902" y="214"/>
                  </a:lnTo>
                  <a:lnTo>
                    <a:pt x="899" y="205"/>
                  </a:lnTo>
                  <a:lnTo>
                    <a:pt x="883" y="208"/>
                  </a:lnTo>
                  <a:lnTo>
                    <a:pt x="879" y="208"/>
                  </a:lnTo>
                  <a:lnTo>
                    <a:pt x="885" y="203"/>
                  </a:lnTo>
                  <a:lnTo>
                    <a:pt x="890" y="205"/>
                  </a:lnTo>
                  <a:lnTo>
                    <a:pt x="895" y="198"/>
                  </a:lnTo>
                  <a:lnTo>
                    <a:pt x="892" y="195"/>
                  </a:lnTo>
                  <a:lnTo>
                    <a:pt x="895" y="188"/>
                  </a:lnTo>
                  <a:lnTo>
                    <a:pt x="880" y="186"/>
                  </a:lnTo>
                  <a:lnTo>
                    <a:pt x="899" y="183"/>
                  </a:lnTo>
                  <a:lnTo>
                    <a:pt x="902" y="176"/>
                  </a:lnTo>
                  <a:lnTo>
                    <a:pt x="905" y="172"/>
                  </a:lnTo>
                  <a:lnTo>
                    <a:pt x="899" y="172"/>
                  </a:lnTo>
                  <a:lnTo>
                    <a:pt x="882" y="164"/>
                  </a:lnTo>
                  <a:lnTo>
                    <a:pt x="886" y="160"/>
                  </a:lnTo>
                  <a:lnTo>
                    <a:pt x="880" y="160"/>
                  </a:lnTo>
                  <a:lnTo>
                    <a:pt x="877" y="156"/>
                  </a:lnTo>
                  <a:lnTo>
                    <a:pt x="879" y="153"/>
                  </a:lnTo>
                  <a:lnTo>
                    <a:pt x="866" y="147"/>
                  </a:lnTo>
                  <a:lnTo>
                    <a:pt x="851" y="151"/>
                  </a:lnTo>
                  <a:lnTo>
                    <a:pt x="838" y="151"/>
                  </a:lnTo>
                  <a:lnTo>
                    <a:pt x="842" y="150"/>
                  </a:lnTo>
                  <a:lnTo>
                    <a:pt x="818" y="147"/>
                  </a:lnTo>
                  <a:lnTo>
                    <a:pt x="808" y="158"/>
                  </a:lnTo>
                  <a:lnTo>
                    <a:pt x="809" y="163"/>
                  </a:lnTo>
                  <a:lnTo>
                    <a:pt x="800" y="174"/>
                  </a:lnTo>
                  <a:lnTo>
                    <a:pt x="803" y="174"/>
                  </a:lnTo>
                  <a:lnTo>
                    <a:pt x="800" y="186"/>
                  </a:lnTo>
                  <a:lnTo>
                    <a:pt x="794" y="193"/>
                  </a:lnTo>
                  <a:lnTo>
                    <a:pt x="792" y="193"/>
                  </a:lnTo>
                  <a:lnTo>
                    <a:pt x="771" y="209"/>
                  </a:lnTo>
                  <a:lnTo>
                    <a:pt x="786" y="225"/>
                  </a:lnTo>
                  <a:lnTo>
                    <a:pt x="777" y="240"/>
                  </a:lnTo>
                  <a:lnTo>
                    <a:pt x="770" y="254"/>
                  </a:lnTo>
                  <a:lnTo>
                    <a:pt x="751" y="263"/>
                  </a:lnTo>
                  <a:lnTo>
                    <a:pt x="732" y="273"/>
                  </a:lnTo>
                  <a:lnTo>
                    <a:pt x="722" y="276"/>
                  </a:lnTo>
                  <a:lnTo>
                    <a:pt x="723" y="289"/>
                  </a:lnTo>
                  <a:lnTo>
                    <a:pt x="717" y="312"/>
                  </a:lnTo>
                  <a:lnTo>
                    <a:pt x="712" y="323"/>
                  </a:lnTo>
                  <a:lnTo>
                    <a:pt x="707" y="330"/>
                  </a:lnTo>
                  <a:lnTo>
                    <a:pt x="703" y="334"/>
                  </a:lnTo>
                  <a:lnTo>
                    <a:pt x="701" y="327"/>
                  </a:lnTo>
                  <a:lnTo>
                    <a:pt x="691" y="337"/>
                  </a:lnTo>
                  <a:lnTo>
                    <a:pt x="693" y="343"/>
                  </a:lnTo>
                  <a:lnTo>
                    <a:pt x="684" y="333"/>
                  </a:lnTo>
                  <a:lnTo>
                    <a:pt x="672" y="339"/>
                  </a:lnTo>
                  <a:lnTo>
                    <a:pt x="684" y="330"/>
                  </a:lnTo>
                  <a:lnTo>
                    <a:pt x="672" y="317"/>
                  </a:lnTo>
                  <a:lnTo>
                    <a:pt x="675" y="312"/>
                  </a:lnTo>
                  <a:lnTo>
                    <a:pt x="674" y="301"/>
                  </a:lnTo>
                  <a:lnTo>
                    <a:pt x="681" y="285"/>
                  </a:lnTo>
                  <a:lnTo>
                    <a:pt x="687" y="267"/>
                  </a:lnTo>
                  <a:lnTo>
                    <a:pt x="669" y="267"/>
                  </a:lnTo>
                  <a:lnTo>
                    <a:pt x="654" y="266"/>
                  </a:lnTo>
                  <a:lnTo>
                    <a:pt x="649" y="269"/>
                  </a:lnTo>
                  <a:lnTo>
                    <a:pt x="655" y="265"/>
                  </a:lnTo>
                  <a:lnTo>
                    <a:pt x="642" y="259"/>
                  </a:lnTo>
                  <a:lnTo>
                    <a:pt x="630" y="251"/>
                  </a:lnTo>
                  <a:lnTo>
                    <a:pt x="616" y="238"/>
                  </a:lnTo>
                  <a:lnTo>
                    <a:pt x="598" y="233"/>
                  </a:lnTo>
                  <a:lnTo>
                    <a:pt x="575" y="238"/>
                  </a:lnTo>
                  <a:lnTo>
                    <a:pt x="577" y="235"/>
                  </a:lnTo>
                  <a:lnTo>
                    <a:pt x="572" y="237"/>
                  </a:lnTo>
                  <a:lnTo>
                    <a:pt x="584" y="217"/>
                  </a:lnTo>
                  <a:lnTo>
                    <a:pt x="582" y="208"/>
                  </a:lnTo>
                  <a:lnTo>
                    <a:pt x="571" y="211"/>
                  </a:lnTo>
                  <a:lnTo>
                    <a:pt x="565" y="217"/>
                  </a:lnTo>
                  <a:lnTo>
                    <a:pt x="569" y="208"/>
                  </a:lnTo>
                  <a:lnTo>
                    <a:pt x="568" y="202"/>
                  </a:lnTo>
                  <a:lnTo>
                    <a:pt x="587" y="179"/>
                  </a:lnTo>
                  <a:lnTo>
                    <a:pt x="614" y="160"/>
                  </a:lnTo>
                  <a:lnTo>
                    <a:pt x="616" y="156"/>
                  </a:lnTo>
                  <a:lnTo>
                    <a:pt x="629" y="150"/>
                  </a:lnTo>
                  <a:lnTo>
                    <a:pt x="626" y="148"/>
                  </a:lnTo>
                  <a:lnTo>
                    <a:pt x="632" y="150"/>
                  </a:lnTo>
                  <a:lnTo>
                    <a:pt x="636" y="145"/>
                  </a:lnTo>
                  <a:lnTo>
                    <a:pt x="645" y="144"/>
                  </a:lnTo>
                  <a:lnTo>
                    <a:pt x="645" y="141"/>
                  </a:lnTo>
                  <a:lnTo>
                    <a:pt x="665" y="137"/>
                  </a:lnTo>
                  <a:lnTo>
                    <a:pt x="667" y="132"/>
                  </a:lnTo>
                  <a:lnTo>
                    <a:pt x="652" y="128"/>
                  </a:lnTo>
                  <a:lnTo>
                    <a:pt x="655" y="126"/>
                  </a:lnTo>
                  <a:lnTo>
                    <a:pt x="640" y="125"/>
                  </a:lnTo>
                  <a:lnTo>
                    <a:pt x="640" y="121"/>
                  </a:lnTo>
                  <a:lnTo>
                    <a:pt x="659" y="124"/>
                  </a:lnTo>
                  <a:lnTo>
                    <a:pt x="678" y="128"/>
                  </a:lnTo>
                  <a:lnTo>
                    <a:pt x="683" y="122"/>
                  </a:lnTo>
                  <a:lnTo>
                    <a:pt x="687" y="119"/>
                  </a:lnTo>
                  <a:lnTo>
                    <a:pt x="694" y="122"/>
                  </a:lnTo>
                  <a:lnTo>
                    <a:pt x="694" y="119"/>
                  </a:lnTo>
                  <a:lnTo>
                    <a:pt x="701" y="121"/>
                  </a:lnTo>
                  <a:lnTo>
                    <a:pt x="729" y="106"/>
                  </a:lnTo>
                  <a:lnTo>
                    <a:pt x="733" y="102"/>
                  </a:lnTo>
                  <a:lnTo>
                    <a:pt x="707" y="99"/>
                  </a:lnTo>
                  <a:lnTo>
                    <a:pt x="693" y="92"/>
                  </a:lnTo>
                  <a:lnTo>
                    <a:pt x="720" y="96"/>
                  </a:lnTo>
                  <a:lnTo>
                    <a:pt x="729" y="102"/>
                  </a:lnTo>
                  <a:lnTo>
                    <a:pt x="757" y="87"/>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0" name="Freeform 280">
              <a:extLst>
                <a:ext uri="{FF2B5EF4-FFF2-40B4-BE49-F238E27FC236}">
                  <a16:creationId xmlns:a16="http://schemas.microsoft.com/office/drawing/2014/main" id="{BE81C0B5-960A-62F0-93B0-70637229944D}"/>
                </a:ext>
              </a:extLst>
            </p:cNvPr>
            <p:cNvSpPr>
              <a:spLocks/>
            </p:cNvSpPr>
            <p:nvPr/>
          </p:nvSpPr>
          <p:spPr bwMode="auto">
            <a:xfrm>
              <a:off x="2372291" y="1417094"/>
              <a:ext cx="537318" cy="367505"/>
            </a:xfrm>
            <a:custGeom>
              <a:avLst/>
              <a:gdLst>
                <a:gd name="T0" fmla="*/ 58261 w 280"/>
                <a:gd name="T1" fmla="*/ 3285642 h 182"/>
                <a:gd name="T2" fmla="*/ 55385 w 280"/>
                <a:gd name="T3" fmla="*/ 2684573 h 182"/>
                <a:gd name="T4" fmla="*/ 52141 w 280"/>
                <a:gd name="T5" fmla="*/ 2569062 h 182"/>
                <a:gd name="T6" fmla="*/ 46154 w 280"/>
                <a:gd name="T7" fmla="*/ 3066613 h 182"/>
                <a:gd name="T8" fmla="*/ 47579 w 280"/>
                <a:gd name="T9" fmla="*/ 2039949 h 182"/>
                <a:gd name="T10" fmla="*/ 49681 w 280"/>
                <a:gd name="T11" fmla="*/ 1784616 h 182"/>
                <a:gd name="T12" fmla="*/ 37715 w 280"/>
                <a:gd name="T13" fmla="*/ 1864856 h 182"/>
                <a:gd name="T14" fmla="*/ 36787 w 280"/>
                <a:gd name="T15" fmla="*/ 2013014 h 182"/>
                <a:gd name="T16" fmla="*/ 33842 w 280"/>
                <a:gd name="T17" fmla="*/ 1864856 h 182"/>
                <a:gd name="T18" fmla="*/ 31027 w 280"/>
                <a:gd name="T19" fmla="*/ 1784616 h 182"/>
                <a:gd name="T20" fmla="*/ 26522 w 280"/>
                <a:gd name="T21" fmla="*/ 508168 h 182"/>
                <a:gd name="T22" fmla="*/ 21174 w 280"/>
                <a:gd name="T23" fmla="*/ 942460 h 182"/>
                <a:gd name="T24" fmla="*/ 19512 w 280"/>
                <a:gd name="T25" fmla="*/ 1617935 h 182"/>
                <a:gd name="T26" fmla="*/ 17308 w 280"/>
                <a:gd name="T27" fmla="*/ 2684573 h 182"/>
                <a:gd name="T28" fmla="*/ 13046 w 280"/>
                <a:gd name="T29" fmla="*/ 2039949 h 182"/>
                <a:gd name="T30" fmla="*/ 6686 w 280"/>
                <a:gd name="T31" fmla="*/ 1123909 h 182"/>
                <a:gd name="T32" fmla="*/ 1109 w 280"/>
                <a:gd name="T33" fmla="*/ 3864604 h 182"/>
                <a:gd name="T34" fmla="*/ 8509 w 280"/>
                <a:gd name="T35" fmla="*/ 4414573 h 182"/>
                <a:gd name="T36" fmla="*/ 21434 w 280"/>
                <a:gd name="T37" fmla="*/ 4339946 h 182"/>
                <a:gd name="T38" fmla="*/ 32462 w 280"/>
                <a:gd name="T39" fmla="*/ 3965998 h 182"/>
                <a:gd name="T40" fmla="*/ 35674 w 280"/>
                <a:gd name="T41" fmla="*/ 4928542 h 182"/>
                <a:gd name="T42" fmla="*/ 34501 w 280"/>
                <a:gd name="T43" fmla="*/ 6005322 h 182"/>
                <a:gd name="T44" fmla="*/ 42809 w 280"/>
                <a:gd name="T45" fmla="*/ 5998052 h 182"/>
                <a:gd name="T46" fmla="*/ 40610 w 280"/>
                <a:gd name="T47" fmla="*/ 8401591 h 182"/>
                <a:gd name="T48" fmla="*/ 50214 w 280"/>
                <a:gd name="T49" fmla="*/ 9118567 h 182"/>
                <a:gd name="T50" fmla="*/ 38698 w 280"/>
                <a:gd name="T51" fmla="*/ 8634558 h 182"/>
                <a:gd name="T52" fmla="*/ 27534 w 280"/>
                <a:gd name="T53" fmla="*/ 10607821 h 182"/>
                <a:gd name="T54" fmla="*/ 17308 w 280"/>
                <a:gd name="T55" fmla="*/ 11100288 h 182"/>
                <a:gd name="T56" fmla="*/ 29521 w 280"/>
                <a:gd name="T57" fmla="*/ 11172796 h 182"/>
                <a:gd name="T58" fmla="*/ 33041 w 280"/>
                <a:gd name="T59" fmla="*/ 11100288 h 182"/>
                <a:gd name="T60" fmla="*/ 35674 w 280"/>
                <a:gd name="T61" fmla="*/ 12429961 h 182"/>
                <a:gd name="T62" fmla="*/ 42360 w 280"/>
                <a:gd name="T63" fmla="*/ 13671760 h 182"/>
                <a:gd name="T64" fmla="*/ 49663 w 280"/>
                <a:gd name="T65" fmla="*/ 13126720 h 182"/>
                <a:gd name="T66" fmla="*/ 53335 w 280"/>
                <a:gd name="T67" fmla="*/ 13126720 h 182"/>
                <a:gd name="T68" fmla="*/ 58261 w 280"/>
                <a:gd name="T69" fmla="*/ 13671760 h 182"/>
                <a:gd name="T70" fmla="*/ 61214 w 280"/>
                <a:gd name="T71" fmla="*/ 12611553 h 182"/>
                <a:gd name="T72" fmla="*/ 60712 w 280"/>
                <a:gd name="T73" fmla="*/ 11568986 h 182"/>
                <a:gd name="T74" fmla="*/ 58478 w 280"/>
                <a:gd name="T75" fmla="*/ 10846891 h 182"/>
                <a:gd name="T76" fmla="*/ 57095 w 280"/>
                <a:gd name="T77" fmla="*/ 10558830 h 182"/>
                <a:gd name="T78" fmla="*/ 55385 w 280"/>
                <a:gd name="T79" fmla="*/ 9697754 h 182"/>
                <a:gd name="T80" fmla="*/ 58261 w 280"/>
                <a:gd name="T81" fmla="*/ 9266076 h 182"/>
                <a:gd name="T82" fmla="*/ 61214 w 280"/>
                <a:gd name="T83" fmla="*/ 8760698 h 182"/>
                <a:gd name="T84" fmla="*/ 68801 w 280"/>
                <a:gd name="T85" fmla="*/ 8993815 h 182"/>
                <a:gd name="T86" fmla="*/ 64024 w 280"/>
                <a:gd name="T87" fmla="*/ 10050204 h 182"/>
                <a:gd name="T88" fmla="*/ 67313 w 280"/>
                <a:gd name="T89" fmla="*/ 10558830 h 182"/>
                <a:gd name="T90" fmla="*/ 70890 w 280"/>
                <a:gd name="T91" fmla="*/ 9497183 h 182"/>
                <a:gd name="T92" fmla="*/ 73457 w 280"/>
                <a:gd name="T93" fmla="*/ 9291723 h 182"/>
                <a:gd name="T94" fmla="*/ 78410 w 280"/>
                <a:gd name="T95" fmla="*/ 8816513 h 182"/>
                <a:gd name="T96" fmla="*/ 77204 w 280"/>
                <a:gd name="T97" fmla="*/ 8218871 h 182"/>
                <a:gd name="T98" fmla="*/ 72650 w 280"/>
                <a:gd name="T99" fmla="*/ 8525359 h 182"/>
                <a:gd name="T100" fmla="*/ 69913 w 280"/>
                <a:gd name="T101" fmla="*/ 8008747 h 182"/>
                <a:gd name="T102" fmla="*/ 69913 w 280"/>
                <a:gd name="T103" fmla="*/ 7710891 h 182"/>
                <a:gd name="T104" fmla="*/ 69913 w 280"/>
                <a:gd name="T105" fmla="*/ 7247024 h 182"/>
                <a:gd name="T106" fmla="*/ 66871 w 280"/>
                <a:gd name="T107" fmla="*/ 7127212 h 182"/>
                <a:gd name="T108" fmla="*/ 65172 w 280"/>
                <a:gd name="T109" fmla="*/ 6736608 h 182"/>
                <a:gd name="T110" fmla="*/ 59596 w 280"/>
                <a:gd name="T111" fmla="*/ 6005322 h 182"/>
                <a:gd name="T112" fmla="*/ 62020 w 280"/>
                <a:gd name="T113" fmla="*/ 5836222 h 182"/>
                <a:gd name="T114" fmla="*/ 60257 w 280"/>
                <a:gd name="T115" fmla="*/ 5356420 h 182"/>
                <a:gd name="T116" fmla="*/ 62477 w 280"/>
                <a:gd name="T117" fmla="*/ 4928542 h 182"/>
                <a:gd name="T118" fmla="*/ 60712 w 280"/>
                <a:gd name="T119" fmla="*/ 4607391 h 182"/>
                <a:gd name="T120" fmla="*/ 65994 w 280"/>
                <a:gd name="T121" fmla="*/ 3864604 h 182"/>
                <a:gd name="T122" fmla="*/ 57334 w 280"/>
                <a:gd name="T123" fmla="*/ 3864604 h 1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0"/>
                <a:gd name="T187" fmla="*/ 0 h 182"/>
                <a:gd name="T188" fmla="*/ 280 w 280"/>
                <a:gd name="T189" fmla="*/ 182 h 1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0" h="182">
                  <a:moveTo>
                    <a:pt x="196" y="48"/>
                  </a:moveTo>
                  <a:lnTo>
                    <a:pt x="193" y="48"/>
                  </a:lnTo>
                  <a:lnTo>
                    <a:pt x="212" y="42"/>
                  </a:lnTo>
                  <a:lnTo>
                    <a:pt x="204" y="41"/>
                  </a:lnTo>
                  <a:lnTo>
                    <a:pt x="189" y="44"/>
                  </a:lnTo>
                  <a:lnTo>
                    <a:pt x="199" y="39"/>
                  </a:lnTo>
                  <a:lnTo>
                    <a:pt x="207" y="36"/>
                  </a:lnTo>
                  <a:lnTo>
                    <a:pt x="194" y="33"/>
                  </a:lnTo>
                  <a:lnTo>
                    <a:pt x="183" y="39"/>
                  </a:lnTo>
                  <a:lnTo>
                    <a:pt x="183" y="36"/>
                  </a:lnTo>
                  <a:lnTo>
                    <a:pt x="177" y="39"/>
                  </a:lnTo>
                  <a:lnTo>
                    <a:pt x="183" y="32"/>
                  </a:lnTo>
                  <a:lnTo>
                    <a:pt x="175" y="36"/>
                  </a:lnTo>
                  <a:lnTo>
                    <a:pt x="181" y="29"/>
                  </a:lnTo>
                  <a:lnTo>
                    <a:pt x="178" y="30"/>
                  </a:lnTo>
                  <a:lnTo>
                    <a:pt x="162" y="38"/>
                  </a:lnTo>
                  <a:lnTo>
                    <a:pt x="170" y="32"/>
                  </a:lnTo>
                  <a:lnTo>
                    <a:pt x="165" y="32"/>
                  </a:lnTo>
                  <a:lnTo>
                    <a:pt x="181" y="26"/>
                  </a:lnTo>
                  <a:lnTo>
                    <a:pt x="167" y="26"/>
                  </a:lnTo>
                  <a:lnTo>
                    <a:pt x="161" y="29"/>
                  </a:lnTo>
                  <a:lnTo>
                    <a:pt x="167" y="25"/>
                  </a:lnTo>
                  <a:lnTo>
                    <a:pt x="155" y="28"/>
                  </a:lnTo>
                  <a:lnTo>
                    <a:pt x="175" y="22"/>
                  </a:lnTo>
                  <a:lnTo>
                    <a:pt x="168" y="17"/>
                  </a:lnTo>
                  <a:lnTo>
                    <a:pt x="141" y="17"/>
                  </a:lnTo>
                  <a:lnTo>
                    <a:pt x="149" y="23"/>
                  </a:lnTo>
                  <a:lnTo>
                    <a:pt x="132" y="23"/>
                  </a:lnTo>
                  <a:lnTo>
                    <a:pt x="138" y="29"/>
                  </a:lnTo>
                  <a:lnTo>
                    <a:pt x="129" y="26"/>
                  </a:lnTo>
                  <a:lnTo>
                    <a:pt x="130" y="28"/>
                  </a:lnTo>
                  <a:lnTo>
                    <a:pt x="129" y="25"/>
                  </a:lnTo>
                  <a:lnTo>
                    <a:pt x="129" y="20"/>
                  </a:lnTo>
                  <a:lnTo>
                    <a:pt x="126" y="22"/>
                  </a:lnTo>
                  <a:lnTo>
                    <a:pt x="119" y="22"/>
                  </a:lnTo>
                  <a:lnTo>
                    <a:pt x="119" y="23"/>
                  </a:lnTo>
                  <a:lnTo>
                    <a:pt x="114" y="23"/>
                  </a:lnTo>
                  <a:lnTo>
                    <a:pt x="109" y="26"/>
                  </a:lnTo>
                  <a:lnTo>
                    <a:pt x="113" y="20"/>
                  </a:lnTo>
                  <a:lnTo>
                    <a:pt x="109" y="22"/>
                  </a:lnTo>
                  <a:lnTo>
                    <a:pt x="123" y="14"/>
                  </a:lnTo>
                  <a:lnTo>
                    <a:pt x="120" y="1"/>
                  </a:lnTo>
                  <a:lnTo>
                    <a:pt x="91" y="4"/>
                  </a:lnTo>
                  <a:lnTo>
                    <a:pt x="93" y="6"/>
                  </a:lnTo>
                  <a:lnTo>
                    <a:pt x="82" y="7"/>
                  </a:lnTo>
                  <a:lnTo>
                    <a:pt x="75" y="9"/>
                  </a:lnTo>
                  <a:lnTo>
                    <a:pt x="87" y="12"/>
                  </a:lnTo>
                  <a:lnTo>
                    <a:pt x="74" y="12"/>
                  </a:lnTo>
                  <a:lnTo>
                    <a:pt x="82" y="14"/>
                  </a:lnTo>
                  <a:lnTo>
                    <a:pt x="65" y="13"/>
                  </a:lnTo>
                  <a:lnTo>
                    <a:pt x="64" y="20"/>
                  </a:lnTo>
                  <a:lnTo>
                    <a:pt x="68" y="20"/>
                  </a:lnTo>
                  <a:lnTo>
                    <a:pt x="69" y="26"/>
                  </a:lnTo>
                  <a:lnTo>
                    <a:pt x="58" y="25"/>
                  </a:lnTo>
                  <a:lnTo>
                    <a:pt x="53" y="28"/>
                  </a:lnTo>
                  <a:lnTo>
                    <a:pt x="61" y="33"/>
                  </a:lnTo>
                  <a:lnTo>
                    <a:pt x="50" y="39"/>
                  </a:lnTo>
                  <a:lnTo>
                    <a:pt x="35" y="41"/>
                  </a:lnTo>
                  <a:lnTo>
                    <a:pt x="55" y="35"/>
                  </a:lnTo>
                  <a:lnTo>
                    <a:pt x="46" y="26"/>
                  </a:lnTo>
                  <a:lnTo>
                    <a:pt x="65" y="7"/>
                  </a:lnTo>
                  <a:lnTo>
                    <a:pt x="82" y="0"/>
                  </a:lnTo>
                  <a:lnTo>
                    <a:pt x="45" y="3"/>
                  </a:lnTo>
                  <a:lnTo>
                    <a:pt x="23" y="14"/>
                  </a:lnTo>
                  <a:lnTo>
                    <a:pt x="0" y="35"/>
                  </a:lnTo>
                  <a:lnTo>
                    <a:pt x="24" y="41"/>
                  </a:lnTo>
                  <a:lnTo>
                    <a:pt x="1" y="41"/>
                  </a:lnTo>
                  <a:lnTo>
                    <a:pt x="4" y="48"/>
                  </a:lnTo>
                  <a:lnTo>
                    <a:pt x="19" y="51"/>
                  </a:lnTo>
                  <a:lnTo>
                    <a:pt x="20" y="49"/>
                  </a:lnTo>
                  <a:lnTo>
                    <a:pt x="26" y="49"/>
                  </a:lnTo>
                  <a:lnTo>
                    <a:pt x="30" y="55"/>
                  </a:lnTo>
                  <a:lnTo>
                    <a:pt x="74" y="57"/>
                  </a:lnTo>
                  <a:lnTo>
                    <a:pt x="64" y="51"/>
                  </a:lnTo>
                  <a:lnTo>
                    <a:pt x="82" y="58"/>
                  </a:lnTo>
                  <a:lnTo>
                    <a:pt x="75" y="54"/>
                  </a:lnTo>
                  <a:lnTo>
                    <a:pt x="109" y="57"/>
                  </a:lnTo>
                  <a:lnTo>
                    <a:pt x="106" y="49"/>
                  </a:lnTo>
                  <a:lnTo>
                    <a:pt x="114" y="46"/>
                  </a:lnTo>
                  <a:lnTo>
                    <a:pt x="114" y="49"/>
                  </a:lnTo>
                  <a:lnTo>
                    <a:pt x="123" y="52"/>
                  </a:lnTo>
                  <a:lnTo>
                    <a:pt x="119" y="58"/>
                  </a:lnTo>
                  <a:lnTo>
                    <a:pt x="127" y="60"/>
                  </a:lnTo>
                  <a:lnTo>
                    <a:pt x="126" y="61"/>
                  </a:lnTo>
                  <a:lnTo>
                    <a:pt x="130" y="61"/>
                  </a:lnTo>
                  <a:lnTo>
                    <a:pt x="133" y="70"/>
                  </a:lnTo>
                  <a:lnTo>
                    <a:pt x="123" y="73"/>
                  </a:lnTo>
                  <a:lnTo>
                    <a:pt x="122" y="75"/>
                  </a:lnTo>
                  <a:lnTo>
                    <a:pt x="136" y="70"/>
                  </a:lnTo>
                  <a:lnTo>
                    <a:pt x="142" y="71"/>
                  </a:lnTo>
                  <a:lnTo>
                    <a:pt x="148" y="78"/>
                  </a:lnTo>
                  <a:lnTo>
                    <a:pt x="151" y="74"/>
                  </a:lnTo>
                  <a:lnTo>
                    <a:pt x="149" y="81"/>
                  </a:lnTo>
                  <a:lnTo>
                    <a:pt x="157" y="83"/>
                  </a:lnTo>
                  <a:lnTo>
                    <a:pt x="154" y="99"/>
                  </a:lnTo>
                  <a:lnTo>
                    <a:pt x="143" y="105"/>
                  </a:lnTo>
                  <a:lnTo>
                    <a:pt x="161" y="107"/>
                  </a:lnTo>
                  <a:lnTo>
                    <a:pt x="170" y="100"/>
                  </a:lnTo>
                  <a:lnTo>
                    <a:pt x="181" y="109"/>
                  </a:lnTo>
                  <a:lnTo>
                    <a:pt x="177" y="113"/>
                  </a:lnTo>
                  <a:lnTo>
                    <a:pt x="162" y="113"/>
                  </a:lnTo>
                  <a:lnTo>
                    <a:pt x="157" y="116"/>
                  </a:lnTo>
                  <a:lnTo>
                    <a:pt x="161" y="109"/>
                  </a:lnTo>
                  <a:lnTo>
                    <a:pt x="136" y="107"/>
                  </a:lnTo>
                  <a:lnTo>
                    <a:pt x="120" y="115"/>
                  </a:lnTo>
                  <a:lnTo>
                    <a:pt x="122" y="123"/>
                  </a:lnTo>
                  <a:lnTo>
                    <a:pt x="96" y="129"/>
                  </a:lnTo>
                  <a:lnTo>
                    <a:pt x="97" y="132"/>
                  </a:lnTo>
                  <a:lnTo>
                    <a:pt x="96" y="135"/>
                  </a:lnTo>
                  <a:lnTo>
                    <a:pt x="96" y="129"/>
                  </a:lnTo>
                  <a:lnTo>
                    <a:pt x="75" y="128"/>
                  </a:lnTo>
                  <a:lnTo>
                    <a:pt x="61" y="138"/>
                  </a:lnTo>
                  <a:lnTo>
                    <a:pt x="75" y="144"/>
                  </a:lnTo>
                  <a:lnTo>
                    <a:pt x="90" y="141"/>
                  </a:lnTo>
                  <a:lnTo>
                    <a:pt x="91" y="139"/>
                  </a:lnTo>
                  <a:lnTo>
                    <a:pt x="103" y="139"/>
                  </a:lnTo>
                  <a:lnTo>
                    <a:pt x="106" y="134"/>
                  </a:lnTo>
                  <a:lnTo>
                    <a:pt x="109" y="138"/>
                  </a:lnTo>
                  <a:lnTo>
                    <a:pt x="109" y="142"/>
                  </a:lnTo>
                  <a:lnTo>
                    <a:pt x="116" y="138"/>
                  </a:lnTo>
                  <a:lnTo>
                    <a:pt x="120" y="138"/>
                  </a:lnTo>
                  <a:lnTo>
                    <a:pt x="117" y="145"/>
                  </a:lnTo>
                  <a:lnTo>
                    <a:pt x="126" y="150"/>
                  </a:lnTo>
                  <a:lnTo>
                    <a:pt x="126" y="154"/>
                  </a:lnTo>
                  <a:lnTo>
                    <a:pt x="135" y="155"/>
                  </a:lnTo>
                  <a:lnTo>
                    <a:pt x="126" y="158"/>
                  </a:lnTo>
                  <a:lnTo>
                    <a:pt x="133" y="163"/>
                  </a:lnTo>
                  <a:lnTo>
                    <a:pt x="148" y="170"/>
                  </a:lnTo>
                  <a:lnTo>
                    <a:pt x="167" y="176"/>
                  </a:lnTo>
                  <a:lnTo>
                    <a:pt x="186" y="182"/>
                  </a:lnTo>
                  <a:lnTo>
                    <a:pt x="186" y="174"/>
                  </a:lnTo>
                  <a:lnTo>
                    <a:pt x="174" y="163"/>
                  </a:lnTo>
                  <a:lnTo>
                    <a:pt x="164" y="152"/>
                  </a:lnTo>
                  <a:lnTo>
                    <a:pt x="177" y="158"/>
                  </a:lnTo>
                  <a:lnTo>
                    <a:pt x="180" y="154"/>
                  </a:lnTo>
                  <a:lnTo>
                    <a:pt x="187" y="163"/>
                  </a:lnTo>
                  <a:lnTo>
                    <a:pt x="189" y="161"/>
                  </a:lnTo>
                  <a:lnTo>
                    <a:pt x="193" y="164"/>
                  </a:lnTo>
                  <a:lnTo>
                    <a:pt x="202" y="167"/>
                  </a:lnTo>
                  <a:lnTo>
                    <a:pt x="204" y="170"/>
                  </a:lnTo>
                  <a:lnTo>
                    <a:pt x="204" y="166"/>
                  </a:lnTo>
                  <a:lnTo>
                    <a:pt x="209" y="164"/>
                  </a:lnTo>
                  <a:lnTo>
                    <a:pt x="212" y="154"/>
                  </a:lnTo>
                  <a:lnTo>
                    <a:pt x="215" y="157"/>
                  </a:lnTo>
                  <a:lnTo>
                    <a:pt x="216" y="152"/>
                  </a:lnTo>
                  <a:lnTo>
                    <a:pt x="218" y="148"/>
                  </a:lnTo>
                  <a:lnTo>
                    <a:pt x="215" y="147"/>
                  </a:lnTo>
                  <a:lnTo>
                    <a:pt x="213" y="144"/>
                  </a:lnTo>
                  <a:lnTo>
                    <a:pt x="215" y="141"/>
                  </a:lnTo>
                  <a:lnTo>
                    <a:pt x="213" y="138"/>
                  </a:lnTo>
                  <a:lnTo>
                    <a:pt x="209" y="137"/>
                  </a:lnTo>
                  <a:lnTo>
                    <a:pt x="206" y="135"/>
                  </a:lnTo>
                  <a:lnTo>
                    <a:pt x="203" y="132"/>
                  </a:lnTo>
                  <a:lnTo>
                    <a:pt x="202" y="134"/>
                  </a:lnTo>
                  <a:lnTo>
                    <a:pt x="203" y="129"/>
                  </a:lnTo>
                  <a:lnTo>
                    <a:pt x="200" y="131"/>
                  </a:lnTo>
                  <a:lnTo>
                    <a:pt x="200" y="126"/>
                  </a:lnTo>
                  <a:lnTo>
                    <a:pt x="200" y="122"/>
                  </a:lnTo>
                  <a:lnTo>
                    <a:pt x="193" y="122"/>
                  </a:lnTo>
                  <a:lnTo>
                    <a:pt x="194" y="121"/>
                  </a:lnTo>
                  <a:lnTo>
                    <a:pt x="194" y="116"/>
                  </a:lnTo>
                  <a:lnTo>
                    <a:pt x="191" y="112"/>
                  </a:lnTo>
                  <a:lnTo>
                    <a:pt x="200" y="118"/>
                  </a:lnTo>
                  <a:lnTo>
                    <a:pt x="204" y="115"/>
                  </a:lnTo>
                  <a:lnTo>
                    <a:pt x="203" y="110"/>
                  </a:lnTo>
                  <a:lnTo>
                    <a:pt x="209" y="109"/>
                  </a:lnTo>
                  <a:lnTo>
                    <a:pt x="209" y="107"/>
                  </a:lnTo>
                  <a:lnTo>
                    <a:pt x="215" y="109"/>
                  </a:lnTo>
                  <a:lnTo>
                    <a:pt x="225" y="113"/>
                  </a:lnTo>
                  <a:lnTo>
                    <a:pt x="228" y="112"/>
                  </a:lnTo>
                  <a:lnTo>
                    <a:pt x="220" y="118"/>
                  </a:lnTo>
                  <a:lnTo>
                    <a:pt x="242" y="112"/>
                  </a:lnTo>
                  <a:lnTo>
                    <a:pt x="232" y="116"/>
                  </a:lnTo>
                  <a:lnTo>
                    <a:pt x="223" y="122"/>
                  </a:lnTo>
                  <a:lnTo>
                    <a:pt x="226" y="122"/>
                  </a:lnTo>
                  <a:lnTo>
                    <a:pt x="225" y="125"/>
                  </a:lnTo>
                  <a:lnTo>
                    <a:pt x="231" y="125"/>
                  </a:lnTo>
                  <a:lnTo>
                    <a:pt x="229" y="131"/>
                  </a:lnTo>
                  <a:lnTo>
                    <a:pt x="232" y="128"/>
                  </a:lnTo>
                  <a:lnTo>
                    <a:pt x="236" y="131"/>
                  </a:lnTo>
                  <a:lnTo>
                    <a:pt x="242" y="132"/>
                  </a:lnTo>
                  <a:lnTo>
                    <a:pt x="242" y="125"/>
                  </a:lnTo>
                  <a:lnTo>
                    <a:pt x="244" y="123"/>
                  </a:lnTo>
                  <a:lnTo>
                    <a:pt x="248" y="118"/>
                  </a:lnTo>
                  <a:lnTo>
                    <a:pt x="254" y="122"/>
                  </a:lnTo>
                  <a:lnTo>
                    <a:pt x="257" y="119"/>
                  </a:lnTo>
                  <a:lnTo>
                    <a:pt x="261" y="118"/>
                  </a:lnTo>
                  <a:lnTo>
                    <a:pt x="258" y="116"/>
                  </a:lnTo>
                  <a:lnTo>
                    <a:pt x="267" y="115"/>
                  </a:lnTo>
                  <a:lnTo>
                    <a:pt x="261" y="113"/>
                  </a:lnTo>
                  <a:lnTo>
                    <a:pt x="267" y="110"/>
                  </a:lnTo>
                  <a:lnTo>
                    <a:pt x="276" y="110"/>
                  </a:lnTo>
                  <a:lnTo>
                    <a:pt x="276" y="109"/>
                  </a:lnTo>
                  <a:lnTo>
                    <a:pt x="273" y="106"/>
                  </a:lnTo>
                  <a:lnTo>
                    <a:pt x="280" y="107"/>
                  </a:lnTo>
                  <a:lnTo>
                    <a:pt x="271" y="102"/>
                  </a:lnTo>
                  <a:lnTo>
                    <a:pt x="268" y="105"/>
                  </a:lnTo>
                  <a:lnTo>
                    <a:pt x="264" y="105"/>
                  </a:lnTo>
                  <a:lnTo>
                    <a:pt x="264" y="102"/>
                  </a:lnTo>
                  <a:lnTo>
                    <a:pt x="255" y="106"/>
                  </a:lnTo>
                  <a:lnTo>
                    <a:pt x="255" y="105"/>
                  </a:lnTo>
                  <a:lnTo>
                    <a:pt x="261" y="97"/>
                  </a:lnTo>
                  <a:lnTo>
                    <a:pt x="258" y="100"/>
                  </a:lnTo>
                  <a:lnTo>
                    <a:pt x="245" y="99"/>
                  </a:lnTo>
                  <a:lnTo>
                    <a:pt x="254" y="97"/>
                  </a:lnTo>
                  <a:lnTo>
                    <a:pt x="244" y="97"/>
                  </a:lnTo>
                  <a:lnTo>
                    <a:pt x="251" y="96"/>
                  </a:lnTo>
                  <a:lnTo>
                    <a:pt x="245" y="96"/>
                  </a:lnTo>
                  <a:lnTo>
                    <a:pt x="255" y="94"/>
                  </a:lnTo>
                  <a:lnTo>
                    <a:pt x="255" y="93"/>
                  </a:lnTo>
                  <a:lnTo>
                    <a:pt x="248" y="90"/>
                  </a:lnTo>
                  <a:lnTo>
                    <a:pt x="245" y="90"/>
                  </a:lnTo>
                  <a:lnTo>
                    <a:pt x="248" y="86"/>
                  </a:lnTo>
                  <a:lnTo>
                    <a:pt x="241" y="90"/>
                  </a:lnTo>
                  <a:lnTo>
                    <a:pt x="239" y="86"/>
                  </a:lnTo>
                  <a:lnTo>
                    <a:pt x="235" y="89"/>
                  </a:lnTo>
                  <a:lnTo>
                    <a:pt x="238" y="86"/>
                  </a:lnTo>
                  <a:lnTo>
                    <a:pt x="229" y="89"/>
                  </a:lnTo>
                  <a:lnTo>
                    <a:pt x="234" y="84"/>
                  </a:lnTo>
                  <a:lnTo>
                    <a:pt x="228" y="84"/>
                  </a:lnTo>
                  <a:lnTo>
                    <a:pt x="223" y="81"/>
                  </a:lnTo>
                  <a:lnTo>
                    <a:pt x="218" y="81"/>
                  </a:lnTo>
                  <a:lnTo>
                    <a:pt x="228" y="80"/>
                  </a:lnTo>
                  <a:lnTo>
                    <a:pt x="209" y="75"/>
                  </a:lnTo>
                  <a:lnTo>
                    <a:pt x="219" y="75"/>
                  </a:lnTo>
                  <a:lnTo>
                    <a:pt x="209" y="73"/>
                  </a:lnTo>
                  <a:lnTo>
                    <a:pt x="223" y="74"/>
                  </a:lnTo>
                  <a:lnTo>
                    <a:pt x="218" y="73"/>
                  </a:lnTo>
                  <a:lnTo>
                    <a:pt x="225" y="70"/>
                  </a:lnTo>
                  <a:lnTo>
                    <a:pt x="213" y="70"/>
                  </a:lnTo>
                  <a:lnTo>
                    <a:pt x="218" y="67"/>
                  </a:lnTo>
                  <a:lnTo>
                    <a:pt x="212" y="67"/>
                  </a:lnTo>
                  <a:lnTo>
                    <a:pt x="222" y="67"/>
                  </a:lnTo>
                  <a:lnTo>
                    <a:pt x="213" y="65"/>
                  </a:lnTo>
                  <a:lnTo>
                    <a:pt x="239" y="68"/>
                  </a:lnTo>
                  <a:lnTo>
                    <a:pt x="219" y="61"/>
                  </a:lnTo>
                  <a:lnTo>
                    <a:pt x="206" y="61"/>
                  </a:lnTo>
                  <a:lnTo>
                    <a:pt x="238" y="60"/>
                  </a:lnTo>
                  <a:lnTo>
                    <a:pt x="232" y="51"/>
                  </a:lnTo>
                  <a:lnTo>
                    <a:pt x="213" y="58"/>
                  </a:lnTo>
                  <a:lnTo>
                    <a:pt x="204" y="60"/>
                  </a:lnTo>
                  <a:lnTo>
                    <a:pt x="225" y="52"/>
                  </a:lnTo>
                  <a:lnTo>
                    <a:pt x="206" y="55"/>
                  </a:lnTo>
                  <a:lnTo>
                    <a:pt x="232" y="48"/>
                  </a:lnTo>
                  <a:lnTo>
                    <a:pt x="218" y="45"/>
                  </a:lnTo>
                  <a:lnTo>
                    <a:pt x="212" y="46"/>
                  </a:lnTo>
                  <a:lnTo>
                    <a:pt x="219" y="42"/>
                  </a:lnTo>
                  <a:lnTo>
                    <a:pt x="202" y="48"/>
                  </a:lnTo>
                  <a:lnTo>
                    <a:pt x="190" y="55"/>
                  </a:lnTo>
                  <a:lnTo>
                    <a:pt x="196" y="4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1" name="Freeform 281">
              <a:extLst>
                <a:ext uri="{FF2B5EF4-FFF2-40B4-BE49-F238E27FC236}">
                  <a16:creationId xmlns:a16="http://schemas.microsoft.com/office/drawing/2014/main" id="{19C9037B-8157-657F-A758-D4CE5A6B0F53}"/>
                </a:ext>
              </a:extLst>
            </p:cNvPr>
            <p:cNvSpPr>
              <a:spLocks/>
            </p:cNvSpPr>
            <p:nvPr/>
          </p:nvSpPr>
          <p:spPr bwMode="auto">
            <a:xfrm>
              <a:off x="2530607" y="1183227"/>
              <a:ext cx="658854" cy="162493"/>
            </a:xfrm>
            <a:custGeom>
              <a:avLst/>
              <a:gdLst>
                <a:gd name="T0" fmla="*/ 25208 w 343"/>
                <a:gd name="T1" fmla="*/ 4434883 h 80"/>
                <a:gd name="T2" fmla="*/ 18482 w 343"/>
                <a:gd name="T3" fmla="*/ 4983398 h 80"/>
                <a:gd name="T4" fmla="*/ 14928 w 343"/>
                <a:gd name="T5" fmla="*/ 4532946 h 80"/>
                <a:gd name="T6" fmla="*/ 17931 w 343"/>
                <a:gd name="T7" fmla="*/ 4243232 h 80"/>
                <a:gd name="T8" fmla="*/ 12105 w 343"/>
                <a:gd name="T9" fmla="*/ 4017439 h 80"/>
                <a:gd name="T10" fmla="*/ 27996 w 343"/>
                <a:gd name="T11" fmla="*/ 3545789 h 80"/>
                <a:gd name="T12" fmla="*/ 20986 w 343"/>
                <a:gd name="T13" fmla="*/ 2466636 h 80"/>
                <a:gd name="T14" fmla="*/ 30267 w 343"/>
                <a:gd name="T15" fmla="*/ 2302510 h 80"/>
                <a:gd name="T16" fmla="*/ 34410 w 343"/>
                <a:gd name="T17" fmla="*/ 2794741 h 80"/>
                <a:gd name="T18" fmla="*/ 31657 w 343"/>
                <a:gd name="T19" fmla="*/ 2228576 h 80"/>
                <a:gd name="T20" fmla="*/ 46212 w 343"/>
                <a:gd name="T21" fmla="*/ 1771404 h 80"/>
                <a:gd name="T22" fmla="*/ 53492 w 343"/>
                <a:gd name="T23" fmla="*/ 1259752 h 80"/>
                <a:gd name="T24" fmla="*/ 38473 w 343"/>
                <a:gd name="T25" fmla="*/ 1715921 h 80"/>
                <a:gd name="T26" fmla="*/ 23307 w 343"/>
                <a:gd name="T27" fmla="*/ 1969098 h 80"/>
                <a:gd name="T28" fmla="*/ 36042 w 343"/>
                <a:gd name="T29" fmla="*/ 1550314 h 80"/>
                <a:gd name="T30" fmla="*/ 20428 w 343"/>
                <a:gd name="T31" fmla="*/ 1969098 h 80"/>
                <a:gd name="T32" fmla="*/ 16160 w 343"/>
                <a:gd name="T33" fmla="*/ 1771404 h 80"/>
                <a:gd name="T34" fmla="*/ 30386 w 343"/>
                <a:gd name="T35" fmla="*/ 1437155 h 80"/>
                <a:gd name="T36" fmla="*/ 14928 w 343"/>
                <a:gd name="T37" fmla="*/ 1550314 h 80"/>
                <a:gd name="T38" fmla="*/ 25198 w 343"/>
                <a:gd name="T39" fmla="*/ 1232281 h 80"/>
                <a:gd name="T40" fmla="*/ 12994 w 343"/>
                <a:gd name="T41" fmla="*/ 1078479 h 80"/>
                <a:gd name="T42" fmla="*/ 28780 w 343"/>
                <a:gd name="T43" fmla="*/ 609634 h 80"/>
                <a:gd name="T44" fmla="*/ 48519 w 343"/>
                <a:gd name="T45" fmla="*/ 999760 h 80"/>
                <a:gd name="T46" fmla="*/ 45674 w 343"/>
                <a:gd name="T47" fmla="*/ 234134 h 80"/>
                <a:gd name="T48" fmla="*/ 61635 w 343"/>
                <a:gd name="T49" fmla="*/ 336568 h 80"/>
                <a:gd name="T50" fmla="*/ 58279 w 343"/>
                <a:gd name="T51" fmla="*/ 0 h 80"/>
                <a:gd name="T52" fmla="*/ 79820 w 343"/>
                <a:gd name="T53" fmla="*/ 336568 h 80"/>
                <a:gd name="T54" fmla="*/ 100882 w 343"/>
                <a:gd name="T55" fmla="*/ 521910 h 80"/>
                <a:gd name="T56" fmla="*/ 86440 w 343"/>
                <a:gd name="T57" fmla="*/ 1078479 h 80"/>
                <a:gd name="T58" fmla="*/ 71963 w 343"/>
                <a:gd name="T59" fmla="*/ 1550314 h 80"/>
                <a:gd name="T60" fmla="*/ 88927 w 343"/>
                <a:gd name="T61" fmla="*/ 1232281 h 80"/>
                <a:gd name="T62" fmla="*/ 73098 w 343"/>
                <a:gd name="T63" fmla="*/ 1969098 h 80"/>
                <a:gd name="T64" fmla="*/ 58279 w 343"/>
                <a:gd name="T65" fmla="*/ 2794741 h 80"/>
                <a:gd name="T66" fmla="*/ 43686 w 343"/>
                <a:gd name="T67" fmla="*/ 3085137 h 80"/>
                <a:gd name="T68" fmla="*/ 51438 w 343"/>
                <a:gd name="T69" fmla="*/ 3466712 h 80"/>
                <a:gd name="T70" fmla="*/ 40407 w 343"/>
                <a:gd name="T71" fmla="*/ 3670061 h 80"/>
                <a:gd name="T72" fmla="*/ 49647 w 343"/>
                <a:gd name="T73" fmla="*/ 3909618 h 80"/>
                <a:gd name="T74" fmla="*/ 36499 w 343"/>
                <a:gd name="T75" fmla="*/ 4532946 h 80"/>
                <a:gd name="T76" fmla="*/ 36042 w 343"/>
                <a:gd name="T77" fmla="*/ 4983398 h 80"/>
                <a:gd name="T78" fmla="*/ 25208 w 343"/>
                <a:gd name="T79" fmla="*/ 5261879 h 80"/>
                <a:gd name="T80" fmla="*/ 33640 w 343"/>
                <a:gd name="T81" fmla="*/ 5957589 h 80"/>
                <a:gd name="T82" fmla="*/ 23307 w 343"/>
                <a:gd name="T83" fmla="*/ 6136694 h 80"/>
                <a:gd name="T84" fmla="*/ 11788 w 343"/>
                <a:gd name="T85" fmla="*/ 5974859 h 80"/>
                <a:gd name="T86" fmla="*/ 0 w 343"/>
                <a:gd name="T87" fmla="*/ 5957589 h 80"/>
                <a:gd name="T88" fmla="*/ 7761 w 343"/>
                <a:gd name="T89" fmla="*/ 5261879 h 80"/>
                <a:gd name="T90" fmla="*/ 6242 w 343"/>
                <a:gd name="T91" fmla="*/ 4757920 h 80"/>
                <a:gd name="T92" fmla="*/ 18482 w 343"/>
                <a:gd name="T93" fmla="*/ 5136055 h 80"/>
                <a:gd name="T94" fmla="*/ 25208 w 343"/>
                <a:gd name="T95" fmla="*/ 4434883 h 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3"/>
                <a:gd name="T145" fmla="*/ 0 h 80"/>
                <a:gd name="T146" fmla="*/ 343 w 343"/>
                <a:gd name="T147" fmla="*/ 80 h 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3" h="80">
                  <a:moveTo>
                    <a:pt x="86" y="58"/>
                  </a:moveTo>
                  <a:lnTo>
                    <a:pt x="63" y="65"/>
                  </a:lnTo>
                  <a:lnTo>
                    <a:pt x="51" y="59"/>
                  </a:lnTo>
                  <a:lnTo>
                    <a:pt x="61" y="55"/>
                  </a:lnTo>
                  <a:lnTo>
                    <a:pt x="41" y="52"/>
                  </a:lnTo>
                  <a:lnTo>
                    <a:pt x="95" y="46"/>
                  </a:lnTo>
                  <a:lnTo>
                    <a:pt x="72" y="32"/>
                  </a:lnTo>
                  <a:lnTo>
                    <a:pt x="102" y="30"/>
                  </a:lnTo>
                  <a:lnTo>
                    <a:pt x="117" y="36"/>
                  </a:lnTo>
                  <a:lnTo>
                    <a:pt x="108" y="29"/>
                  </a:lnTo>
                  <a:lnTo>
                    <a:pt x="157" y="23"/>
                  </a:lnTo>
                  <a:lnTo>
                    <a:pt x="182" y="17"/>
                  </a:lnTo>
                  <a:lnTo>
                    <a:pt x="131" y="22"/>
                  </a:lnTo>
                  <a:lnTo>
                    <a:pt x="79" y="26"/>
                  </a:lnTo>
                  <a:lnTo>
                    <a:pt x="122" y="20"/>
                  </a:lnTo>
                  <a:lnTo>
                    <a:pt x="70" y="26"/>
                  </a:lnTo>
                  <a:lnTo>
                    <a:pt x="56" y="23"/>
                  </a:lnTo>
                  <a:lnTo>
                    <a:pt x="104" y="19"/>
                  </a:lnTo>
                  <a:lnTo>
                    <a:pt x="51" y="20"/>
                  </a:lnTo>
                  <a:lnTo>
                    <a:pt x="85" y="16"/>
                  </a:lnTo>
                  <a:lnTo>
                    <a:pt x="44" y="14"/>
                  </a:lnTo>
                  <a:lnTo>
                    <a:pt x="98" y="8"/>
                  </a:lnTo>
                  <a:lnTo>
                    <a:pt x="165" y="13"/>
                  </a:lnTo>
                  <a:lnTo>
                    <a:pt x="156" y="3"/>
                  </a:lnTo>
                  <a:lnTo>
                    <a:pt x="210" y="4"/>
                  </a:lnTo>
                  <a:lnTo>
                    <a:pt x="198" y="0"/>
                  </a:lnTo>
                  <a:lnTo>
                    <a:pt x="271" y="4"/>
                  </a:lnTo>
                  <a:lnTo>
                    <a:pt x="343" y="7"/>
                  </a:lnTo>
                  <a:lnTo>
                    <a:pt x="295" y="14"/>
                  </a:lnTo>
                  <a:lnTo>
                    <a:pt x="246" y="20"/>
                  </a:lnTo>
                  <a:lnTo>
                    <a:pt x="303" y="16"/>
                  </a:lnTo>
                  <a:lnTo>
                    <a:pt x="250" y="26"/>
                  </a:lnTo>
                  <a:lnTo>
                    <a:pt x="198" y="36"/>
                  </a:lnTo>
                  <a:lnTo>
                    <a:pt x="149" y="40"/>
                  </a:lnTo>
                  <a:lnTo>
                    <a:pt x="176" y="45"/>
                  </a:lnTo>
                  <a:lnTo>
                    <a:pt x="138" y="48"/>
                  </a:lnTo>
                  <a:lnTo>
                    <a:pt x="169" y="51"/>
                  </a:lnTo>
                  <a:lnTo>
                    <a:pt x="125" y="59"/>
                  </a:lnTo>
                  <a:lnTo>
                    <a:pt x="122" y="65"/>
                  </a:lnTo>
                  <a:lnTo>
                    <a:pt x="86" y="68"/>
                  </a:lnTo>
                  <a:lnTo>
                    <a:pt x="115" y="77"/>
                  </a:lnTo>
                  <a:lnTo>
                    <a:pt x="79" y="80"/>
                  </a:lnTo>
                  <a:lnTo>
                    <a:pt x="40" y="78"/>
                  </a:lnTo>
                  <a:lnTo>
                    <a:pt x="0" y="77"/>
                  </a:lnTo>
                  <a:lnTo>
                    <a:pt x="27" y="68"/>
                  </a:lnTo>
                  <a:lnTo>
                    <a:pt x="22" y="62"/>
                  </a:lnTo>
                  <a:lnTo>
                    <a:pt x="63" y="67"/>
                  </a:lnTo>
                  <a:lnTo>
                    <a:pt x="86" y="5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2" name="Freeform 282">
              <a:extLst>
                <a:ext uri="{FF2B5EF4-FFF2-40B4-BE49-F238E27FC236}">
                  <a16:creationId xmlns:a16="http://schemas.microsoft.com/office/drawing/2014/main" id="{7D499E52-1C95-0BFF-8F18-E2F95307B9E9}"/>
                </a:ext>
              </a:extLst>
            </p:cNvPr>
            <p:cNvSpPr>
              <a:spLocks/>
            </p:cNvSpPr>
            <p:nvPr/>
          </p:nvSpPr>
          <p:spPr bwMode="auto">
            <a:xfrm>
              <a:off x="1732626" y="1429243"/>
              <a:ext cx="364609" cy="145787"/>
            </a:xfrm>
            <a:custGeom>
              <a:avLst/>
              <a:gdLst>
                <a:gd name="T0" fmla="*/ 35654 w 190"/>
                <a:gd name="T1" fmla="*/ 5811874 h 72"/>
                <a:gd name="T2" fmla="*/ 33716 w 190"/>
                <a:gd name="T3" fmla="*/ 5268174 h 72"/>
                <a:gd name="T4" fmla="*/ 32248 w 190"/>
                <a:gd name="T5" fmla="*/ 5176747 h 72"/>
                <a:gd name="T6" fmla="*/ 26873 w 190"/>
                <a:gd name="T7" fmla="*/ 5811874 h 72"/>
                <a:gd name="T8" fmla="*/ 17308 w 190"/>
                <a:gd name="T9" fmla="*/ 6076905 h 72"/>
                <a:gd name="T10" fmla="*/ 8239 w 190"/>
                <a:gd name="T11" fmla="*/ 6415541 h 72"/>
                <a:gd name="T12" fmla="*/ 8509 w 190"/>
                <a:gd name="T13" fmla="*/ 5680964 h 72"/>
                <a:gd name="T14" fmla="*/ 0 w 190"/>
                <a:gd name="T15" fmla="*/ 4886624 h 72"/>
                <a:gd name="T16" fmla="*/ 1916 w 190"/>
                <a:gd name="T17" fmla="*/ 4253201 h 72"/>
                <a:gd name="T18" fmla="*/ 11554 w 190"/>
                <a:gd name="T19" fmla="*/ 4059221 h 72"/>
                <a:gd name="T20" fmla="*/ 21174 w 190"/>
                <a:gd name="T21" fmla="*/ 4023607 h 72"/>
                <a:gd name="T22" fmla="*/ 12631 w 190"/>
                <a:gd name="T23" fmla="*/ 3583903 h 72"/>
                <a:gd name="T24" fmla="*/ 2759 w 190"/>
                <a:gd name="T25" fmla="*/ 3457067 h 72"/>
                <a:gd name="T26" fmla="*/ 1916 w 190"/>
                <a:gd name="T27" fmla="*/ 3184029 h 72"/>
                <a:gd name="T28" fmla="*/ 13865 w 190"/>
                <a:gd name="T29" fmla="*/ 2393355 h 72"/>
                <a:gd name="T30" fmla="*/ 4768 w 190"/>
                <a:gd name="T31" fmla="*/ 2393355 h 72"/>
                <a:gd name="T32" fmla="*/ 7310 w 190"/>
                <a:gd name="T33" fmla="*/ 2204329 h 72"/>
                <a:gd name="T34" fmla="*/ 2759 w 190"/>
                <a:gd name="T35" fmla="*/ 2204329 h 72"/>
                <a:gd name="T36" fmla="*/ 9060 w 190"/>
                <a:gd name="T37" fmla="*/ 1411281 h 72"/>
                <a:gd name="T38" fmla="*/ 8509 w 190"/>
                <a:gd name="T39" fmla="*/ 1147111 h 72"/>
                <a:gd name="T40" fmla="*/ 17308 w 190"/>
                <a:gd name="T41" fmla="*/ 594926 h 72"/>
                <a:gd name="T42" fmla="*/ 25409 w 190"/>
                <a:gd name="T43" fmla="*/ 0 h 72"/>
                <a:gd name="T44" fmla="*/ 25856 w 190"/>
                <a:gd name="T45" fmla="*/ 263513 h 72"/>
                <a:gd name="T46" fmla="*/ 22394 w 190"/>
                <a:gd name="T47" fmla="*/ 977041 h 72"/>
                <a:gd name="T48" fmla="*/ 25721 w 190"/>
                <a:gd name="T49" fmla="*/ 732764 h 72"/>
                <a:gd name="T50" fmla="*/ 28578 w 190"/>
                <a:gd name="T51" fmla="*/ 549799 h 72"/>
                <a:gd name="T52" fmla="*/ 31826 w 190"/>
                <a:gd name="T53" fmla="*/ 977041 h 72"/>
                <a:gd name="T54" fmla="*/ 29728 w 190"/>
                <a:gd name="T55" fmla="*/ 1411281 h 72"/>
                <a:gd name="T56" fmla="*/ 31027 w 190"/>
                <a:gd name="T57" fmla="*/ 1241266 h 72"/>
                <a:gd name="T58" fmla="*/ 35654 w 190"/>
                <a:gd name="T59" fmla="*/ 1147111 h 72"/>
                <a:gd name="T60" fmla="*/ 35674 w 190"/>
                <a:gd name="T61" fmla="*/ 859338 h 72"/>
                <a:gd name="T62" fmla="*/ 36589 w 190"/>
                <a:gd name="T63" fmla="*/ 549799 h 72"/>
                <a:gd name="T64" fmla="*/ 40225 w 190"/>
                <a:gd name="T65" fmla="*/ 977041 h 72"/>
                <a:gd name="T66" fmla="*/ 38191 w 190"/>
                <a:gd name="T67" fmla="*/ 2342110 h 72"/>
                <a:gd name="T68" fmla="*/ 41386 w 190"/>
                <a:gd name="T69" fmla="*/ 1792940 h 72"/>
                <a:gd name="T70" fmla="*/ 44678 w 190"/>
                <a:gd name="T71" fmla="*/ 263513 h 72"/>
                <a:gd name="T72" fmla="*/ 49663 w 190"/>
                <a:gd name="T73" fmla="*/ 263513 h 72"/>
                <a:gd name="T74" fmla="*/ 51012 w 190"/>
                <a:gd name="T75" fmla="*/ 977041 h 72"/>
                <a:gd name="T76" fmla="*/ 47579 w 190"/>
                <a:gd name="T77" fmla="*/ 2810230 h 72"/>
                <a:gd name="T78" fmla="*/ 47778 w 190"/>
                <a:gd name="T79" fmla="*/ 3583903 h 72"/>
                <a:gd name="T80" fmla="*/ 49384 w 190"/>
                <a:gd name="T81" fmla="*/ 3583903 h 72"/>
                <a:gd name="T82" fmla="*/ 54310 w 190"/>
                <a:gd name="T83" fmla="*/ 4059221 h 72"/>
                <a:gd name="T84" fmla="*/ 53335 w 190"/>
                <a:gd name="T85" fmla="*/ 4599151 h 72"/>
                <a:gd name="T86" fmla="*/ 51342 w 190"/>
                <a:gd name="T87" fmla="*/ 4821223 h 72"/>
                <a:gd name="T88" fmla="*/ 51683 w 190"/>
                <a:gd name="T89" fmla="*/ 4599151 h 72"/>
                <a:gd name="T90" fmla="*/ 49663 w 190"/>
                <a:gd name="T91" fmla="*/ 4821223 h 72"/>
                <a:gd name="T92" fmla="*/ 47778 w 190"/>
                <a:gd name="T93" fmla="*/ 4607532 h 72"/>
                <a:gd name="T94" fmla="*/ 45829 w 190"/>
                <a:gd name="T95" fmla="*/ 4993539 h 72"/>
                <a:gd name="T96" fmla="*/ 44678 w 190"/>
                <a:gd name="T97" fmla="*/ 4993539 h 72"/>
                <a:gd name="T98" fmla="*/ 42809 w 190"/>
                <a:gd name="T99" fmla="*/ 5578062 h 72"/>
                <a:gd name="T100" fmla="*/ 47778 w 190"/>
                <a:gd name="T101" fmla="*/ 4993539 h 72"/>
                <a:gd name="T102" fmla="*/ 47579 w 190"/>
                <a:gd name="T103" fmla="*/ 5403412 h 72"/>
                <a:gd name="T104" fmla="*/ 45829 w 190"/>
                <a:gd name="T105" fmla="*/ 5811874 h 72"/>
                <a:gd name="T106" fmla="*/ 35654 w 190"/>
                <a:gd name="T107" fmla="*/ 5811874 h 7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0"/>
                <a:gd name="T163" fmla="*/ 0 h 72"/>
                <a:gd name="T164" fmla="*/ 190 w 190"/>
                <a:gd name="T165" fmla="*/ 72 h 7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0" h="72">
                  <a:moveTo>
                    <a:pt x="125" y="65"/>
                  </a:moveTo>
                  <a:lnTo>
                    <a:pt x="118" y="59"/>
                  </a:lnTo>
                  <a:lnTo>
                    <a:pt x="113" y="58"/>
                  </a:lnTo>
                  <a:lnTo>
                    <a:pt x="94" y="65"/>
                  </a:lnTo>
                  <a:lnTo>
                    <a:pt x="61" y="68"/>
                  </a:lnTo>
                  <a:lnTo>
                    <a:pt x="29" y="72"/>
                  </a:lnTo>
                  <a:lnTo>
                    <a:pt x="30" y="64"/>
                  </a:lnTo>
                  <a:lnTo>
                    <a:pt x="0" y="55"/>
                  </a:lnTo>
                  <a:lnTo>
                    <a:pt x="7" y="48"/>
                  </a:lnTo>
                  <a:lnTo>
                    <a:pt x="41" y="46"/>
                  </a:lnTo>
                  <a:lnTo>
                    <a:pt x="74" y="45"/>
                  </a:lnTo>
                  <a:lnTo>
                    <a:pt x="44" y="40"/>
                  </a:lnTo>
                  <a:lnTo>
                    <a:pt x="10" y="39"/>
                  </a:lnTo>
                  <a:lnTo>
                    <a:pt x="7" y="35"/>
                  </a:lnTo>
                  <a:lnTo>
                    <a:pt x="49" y="27"/>
                  </a:lnTo>
                  <a:lnTo>
                    <a:pt x="17" y="27"/>
                  </a:lnTo>
                  <a:lnTo>
                    <a:pt x="26" y="24"/>
                  </a:lnTo>
                  <a:lnTo>
                    <a:pt x="10" y="24"/>
                  </a:lnTo>
                  <a:lnTo>
                    <a:pt x="32" y="16"/>
                  </a:lnTo>
                  <a:lnTo>
                    <a:pt x="30" y="13"/>
                  </a:lnTo>
                  <a:lnTo>
                    <a:pt x="61" y="7"/>
                  </a:lnTo>
                  <a:lnTo>
                    <a:pt x="89" y="0"/>
                  </a:lnTo>
                  <a:lnTo>
                    <a:pt x="91" y="3"/>
                  </a:lnTo>
                  <a:lnTo>
                    <a:pt x="78" y="11"/>
                  </a:lnTo>
                  <a:lnTo>
                    <a:pt x="90" y="8"/>
                  </a:lnTo>
                  <a:lnTo>
                    <a:pt x="100" y="6"/>
                  </a:lnTo>
                  <a:lnTo>
                    <a:pt x="112" y="11"/>
                  </a:lnTo>
                  <a:lnTo>
                    <a:pt x="105" y="16"/>
                  </a:lnTo>
                  <a:lnTo>
                    <a:pt x="109" y="14"/>
                  </a:lnTo>
                  <a:lnTo>
                    <a:pt x="125" y="13"/>
                  </a:lnTo>
                  <a:lnTo>
                    <a:pt x="126" y="10"/>
                  </a:lnTo>
                  <a:lnTo>
                    <a:pt x="128" y="6"/>
                  </a:lnTo>
                  <a:lnTo>
                    <a:pt x="141" y="11"/>
                  </a:lnTo>
                  <a:lnTo>
                    <a:pt x="134" y="26"/>
                  </a:lnTo>
                  <a:lnTo>
                    <a:pt x="145" y="20"/>
                  </a:lnTo>
                  <a:lnTo>
                    <a:pt x="157" y="3"/>
                  </a:lnTo>
                  <a:lnTo>
                    <a:pt x="174" y="3"/>
                  </a:lnTo>
                  <a:lnTo>
                    <a:pt x="179" y="11"/>
                  </a:lnTo>
                  <a:lnTo>
                    <a:pt x="167" y="32"/>
                  </a:lnTo>
                  <a:lnTo>
                    <a:pt x="168" y="40"/>
                  </a:lnTo>
                  <a:lnTo>
                    <a:pt x="173" y="40"/>
                  </a:lnTo>
                  <a:lnTo>
                    <a:pt x="190" y="46"/>
                  </a:lnTo>
                  <a:lnTo>
                    <a:pt x="187" y="51"/>
                  </a:lnTo>
                  <a:lnTo>
                    <a:pt x="180" y="54"/>
                  </a:lnTo>
                  <a:lnTo>
                    <a:pt x="182" y="51"/>
                  </a:lnTo>
                  <a:lnTo>
                    <a:pt x="174" y="54"/>
                  </a:lnTo>
                  <a:lnTo>
                    <a:pt x="168" y="52"/>
                  </a:lnTo>
                  <a:lnTo>
                    <a:pt x="161" y="56"/>
                  </a:lnTo>
                  <a:lnTo>
                    <a:pt x="157" y="56"/>
                  </a:lnTo>
                  <a:lnTo>
                    <a:pt x="151" y="62"/>
                  </a:lnTo>
                  <a:lnTo>
                    <a:pt x="168" y="56"/>
                  </a:lnTo>
                  <a:lnTo>
                    <a:pt x="167" y="61"/>
                  </a:lnTo>
                  <a:lnTo>
                    <a:pt x="161" y="65"/>
                  </a:lnTo>
                  <a:lnTo>
                    <a:pt x="125" y="6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3" name="Freeform 283">
              <a:extLst>
                <a:ext uri="{FF2B5EF4-FFF2-40B4-BE49-F238E27FC236}">
                  <a16:creationId xmlns:a16="http://schemas.microsoft.com/office/drawing/2014/main" id="{B081F426-3A37-A36B-3DC6-89BCC1354A35}"/>
                </a:ext>
              </a:extLst>
            </p:cNvPr>
            <p:cNvSpPr>
              <a:spLocks/>
            </p:cNvSpPr>
            <p:nvPr/>
          </p:nvSpPr>
          <p:spPr bwMode="auto">
            <a:xfrm>
              <a:off x="1628682" y="1400390"/>
              <a:ext cx="263861" cy="95673"/>
            </a:xfrm>
            <a:custGeom>
              <a:avLst/>
              <a:gdLst>
                <a:gd name="T0" fmla="*/ 15679 w 138"/>
                <a:gd name="T1" fmla="*/ 2466718 h 48"/>
                <a:gd name="T2" fmla="*/ 10690 w 138"/>
                <a:gd name="T3" fmla="*/ 3380891 h 48"/>
                <a:gd name="T4" fmla="*/ 2559 w 138"/>
                <a:gd name="T5" fmla="*/ 3670064 h 48"/>
                <a:gd name="T6" fmla="*/ 1497 w 138"/>
                <a:gd name="T7" fmla="*/ 2951824 h 48"/>
                <a:gd name="T8" fmla="*/ 0 w 138"/>
                <a:gd name="T9" fmla="*/ 2603189 h 48"/>
                <a:gd name="T10" fmla="*/ 5231 w 138"/>
                <a:gd name="T11" fmla="*/ 1771443 h 48"/>
                <a:gd name="T12" fmla="*/ 6760 w 138"/>
                <a:gd name="T13" fmla="*/ 1437159 h 48"/>
                <a:gd name="T14" fmla="*/ 12906 w 138"/>
                <a:gd name="T15" fmla="*/ 695487 h 48"/>
                <a:gd name="T16" fmla="*/ 12906 w 138"/>
                <a:gd name="T17" fmla="*/ 162876 h 48"/>
                <a:gd name="T18" fmla="*/ 23615 w 138"/>
                <a:gd name="T19" fmla="*/ 0 h 48"/>
                <a:gd name="T20" fmla="*/ 26123 w 138"/>
                <a:gd name="T21" fmla="*/ 234134 h 48"/>
                <a:gd name="T22" fmla="*/ 27176 w 138"/>
                <a:gd name="T23" fmla="*/ 363243 h 48"/>
                <a:gd name="T24" fmla="*/ 32498 w 138"/>
                <a:gd name="T25" fmla="*/ 234134 h 48"/>
                <a:gd name="T26" fmla="*/ 35104 w 138"/>
                <a:gd name="T27" fmla="*/ 999763 h 48"/>
                <a:gd name="T28" fmla="*/ 27180 w 138"/>
                <a:gd name="T29" fmla="*/ 1609113 h 48"/>
                <a:gd name="T30" fmla="*/ 19660 w 138"/>
                <a:gd name="T31" fmla="*/ 2229650 h 48"/>
                <a:gd name="T32" fmla="*/ 15679 w 138"/>
                <a:gd name="T33" fmla="*/ 2466718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8"/>
                <a:gd name="T52" fmla="*/ 0 h 48"/>
                <a:gd name="T53" fmla="*/ 138 w 138"/>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8" h="48">
                  <a:moveTo>
                    <a:pt x="62" y="32"/>
                  </a:moveTo>
                  <a:lnTo>
                    <a:pt x="42" y="44"/>
                  </a:lnTo>
                  <a:lnTo>
                    <a:pt x="10" y="48"/>
                  </a:lnTo>
                  <a:lnTo>
                    <a:pt x="6" y="38"/>
                  </a:lnTo>
                  <a:lnTo>
                    <a:pt x="0" y="34"/>
                  </a:lnTo>
                  <a:lnTo>
                    <a:pt x="20" y="23"/>
                  </a:lnTo>
                  <a:lnTo>
                    <a:pt x="27" y="19"/>
                  </a:lnTo>
                  <a:lnTo>
                    <a:pt x="51" y="9"/>
                  </a:lnTo>
                  <a:lnTo>
                    <a:pt x="51" y="2"/>
                  </a:lnTo>
                  <a:lnTo>
                    <a:pt x="93" y="0"/>
                  </a:lnTo>
                  <a:lnTo>
                    <a:pt x="103" y="3"/>
                  </a:lnTo>
                  <a:lnTo>
                    <a:pt x="106" y="5"/>
                  </a:lnTo>
                  <a:lnTo>
                    <a:pt x="128" y="3"/>
                  </a:lnTo>
                  <a:lnTo>
                    <a:pt x="138" y="13"/>
                  </a:lnTo>
                  <a:lnTo>
                    <a:pt x="107" y="21"/>
                  </a:lnTo>
                  <a:lnTo>
                    <a:pt x="77" y="29"/>
                  </a:lnTo>
                  <a:lnTo>
                    <a:pt x="62" y="3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4" name="Freeform 284">
              <a:extLst>
                <a:ext uri="{FF2B5EF4-FFF2-40B4-BE49-F238E27FC236}">
                  <a16:creationId xmlns:a16="http://schemas.microsoft.com/office/drawing/2014/main" id="{231ECA0D-2C7E-A0A6-1120-F1637E8B1FF8}"/>
                </a:ext>
              </a:extLst>
            </p:cNvPr>
            <p:cNvSpPr>
              <a:spLocks/>
            </p:cNvSpPr>
            <p:nvPr/>
          </p:nvSpPr>
          <p:spPr bwMode="auto">
            <a:xfrm>
              <a:off x="2711313" y="2133881"/>
              <a:ext cx="179106" cy="173123"/>
            </a:xfrm>
            <a:custGeom>
              <a:avLst/>
              <a:gdLst>
                <a:gd name="T0" fmla="*/ 15355 w 93"/>
                <a:gd name="T1" fmla="*/ 5719799 h 86"/>
                <a:gd name="T2" fmla="*/ 15733 w 93"/>
                <a:gd name="T3" fmla="*/ 5402789 h 86"/>
                <a:gd name="T4" fmla="*/ 7480 w 93"/>
                <a:gd name="T5" fmla="*/ 5719799 h 86"/>
                <a:gd name="T6" fmla="*/ 0 w 93"/>
                <a:gd name="T7" fmla="*/ 5527504 h 86"/>
                <a:gd name="T8" fmla="*/ 1727 w 93"/>
                <a:gd name="T9" fmla="*/ 4990752 h 86"/>
                <a:gd name="T10" fmla="*/ 5157 w 93"/>
                <a:gd name="T11" fmla="*/ 4386059 h 86"/>
                <a:gd name="T12" fmla="*/ 1727 w 93"/>
                <a:gd name="T13" fmla="*/ 4386059 h 86"/>
                <a:gd name="T14" fmla="*/ 3017 w 93"/>
                <a:gd name="T15" fmla="*/ 4144515 h 86"/>
                <a:gd name="T16" fmla="*/ 7480 w 93"/>
                <a:gd name="T17" fmla="*/ 3581423 h 86"/>
                <a:gd name="T18" fmla="*/ 8013 w 93"/>
                <a:gd name="T19" fmla="*/ 3614098 h 86"/>
                <a:gd name="T20" fmla="*/ 8791 w 93"/>
                <a:gd name="T21" fmla="*/ 3307175 h 86"/>
                <a:gd name="T22" fmla="*/ 8013 w 93"/>
                <a:gd name="T23" fmla="*/ 3041945 h 86"/>
                <a:gd name="T24" fmla="*/ 9650 w 93"/>
                <a:gd name="T25" fmla="*/ 2789501 h 86"/>
                <a:gd name="T26" fmla="*/ 14263 w 93"/>
                <a:gd name="T27" fmla="*/ 1194775 h 86"/>
                <a:gd name="T28" fmla="*/ 19357 w 93"/>
                <a:gd name="T29" fmla="*/ 1 h 86"/>
                <a:gd name="T30" fmla="*/ 21562 w 93"/>
                <a:gd name="T31" fmla="*/ 0 h 86"/>
                <a:gd name="T32" fmla="*/ 23462 w 93"/>
                <a:gd name="T33" fmla="*/ 0 h 86"/>
                <a:gd name="T34" fmla="*/ 20424 w 93"/>
                <a:gd name="T35" fmla="*/ 368059 h 86"/>
                <a:gd name="T36" fmla="*/ 21551 w 93"/>
                <a:gd name="T37" fmla="*/ 574698 h 86"/>
                <a:gd name="T38" fmla="*/ 19357 w 93"/>
                <a:gd name="T39" fmla="*/ 1103284 h 86"/>
                <a:gd name="T40" fmla="*/ 13996 w 93"/>
                <a:gd name="T41" fmla="*/ 2789501 h 86"/>
                <a:gd name="T42" fmla="*/ 18492 w 93"/>
                <a:gd name="T43" fmla="*/ 2109736 h 86"/>
                <a:gd name="T44" fmla="*/ 17264 w 93"/>
                <a:gd name="T45" fmla="*/ 2293686 h 86"/>
                <a:gd name="T46" fmla="*/ 20686 w 93"/>
                <a:gd name="T47" fmla="*/ 2150453 h 86"/>
                <a:gd name="T48" fmla="*/ 17264 w 93"/>
                <a:gd name="T49" fmla="*/ 2682594 h 86"/>
                <a:gd name="T50" fmla="*/ 17264 w 93"/>
                <a:gd name="T51" fmla="*/ 2918814 h 86"/>
                <a:gd name="T52" fmla="*/ 20686 w 93"/>
                <a:gd name="T53" fmla="*/ 3041945 h 86"/>
                <a:gd name="T54" fmla="*/ 20424 w 93"/>
                <a:gd name="T55" fmla="*/ 3461328 h 86"/>
                <a:gd name="T56" fmla="*/ 24597 w 93"/>
                <a:gd name="T57" fmla="*/ 2918814 h 86"/>
                <a:gd name="T58" fmla="*/ 23796 w 93"/>
                <a:gd name="T59" fmla="*/ 3194393 h 86"/>
                <a:gd name="T60" fmla="*/ 28255 w 93"/>
                <a:gd name="T61" fmla="*/ 3194393 h 86"/>
                <a:gd name="T62" fmla="*/ 24912 w 93"/>
                <a:gd name="T63" fmla="*/ 3867926 h 86"/>
                <a:gd name="T64" fmla="*/ 25954 w 93"/>
                <a:gd name="T65" fmla="*/ 4336234 h 86"/>
                <a:gd name="T66" fmla="*/ 24597 w 93"/>
                <a:gd name="T67" fmla="*/ 4541012 h 86"/>
                <a:gd name="T68" fmla="*/ 29622 w 93"/>
                <a:gd name="T69" fmla="*/ 4336234 h 86"/>
                <a:gd name="T70" fmla="*/ 24597 w 93"/>
                <a:gd name="T71" fmla="*/ 4990752 h 86"/>
                <a:gd name="T72" fmla="*/ 25620 w 93"/>
                <a:gd name="T73" fmla="*/ 5211025 h 86"/>
                <a:gd name="T74" fmla="*/ 24912 w 93"/>
                <a:gd name="T75" fmla="*/ 5211025 h 86"/>
                <a:gd name="T76" fmla="*/ 24912 w 93"/>
                <a:gd name="T77" fmla="*/ 5719799 h 86"/>
                <a:gd name="T78" fmla="*/ 28895 w 93"/>
                <a:gd name="T79" fmla="*/ 4911397 h 86"/>
                <a:gd name="T80" fmla="*/ 27480 w 93"/>
                <a:gd name="T81" fmla="*/ 5719799 h 86"/>
                <a:gd name="T82" fmla="*/ 28895 w 93"/>
                <a:gd name="T83" fmla="*/ 5402789 h 86"/>
                <a:gd name="T84" fmla="*/ 29622 w 93"/>
                <a:gd name="T85" fmla="*/ 5940208 h 86"/>
                <a:gd name="T86" fmla="*/ 25954 w 93"/>
                <a:gd name="T87" fmla="*/ 7272773 h 86"/>
                <a:gd name="T88" fmla="*/ 23796 w 93"/>
                <a:gd name="T89" fmla="*/ 7019069 h 86"/>
                <a:gd name="T90" fmla="*/ 23796 w 93"/>
                <a:gd name="T91" fmla="*/ 6506188 h 86"/>
                <a:gd name="T92" fmla="*/ 21562 w 93"/>
                <a:gd name="T93" fmla="*/ 6741379 h 86"/>
                <a:gd name="T94" fmla="*/ 23462 w 93"/>
                <a:gd name="T95" fmla="*/ 5719799 h 86"/>
                <a:gd name="T96" fmla="*/ 23312 w 93"/>
                <a:gd name="T97" fmla="*/ 5402789 h 86"/>
                <a:gd name="T98" fmla="*/ 20424 w 93"/>
                <a:gd name="T99" fmla="*/ 6138422 h 86"/>
                <a:gd name="T100" fmla="*/ 21562 w 93"/>
                <a:gd name="T101" fmla="*/ 5719799 h 86"/>
                <a:gd name="T102" fmla="*/ 14335 w 93"/>
                <a:gd name="T103" fmla="*/ 6875483 h 86"/>
                <a:gd name="T104" fmla="*/ 14263 w 93"/>
                <a:gd name="T105" fmla="*/ 6506188 h 86"/>
                <a:gd name="T106" fmla="*/ 20424 w 93"/>
                <a:gd name="T107" fmla="*/ 5697851 h 86"/>
                <a:gd name="T108" fmla="*/ 18947 w 93"/>
                <a:gd name="T109" fmla="*/ 5719799 h 86"/>
                <a:gd name="T110" fmla="*/ 19759 w 93"/>
                <a:gd name="T111" fmla="*/ 5527504 h 86"/>
                <a:gd name="T112" fmla="*/ 17264 w 93"/>
                <a:gd name="T113" fmla="*/ 5697851 h 86"/>
                <a:gd name="T114" fmla="*/ 15355 w 93"/>
                <a:gd name="T115" fmla="*/ 5975810 h 86"/>
                <a:gd name="T116" fmla="*/ 13996 w 93"/>
                <a:gd name="T117" fmla="*/ 5940208 h 86"/>
                <a:gd name="T118" fmla="*/ 15355 w 93"/>
                <a:gd name="T119" fmla="*/ 5719799 h 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3"/>
                <a:gd name="T181" fmla="*/ 0 h 86"/>
                <a:gd name="T182" fmla="*/ 93 w 93"/>
                <a:gd name="T183" fmla="*/ 86 h 8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3" h="86">
                  <a:moveTo>
                    <a:pt x="48" y="68"/>
                  </a:moveTo>
                  <a:lnTo>
                    <a:pt x="49" y="64"/>
                  </a:lnTo>
                  <a:lnTo>
                    <a:pt x="23" y="68"/>
                  </a:lnTo>
                  <a:lnTo>
                    <a:pt x="0" y="65"/>
                  </a:lnTo>
                  <a:lnTo>
                    <a:pt x="6" y="59"/>
                  </a:lnTo>
                  <a:lnTo>
                    <a:pt x="16" y="52"/>
                  </a:lnTo>
                  <a:lnTo>
                    <a:pt x="6" y="52"/>
                  </a:lnTo>
                  <a:lnTo>
                    <a:pt x="10" y="49"/>
                  </a:lnTo>
                  <a:lnTo>
                    <a:pt x="23" y="42"/>
                  </a:lnTo>
                  <a:lnTo>
                    <a:pt x="25" y="43"/>
                  </a:lnTo>
                  <a:lnTo>
                    <a:pt x="27" y="39"/>
                  </a:lnTo>
                  <a:lnTo>
                    <a:pt x="25" y="36"/>
                  </a:lnTo>
                  <a:lnTo>
                    <a:pt x="30" y="33"/>
                  </a:lnTo>
                  <a:lnTo>
                    <a:pt x="45" y="14"/>
                  </a:lnTo>
                  <a:lnTo>
                    <a:pt x="61" y="1"/>
                  </a:lnTo>
                  <a:lnTo>
                    <a:pt x="68" y="0"/>
                  </a:lnTo>
                  <a:lnTo>
                    <a:pt x="74" y="0"/>
                  </a:lnTo>
                  <a:lnTo>
                    <a:pt x="64" y="4"/>
                  </a:lnTo>
                  <a:lnTo>
                    <a:pt x="67" y="7"/>
                  </a:lnTo>
                  <a:lnTo>
                    <a:pt x="61" y="13"/>
                  </a:lnTo>
                  <a:lnTo>
                    <a:pt x="43" y="33"/>
                  </a:lnTo>
                  <a:lnTo>
                    <a:pt x="58" y="25"/>
                  </a:lnTo>
                  <a:lnTo>
                    <a:pt x="55" y="27"/>
                  </a:lnTo>
                  <a:lnTo>
                    <a:pt x="65" y="26"/>
                  </a:lnTo>
                  <a:lnTo>
                    <a:pt x="55" y="32"/>
                  </a:lnTo>
                  <a:lnTo>
                    <a:pt x="55" y="35"/>
                  </a:lnTo>
                  <a:lnTo>
                    <a:pt x="65" y="36"/>
                  </a:lnTo>
                  <a:lnTo>
                    <a:pt x="64" y="41"/>
                  </a:lnTo>
                  <a:lnTo>
                    <a:pt x="77" y="35"/>
                  </a:lnTo>
                  <a:lnTo>
                    <a:pt x="75" y="38"/>
                  </a:lnTo>
                  <a:lnTo>
                    <a:pt x="89" y="38"/>
                  </a:lnTo>
                  <a:lnTo>
                    <a:pt x="78" y="46"/>
                  </a:lnTo>
                  <a:lnTo>
                    <a:pt x="81" y="51"/>
                  </a:lnTo>
                  <a:lnTo>
                    <a:pt x="77" y="54"/>
                  </a:lnTo>
                  <a:lnTo>
                    <a:pt x="93" y="51"/>
                  </a:lnTo>
                  <a:lnTo>
                    <a:pt x="77" y="59"/>
                  </a:lnTo>
                  <a:lnTo>
                    <a:pt x="80" y="62"/>
                  </a:lnTo>
                  <a:lnTo>
                    <a:pt x="78" y="62"/>
                  </a:lnTo>
                  <a:lnTo>
                    <a:pt x="78" y="68"/>
                  </a:lnTo>
                  <a:lnTo>
                    <a:pt x="91" y="58"/>
                  </a:lnTo>
                  <a:lnTo>
                    <a:pt x="86" y="68"/>
                  </a:lnTo>
                  <a:lnTo>
                    <a:pt x="91" y="64"/>
                  </a:lnTo>
                  <a:lnTo>
                    <a:pt x="93" y="70"/>
                  </a:lnTo>
                  <a:lnTo>
                    <a:pt x="81" y="86"/>
                  </a:lnTo>
                  <a:lnTo>
                    <a:pt x="75" y="83"/>
                  </a:lnTo>
                  <a:lnTo>
                    <a:pt x="75" y="77"/>
                  </a:lnTo>
                  <a:lnTo>
                    <a:pt x="68" y="80"/>
                  </a:lnTo>
                  <a:lnTo>
                    <a:pt x="74" y="68"/>
                  </a:lnTo>
                  <a:lnTo>
                    <a:pt x="73" y="64"/>
                  </a:lnTo>
                  <a:lnTo>
                    <a:pt x="64" y="73"/>
                  </a:lnTo>
                  <a:lnTo>
                    <a:pt x="68" y="68"/>
                  </a:lnTo>
                  <a:lnTo>
                    <a:pt x="46" y="81"/>
                  </a:lnTo>
                  <a:lnTo>
                    <a:pt x="45" y="77"/>
                  </a:lnTo>
                  <a:lnTo>
                    <a:pt x="64" y="67"/>
                  </a:lnTo>
                  <a:lnTo>
                    <a:pt x="59" y="68"/>
                  </a:lnTo>
                  <a:lnTo>
                    <a:pt x="62" y="65"/>
                  </a:lnTo>
                  <a:lnTo>
                    <a:pt x="55" y="67"/>
                  </a:lnTo>
                  <a:lnTo>
                    <a:pt x="48" y="71"/>
                  </a:lnTo>
                  <a:lnTo>
                    <a:pt x="43" y="70"/>
                  </a:lnTo>
                  <a:lnTo>
                    <a:pt x="48" y="6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5" name="Freeform 285">
              <a:extLst>
                <a:ext uri="{FF2B5EF4-FFF2-40B4-BE49-F238E27FC236}">
                  <a16:creationId xmlns:a16="http://schemas.microsoft.com/office/drawing/2014/main" id="{DB637E00-EDB2-6BA4-A6FC-5A0C504CF2D3}"/>
                </a:ext>
              </a:extLst>
            </p:cNvPr>
            <p:cNvSpPr>
              <a:spLocks/>
            </p:cNvSpPr>
            <p:nvPr/>
          </p:nvSpPr>
          <p:spPr bwMode="auto">
            <a:xfrm>
              <a:off x="2372291" y="1332052"/>
              <a:ext cx="311837" cy="59227"/>
            </a:xfrm>
            <a:custGeom>
              <a:avLst/>
              <a:gdLst>
                <a:gd name="T0" fmla="*/ 20291 w 162"/>
                <a:gd name="T1" fmla="*/ 1331231 h 29"/>
                <a:gd name="T2" fmla="*/ 15138 w 162"/>
                <a:gd name="T3" fmla="*/ 893366 h 29"/>
                <a:gd name="T4" fmla="*/ 22088 w 162"/>
                <a:gd name="T5" fmla="*/ 893366 h 29"/>
                <a:gd name="T6" fmla="*/ 9090 w 162"/>
                <a:gd name="T7" fmla="*/ 616848 h 29"/>
                <a:gd name="T8" fmla="*/ 11274 w 162"/>
                <a:gd name="T9" fmla="*/ 0 h 29"/>
                <a:gd name="T10" fmla="*/ 0 w 162"/>
                <a:gd name="T11" fmla="*/ 1 h 29"/>
                <a:gd name="T12" fmla="*/ 10448 w 162"/>
                <a:gd name="T13" fmla="*/ 634674 h 29"/>
                <a:gd name="T14" fmla="*/ 8484 w 162"/>
                <a:gd name="T15" fmla="*/ 1663087 h 29"/>
                <a:gd name="T16" fmla="*/ 6464 w 162"/>
                <a:gd name="T17" fmla="*/ 2792261 h 29"/>
                <a:gd name="T18" fmla="*/ 17094 w 162"/>
                <a:gd name="T19" fmla="*/ 2573240 h 29"/>
                <a:gd name="T20" fmla="*/ 28023 w 162"/>
                <a:gd name="T21" fmla="*/ 2573240 h 29"/>
                <a:gd name="T22" fmla="*/ 38522 w 162"/>
                <a:gd name="T23" fmla="*/ 2554195 h 29"/>
                <a:gd name="T24" fmla="*/ 49584 w 162"/>
                <a:gd name="T25" fmla="*/ 2554195 h 29"/>
                <a:gd name="T26" fmla="*/ 50885 w 162"/>
                <a:gd name="T27" fmla="*/ 1927990 h 29"/>
                <a:gd name="T28" fmla="*/ 42597 w 162"/>
                <a:gd name="T29" fmla="*/ 1331231 h 29"/>
                <a:gd name="T30" fmla="*/ 31062 w 162"/>
                <a:gd name="T31" fmla="*/ 1331231 h 29"/>
                <a:gd name="T32" fmla="*/ 20291 w 162"/>
                <a:gd name="T33" fmla="*/ 1331231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2"/>
                <a:gd name="T52" fmla="*/ 0 h 29"/>
                <a:gd name="T53" fmla="*/ 162 w 162"/>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2" h="29">
                  <a:moveTo>
                    <a:pt x="65" y="14"/>
                  </a:moveTo>
                  <a:lnTo>
                    <a:pt x="48" y="9"/>
                  </a:lnTo>
                  <a:lnTo>
                    <a:pt x="71" y="9"/>
                  </a:lnTo>
                  <a:lnTo>
                    <a:pt x="29" y="6"/>
                  </a:lnTo>
                  <a:lnTo>
                    <a:pt x="36" y="0"/>
                  </a:lnTo>
                  <a:lnTo>
                    <a:pt x="0" y="1"/>
                  </a:lnTo>
                  <a:lnTo>
                    <a:pt x="33" y="7"/>
                  </a:lnTo>
                  <a:lnTo>
                    <a:pt x="27" y="17"/>
                  </a:lnTo>
                  <a:lnTo>
                    <a:pt x="21" y="29"/>
                  </a:lnTo>
                  <a:lnTo>
                    <a:pt x="55" y="27"/>
                  </a:lnTo>
                  <a:lnTo>
                    <a:pt x="90" y="27"/>
                  </a:lnTo>
                  <a:lnTo>
                    <a:pt x="123" y="26"/>
                  </a:lnTo>
                  <a:lnTo>
                    <a:pt x="158" y="26"/>
                  </a:lnTo>
                  <a:lnTo>
                    <a:pt x="162" y="20"/>
                  </a:lnTo>
                  <a:lnTo>
                    <a:pt x="136" y="14"/>
                  </a:lnTo>
                  <a:lnTo>
                    <a:pt x="100" y="14"/>
                  </a:lnTo>
                  <a:lnTo>
                    <a:pt x="65" y="1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6" name="Freeform 286">
              <a:extLst>
                <a:ext uri="{FF2B5EF4-FFF2-40B4-BE49-F238E27FC236}">
                  <a16:creationId xmlns:a16="http://schemas.microsoft.com/office/drawing/2014/main" id="{F65B02EC-D9D1-63AE-F403-40FD9B29D04C}"/>
                </a:ext>
              </a:extLst>
            </p:cNvPr>
            <p:cNvSpPr>
              <a:spLocks/>
            </p:cNvSpPr>
            <p:nvPr/>
          </p:nvSpPr>
          <p:spPr bwMode="auto">
            <a:xfrm>
              <a:off x="2479435" y="1224230"/>
              <a:ext cx="198296" cy="71374"/>
            </a:xfrm>
            <a:custGeom>
              <a:avLst/>
              <a:gdLst>
                <a:gd name="T0" fmla="*/ 5034 w 104"/>
                <a:gd name="T1" fmla="*/ 490592 h 36"/>
                <a:gd name="T2" fmla="*/ 3484 w 104"/>
                <a:gd name="T3" fmla="*/ 287478 h 36"/>
                <a:gd name="T4" fmla="*/ 11294 w 104"/>
                <a:gd name="T5" fmla="*/ 0 h 36"/>
                <a:gd name="T6" fmla="*/ 21600 w 104"/>
                <a:gd name="T7" fmla="*/ 346300 h 36"/>
                <a:gd name="T8" fmla="*/ 19381 w 104"/>
                <a:gd name="T9" fmla="*/ 925350 h 36"/>
                <a:gd name="T10" fmla="*/ 24167 w 104"/>
                <a:gd name="T11" fmla="*/ 1071401 h 36"/>
                <a:gd name="T12" fmla="*/ 15626 w 104"/>
                <a:gd name="T13" fmla="*/ 1404689 h 36"/>
                <a:gd name="T14" fmla="*/ 11294 w 104"/>
                <a:gd name="T15" fmla="*/ 1745228 h 36"/>
                <a:gd name="T16" fmla="*/ 10029 w 104"/>
                <a:gd name="T17" fmla="*/ 1517818 h 36"/>
                <a:gd name="T18" fmla="*/ 10011 w 104"/>
                <a:gd name="T19" fmla="*/ 1745228 h 36"/>
                <a:gd name="T20" fmla="*/ 1724 w 104"/>
                <a:gd name="T21" fmla="*/ 1277945 h 36"/>
                <a:gd name="T22" fmla="*/ 11294 w 104"/>
                <a:gd name="T23" fmla="*/ 1071401 h 36"/>
                <a:gd name="T24" fmla="*/ 0 w 104"/>
                <a:gd name="T25" fmla="*/ 817350 h 36"/>
                <a:gd name="T26" fmla="*/ 5034 w 104"/>
                <a:gd name="T27" fmla="*/ 490592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36"/>
                <a:gd name="T44" fmla="*/ 104 w 104"/>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36">
                  <a:moveTo>
                    <a:pt x="22" y="10"/>
                  </a:moveTo>
                  <a:lnTo>
                    <a:pt x="14" y="6"/>
                  </a:lnTo>
                  <a:lnTo>
                    <a:pt x="49" y="0"/>
                  </a:lnTo>
                  <a:lnTo>
                    <a:pt x="93" y="7"/>
                  </a:lnTo>
                  <a:lnTo>
                    <a:pt x="83" y="19"/>
                  </a:lnTo>
                  <a:lnTo>
                    <a:pt x="104" y="22"/>
                  </a:lnTo>
                  <a:lnTo>
                    <a:pt x="67" y="29"/>
                  </a:lnTo>
                  <a:lnTo>
                    <a:pt x="49" y="36"/>
                  </a:lnTo>
                  <a:lnTo>
                    <a:pt x="43" y="31"/>
                  </a:lnTo>
                  <a:lnTo>
                    <a:pt x="42" y="36"/>
                  </a:lnTo>
                  <a:lnTo>
                    <a:pt x="7" y="26"/>
                  </a:lnTo>
                  <a:lnTo>
                    <a:pt x="49" y="22"/>
                  </a:lnTo>
                  <a:lnTo>
                    <a:pt x="0" y="16"/>
                  </a:lnTo>
                  <a:lnTo>
                    <a:pt x="22" y="1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7" name="Freeform 287">
              <a:extLst>
                <a:ext uri="{FF2B5EF4-FFF2-40B4-BE49-F238E27FC236}">
                  <a16:creationId xmlns:a16="http://schemas.microsoft.com/office/drawing/2014/main" id="{9A6B30ED-AB4B-88B7-40E5-BF00FF396FAB}"/>
                </a:ext>
              </a:extLst>
            </p:cNvPr>
            <p:cNvSpPr>
              <a:spLocks/>
            </p:cNvSpPr>
            <p:nvPr/>
          </p:nvSpPr>
          <p:spPr bwMode="auto">
            <a:xfrm>
              <a:off x="1903737" y="1332052"/>
              <a:ext cx="267060" cy="68338"/>
            </a:xfrm>
            <a:custGeom>
              <a:avLst/>
              <a:gdLst>
                <a:gd name="T0" fmla="*/ 11048 w 139"/>
                <a:gd name="T1" fmla="*/ 3661498 h 33"/>
                <a:gd name="T2" fmla="*/ 7000 w 139"/>
                <a:gd name="T3" fmla="*/ 3190077 h 33"/>
                <a:gd name="T4" fmla="*/ 20303 w 139"/>
                <a:gd name="T5" fmla="*/ 2443777 h 33"/>
                <a:gd name="T6" fmla="*/ 10104 w 139"/>
                <a:gd name="T7" fmla="*/ 2193179 h 33"/>
                <a:gd name="T8" fmla="*/ 0 w 139"/>
                <a:gd name="T9" fmla="*/ 2193179 h 33"/>
                <a:gd name="T10" fmla="*/ 9869 w 139"/>
                <a:gd name="T11" fmla="*/ 1730631 h 33"/>
                <a:gd name="T12" fmla="*/ 5303 w 139"/>
                <a:gd name="T13" fmla="*/ 1507811 h 33"/>
                <a:gd name="T14" fmla="*/ 11857 w 139"/>
                <a:gd name="T15" fmla="*/ 1487485 h 33"/>
                <a:gd name="T16" fmla="*/ 8773 w 139"/>
                <a:gd name="T17" fmla="*/ 1022646 h 33"/>
                <a:gd name="T18" fmla="*/ 20429 w 139"/>
                <a:gd name="T19" fmla="*/ 1155067 h 33"/>
                <a:gd name="T20" fmla="*/ 28788 w 139"/>
                <a:gd name="T21" fmla="*/ 1881511 h 33"/>
                <a:gd name="T22" fmla="*/ 28788 w 139"/>
                <a:gd name="T23" fmla="*/ 703069 h 33"/>
                <a:gd name="T24" fmla="*/ 36488 w 139"/>
                <a:gd name="T25" fmla="*/ 0 h 33"/>
                <a:gd name="T26" fmla="*/ 33306 w 139"/>
                <a:gd name="T27" fmla="*/ 1507811 h 33"/>
                <a:gd name="T28" fmla="*/ 41042 w 139"/>
                <a:gd name="T29" fmla="*/ 1487485 h 33"/>
                <a:gd name="T30" fmla="*/ 34587 w 139"/>
                <a:gd name="T31" fmla="*/ 2736743 h 33"/>
                <a:gd name="T32" fmla="*/ 29679 w 139"/>
                <a:gd name="T33" fmla="*/ 2517281 h 33"/>
                <a:gd name="T34" fmla="*/ 20429 w 139"/>
                <a:gd name="T35" fmla="*/ 2992229 h 33"/>
                <a:gd name="T36" fmla="*/ 11048 w 139"/>
                <a:gd name="T37" fmla="*/ 366149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9"/>
                <a:gd name="T58" fmla="*/ 0 h 33"/>
                <a:gd name="T59" fmla="*/ 139 w 139"/>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9" h="33">
                  <a:moveTo>
                    <a:pt x="37" y="33"/>
                  </a:moveTo>
                  <a:lnTo>
                    <a:pt x="23" y="29"/>
                  </a:lnTo>
                  <a:lnTo>
                    <a:pt x="68" y="22"/>
                  </a:lnTo>
                  <a:lnTo>
                    <a:pt x="34" y="20"/>
                  </a:lnTo>
                  <a:lnTo>
                    <a:pt x="0" y="20"/>
                  </a:lnTo>
                  <a:lnTo>
                    <a:pt x="33" y="16"/>
                  </a:lnTo>
                  <a:lnTo>
                    <a:pt x="18" y="14"/>
                  </a:lnTo>
                  <a:lnTo>
                    <a:pt x="40" y="13"/>
                  </a:lnTo>
                  <a:lnTo>
                    <a:pt x="30" y="9"/>
                  </a:lnTo>
                  <a:lnTo>
                    <a:pt x="69" y="10"/>
                  </a:lnTo>
                  <a:lnTo>
                    <a:pt x="97" y="17"/>
                  </a:lnTo>
                  <a:lnTo>
                    <a:pt x="97" y="6"/>
                  </a:lnTo>
                  <a:lnTo>
                    <a:pt x="122" y="0"/>
                  </a:lnTo>
                  <a:lnTo>
                    <a:pt x="113" y="14"/>
                  </a:lnTo>
                  <a:lnTo>
                    <a:pt x="139" y="13"/>
                  </a:lnTo>
                  <a:lnTo>
                    <a:pt x="117" y="25"/>
                  </a:lnTo>
                  <a:lnTo>
                    <a:pt x="101" y="23"/>
                  </a:lnTo>
                  <a:lnTo>
                    <a:pt x="69" y="27"/>
                  </a:lnTo>
                  <a:lnTo>
                    <a:pt x="37" y="3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8" name="Freeform 288">
              <a:extLst>
                <a:ext uri="{FF2B5EF4-FFF2-40B4-BE49-F238E27FC236}">
                  <a16:creationId xmlns:a16="http://schemas.microsoft.com/office/drawing/2014/main" id="{E6063A79-143E-7BAC-B534-D8F9CF0C562D}"/>
                </a:ext>
              </a:extLst>
            </p:cNvPr>
            <p:cNvSpPr>
              <a:spLocks/>
            </p:cNvSpPr>
            <p:nvPr/>
          </p:nvSpPr>
          <p:spPr bwMode="auto">
            <a:xfrm>
              <a:off x="2258750" y="1657035"/>
              <a:ext cx="164713" cy="89599"/>
            </a:xfrm>
            <a:custGeom>
              <a:avLst/>
              <a:gdLst>
                <a:gd name="T0" fmla="*/ 11433 w 87"/>
                <a:gd name="T1" fmla="*/ 3554598 h 44"/>
                <a:gd name="T2" fmla="*/ 10235 w 87"/>
                <a:gd name="T3" fmla="*/ 3190080 h 44"/>
                <a:gd name="T4" fmla="*/ 10344 w 87"/>
                <a:gd name="T5" fmla="*/ 3147075 h 44"/>
                <a:gd name="T6" fmla="*/ 8916 w 87"/>
                <a:gd name="T7" fmla="*/ 3419640 h 44"/>
                <a:gd name="T8" fmla="*/ 3534 w 87"/>
                <a:gd name="T9" fmla="*/ 4862001 h 44"/>
                <a:gd name="T10" fmla="*/ 3534 w 87"/>
                <a:gd name="T11" fmla="*/ 3661498 h 44"/>
                <a:gd name="T12" fmla="*/ 0 w 87"/>
                <a:gd name="T13" fmla="*/ 3888951 h 44"/>
                <a:gd name="T14" fmla="*/ 3534 w 87"/>
                <a:gd name="T15" fmla="*/ 2881723 h 44"/>
                <a:gd name="T16" fmla="*/ 5275 w 87"/>
                <a:gd name="T17" fmla="*/ 1487485 h 44"/>
                <a:gd name="T18" fmla="*/ 7856 w 87"/>
                <a:gd name="T19" fmla="*/ 0 h 44"/>
                <a:gd name="T20" fmla="*/ 8916 w 87"/>
                <a:gd name="T21" fmla="*/ 332310 h 44"/>
                <a:gd name="T22" fmla="*/ 8754 w 87"/>
                <a:gd name="T23" fmla="*/ 1022646 h 44"/>
                <a:gd name="T24" fmla="*/ 10235 w 87"/>
                <a:gd name="T25" fmla="*/ 794111 h 44"/>
                <a:gd name="T26" fmla="*/ 14345 w 87"/>
                <a:gd name="T27" fmla="*/ 2193180 h 44"/>
                <a:gd name="T28" fmla="*/ 12875 w 87"/>
                <a:gd name="T29" fmla="*/ 3190080 h 44"/>
                <a:gd name="T30" fmla="*/ 16149 w 87"/>
                <a:gd name="T31" fmla="*/ 3190080 h 44"/>
                <a:gd name="T32" fmla="*/ 16217 w 87"/>
                <a:gd name="T33" fmla="*/ 3661498 h 44"/>
                <a:gd name="T34" fmla="*/ 13640 w 87"/>
                <a:gd name="T35" fmla="*/ 4191596 h 44"/>
                <a:gd name="T36" fmla="*/ 11433 w 87"/>
                <a:gd name="T37" fmla="*/ 3554598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7"/>
                <a:gd name="T58" fmla="*/ 0 h 44"/>
                <a:gd name="T59" fmla="*/ 87 w 87"/>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7" h="44">
                  <a:moveTo>
                    <a:pt x="61" y="32"/>
                  </a:moveTo>
                  <a:lnTo>
                    <a:pt x="54" y="29"/>
                  </a:lnTo>
                  <a:lnTo>
                    <a:pt x="55" y="28"/>
                  </a:lnTo>
                  <a:lnTo>
                    <a:pt x="48" y="31"/>
                  </a:lnTo>
                  <a:lnTo>
                    <a:pt x="19" y="44"/>
                  </a:lnTo>
                  <a:lnTo>
                    <a:pt x="19" y="33"/>
                  </a:lnTo>
                  <a:lnTo>
                    <a:pt x="0" y="35"/>
                  </a:lnTo>
                  <a:lnTo>
                    <a:pt x="19" y="26"/>
                  </a:lnTo>
                  <a:lnTo>
                    <a:pt x="29" y="13"/>
                  </a:lnTo>
                  <a:lnTo>
                    <a:pt x="42" y="0"/>
                  </a:lnTo>
                  <a:lnTo>
                    <a:pt x="48" y="3"/>
                  </a:lnTo>
                  <a:lnTo>
                    <a:pt x="47" y="9"/>
                  </a:lnTo>
                  <a:lnTo>
                    <a:pt x="54" y="7"/>
                  </a:lnTo>
                  <a:lnTo>
                    <a:pt x="76" y="20"/>
                  </a:lnTo>
                  <a:lnTo>
                    <a:pt x="68" y="29"/>
                  </a:lnTo>
                  <a:lnTo>
                    <a:pt x="86" y="29"/>
                  </a:lnTo>
                  <a:lnTo>
                    <a:pt x="87" y="33"/>
                  </a:lnTo>
                  <a:lnTo>
                    <a:pt x="73" y="38"/>
                  </a:lnTo>
                  <a:lnTo>
                    <a:pt x="61" y="3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29" name="Freeform 289">
              <a:extLst>
                <a:ext uri="{FF2B5EF4-FFF2-40B4-BE49-F238E27FC236}">
                  <a16:creationId xmlns:a16="http://schemas.microsoft.com/office/drawing/2014/main" id="{4BB4D53C-6DEC-846D-B805-F247AA3F546F}"/>
                </a:ext>
              </a:extLst>
            </p:cNvPr>
            <p:cNvSpPr>
              <a:spLocks/>
            </p:cNvSpPr>
            <p:nvPr/>
          </p:nvSpPr>
          <p:spPr bwMode="auto">
            <a:xfrm>
              <a:off x="2135614" y="1421650"/>
              <a:ext cx="147123" cy="62263"/>
            </a:xfrm>
            <a:custGeom>
              <a:avLst/>
              <a:gdLst>
                <a:gd name="T0" fmla="*/ 19282 w 77"/>
                <a:gd name="T1" fmla="*/ 0 h 32"/>
                <a:gd name="T2" fmla="*/ 7979 w 77"/>
                <a:gd name="T3" fmla="*/ 0 h 32"/>
                <a:gd name="T4" fmla="*/ 8868 w 77"/>
                <a:gd name="T5" fmla="*/ 298079 h 32"/>
                <a:gd name="T6" fmla="*/ 6902 w 77"/>
                <a:gd name="T7" fmla="*/ 486458 h 32"/>
                <a:gd name="T8" fmla="*/ 0 w 77"/>
                <a:gd name="T9" fmla="*/ 486458 h 32"/>
                <a:gd name="T10" fmla="*/ 3915 w 77"/>
                <a:gd name="T11" fmla="*/ 934873 h 32"/>
                <a:gd name="T12" fmla="*/ 7979 w 77"/>
                <a:gd name="T13" fmla="*/ 1241046 h 32"/>
                <a:gd name="T14" fmla="*/ 8822 w 77"/>
                <a:gd name="T15" fmla="*/ 1045220 h 32"/>
                <a:gd name="T16" fmla="*/ 13645 w 77"/>
                <a:gd name="T17" fmla="*/ 1045220 h 32"/>
                <a:gd name="T18" fmla="*/ 16809 w 77"/>
                <a:gd name="T19" fmla="*/ 486458 h 32"/>
                <a:gd name="T20" fmla="*/ 19282 w 77"/>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
                <a:gd name="T34" fmla="*/ 0 h 32"/>
                <a:gd name="T35" fmla="*/ 77 w 7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 h="32">
                  <a:moveTo>
                    <a:pt x="77" y="0"/>
                  </a:moveTo>
                  <a:lnTo>
                    <a:pt x="32" y="0"/>
                  </a:lnTo>
                  <a:lnTo>
                    <a:pt x="36" y="8"/>
                  </a:lnTo>
                  <a:lnTo>
                    <a:pt x="28" y="13"/>
                  </a:lnTo>
                  <a:lnTo>
                    <a:pt x="0" y="13"/>
                  </a:lnTo>
                  <a:lnTo>
                    <a:pt x="16" y="24"/>
                  </a:lnTo>
                  <a:lnTo>
                    <a:pt x="32" y="32"/>
                  </a:lnTo>
                  <a:lnTo>
                    <a:pt x="35" y="27"/>
                  </a:lnTo>
                  <a:lnTo>
                    <a:pt x="55" y="27"/>
                  </a:lnTo>
                  <a:lnTo>
                    <a:pt x="67" y="13"/>
                  </a:lnTo>
                  <a:lnTo>
                    <a:pt x="77"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0" name="Freeform 290">
              <a:extLst>
                <a:ext uri="{FF2B5EF4-FFF2-40B4-BE49-F238E27FC236}">
                  <a16:creationId xmlns:a16="http://schemas.microsoft.com/office/drawing/2014/main" id="{45832DBE-9CBA-B803-D84F-D72447D2DACE}"/>
                </a:ext>
              </a:extLst>
            </p:cNvPr>
            <p:cNvSpPr>
              <a:spLocks/>
            </p:cNvSpPr>
            <p:nvPr/>
          </p:nvSpPr>
          <p:spPr bwMode="auto">
            <a:xfrm>
              <a:off x="2274742" y="1409501"/>
              <a:ext cx="153519" cy="60745"/>
            </a:xfrm>
            <a:custGeom>
              <a:avLst/>
              <a:gdLst>
                <a:gd name="T0" fmla="*/ 13860 w 80"/>
                <a:gd name="T1" fmla="*/ 1156829 h 30"/>
                <a:gd name="T2" fmla="*/ 6092 w 80"/>
                <a:gd name="T3" fmla="*/ 1266195 h 30"/>
                <a:gd name="T4" fmla="*/ 6866 w 80"/>
                <a:gd name="T5" fmla="*/ 1483973 h 30"/>
                <a:gd name="T6" fmla="*/ 3869 w 80"/>
                <a:gd name="T7" fmla="*/ 2039370 h 30"/>
                <a:gd name="T8" fmla="*/ 0 w 80"/>
                <a:gd name="T9" fmla="*/ 2127028 h 30"/>
                <a:gd name="T10" fmla="*/ 1 w 80"/>
                <a:gd name="T11" fmla="*/ 1919679 h 30"/>
                <a:gd name="T12" fmla="*/ 4643 w 80"/>
                <a:gd name="T13" fmla="*/ 483178 h 30"/>
                <a:gd name="T14" fmla="*/ 7310 w 80"/>
                <a:gd name="T15" fmla="*/ 337101 h 30"/>
                <a:gd name="T16" fmla="*/ 6866 w 80"/>
                <a:gd name="T17" fmla="*/ 154453 h 30"/>
                <a:gd name="T18" fmla="*/ 9625 w 80"/>
                <a:gd name="T19" fmla="*/ 0 h 30"/>
                <a:gd name="T20" fmla="*/ 22810 w 80"/>
                <a:gd name="T21" fmla="*/ 154453 h 30"/>
                <a:gd name="T22" fmla="*/ 19512 w 80"/>
                <a:gd name="T23" fmla="*/ 544844 h 30"/>
                <a:gd name="T24" fmla="*/ 13860 w 80"/>
                <a:gd name="T25" fmla="*/ 1156829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30"/>
                <a:gd name="T41" fmla="*/ 80 w 80"/>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30">
                  <a:moveTo>
                    <a:pt x="48" y="17"/>
                  </a:moveTo>
                  <a:lnTo>
                    <a:pt x="22" y="18"/>
                  </a:lnTo>
                  <a:lnTo>
                    <a:pt x="24" y="21"/>
                  </a:lnTo>
                  <a:lnTo>
                    <a:pt x="13" y="29"/>
                  </a:lnTo>
                  <a:lnTo>
                    <a:pt x="0" y="30"/>
                  </a:lnTo>
                  <a:lnTo>
                    <a:pt x="1" y="27"/>
                  </a:lnTo>
                  <a:lnTo>
                    <a:pt x="16" y="7"/>
                  </a:lnTo>
                  <a:lnTo>
                    <a:pt x="26" y="5"/>
                  </a:lnTo>
                  <a:lnTo>
                    <a:pt x="24" y="2"/>
                  </a:lnTo>
                  <a:lnTo>
                    <a:pt x="33" y="0"/>
                  </a:lnTo>
                  <a:lnTo>
                    <a:pt x="80" y="2"/>
                  </a:lnTo>
                  <a:lnTo>
                    <a:pt x="68" y="8"/>
                  </a:lnTo>
                  <a:lnTo>
                    <a:pt x="48" y="1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1" name="Freeform 291">
              <a:extLst>
                <a:ext uri="{FF2B5EF4-FFF2-40B4-BE49-F238E27FC236}">
                  <a16:creationId xmlns:a16="http://schemas.microsoft.com/office/drawing/2014/main" id="{6A16792C-F41D-F7E4-517C-679EFFB070B5}"/>
                </a:ext>
              </a:extLst>
            </p:cNvPr>
            <p:cNvSpPr>
              <a:spLocks/>
            </p:cNvSpPr>
            <p:nvPr/>
          </p:nvSpPr>
          <p:spPr bwMode="auto">
            <a:xfrm>
              <a:off x="933046" y="2161217"/>
              <a:ext cx="81558" cy="82005"/>
            </a:xfrm>
            <a:custGeom>
              <a:avLst/>
              <a:gdLst>
                <a:gd name="T0" fmla="*/ 11787 w 42"/>
                <a:gd name="T1" fmla="*/ 1350661 h 41"/>
                <a:gd name="T2" fmla="*/ 10790 w 42"/>
                <a:gd name="T3" fmla="*/ 1371629 h 41"/>
                <a:gd name="T4" fmla="*/ 6284 w 42"/>
                <a:gd name="T5" fmla="*/ 1352266 h 41"/>
                <a:gd name="T6" fmla="*/ 7805 w 42"/>
                <a:gd name="T7" fmla="*/ 1230597 h 41"/>
                <a:gd name="T8" fmla="*/ 6284 w 42"/>
                <a:gd name="T9" fmla="*/ 1230597 h 41"/>
                <a:gd name="T10" fmla="*/ 2891 w 42"/>
                <a:gd name="T11" fmla="*/ 1092680 h 41"/>
                <a:gd name="T12" fmla="*/ 6796 w 42"/>
                <a:gd name="T13" fmla="*/ 892555 h 41"/>
                <a:gd name="T14" fmla="*/ 2891 w 42"/>
                <a:gd name="T15" fmla="*/ 674929 h 41"/>
                <a:gd name="T16" fmla="*/ 2891 w 42"/>
                <a:gd name="T17" fmla="*/ 561412 h 41"/>
                <a:gd name="T18" fmla="*/ 1 w 42"/>
                <a:gd name="T19" fmla="*/ 477105 h 41"/>
                <a:gd name="T20" fmla="*/ 0 w 42"/>
                <a:gd name="T21" fmla="*/ 410824 h 41"/>
                <a:gd name="T22" fmla="*/ 2891 w 42"/>
                <a:gd name="T23" fmla="*/ 192873 h 41"/>
                <a:gd name="T24" fmla="*/ 1615 w 42"/>
                <a:gd name="T25" fmla="*/ 192873 h 41"/>
                <a:gd name="T26" fmla="*/ 0 w 42"/>
                <a:gd name="T27" fmla="*/ 0 h 41"/>
                <a:gd name="T28" fmla="*/ 6284 w 42"/>
                <a:gd name="T29" fmla="*/ 136341 h 41"/>
                <a:gd name="T30" fmla="*/ 11787 w 42"/>
                <a:gd name="T31" fmla="*/ 272845 h 41"/>
                <a:gd name="T32" fmla="*/ 13663 w 42"/>
                <a:gd name="T33" fmla="*/ 674929 h 41"/>
                <a:gd name="T34" fmla="*/ 15910 w 42"/>
                <a:gd name="T35" fmla="*/ 1163023 h 41"/>
                <a:gd name="T36" fmla="*/ 16968 w 42"/>
                <a:gd name="T37" fmla="*/ 1786172 h 41"/>
                <a:gd name="T38" fmla="*/ 17177 w 42"/>
                <a:gd name="T39" fmla="*/ 1912962 h 41"/>
                <a:gd name="T40" fmla="*/ 7994 w 42"/>
                <a:gd name="T41" fmla="*/ 1645252 h 41"/>
                <a:gd name="T42" fmla="*/ 11787 w 42"/>
                <a:gd name="T43" fmla="*/ 1350661 h 4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41"/>
                <a:gd name="T68" fmla="*/ 42 w 42"/>
                <a:gd name="T69" fmla="*/ 41 h 4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41">
                  <a:moveTo>
                    <a:pt x="29" y="28"/>
                  </a:moveTo>
                  <a:lnTo>
                    <a:pt x="26" y="30"/>
                  </a:lnTo>
                  <a:lnTo>
                    <a:pt x="15" y="29"/>
                  </a:lnTo>
                  <a:lnTo>
                    <a:pt x="19" y="26"/>
                  </a:lnTo>
                  <a:lnTo>
                    <a:pt x="15" y="26"/>
                  </a:lnTo>
                  <a:lnTo>
                    <a:pt x="7" y="23"/>
                  </a:lnTo>
                  <a:lnTo>
                    <a:pt x="17" y="19"/>
                  </a:lnTo>
                  <a:lnTo>
                    <a:pt x="7" y="14"/>
                  </a:lnTo>
                  <a:lnTo>
                    <a:pt x="7" y="12"/>
                  </a:lnTo>
                  <a:lnTo>
                    <a:pt x="1" y="10"/>
                  </a:lnTo>
                  <a:lnTo>
                    <a:pt x="0" y="9"/>
                  </a:lnTo>
                  <a:lnTo>
                    <a:pt x="7" y="4"/>
                  </a:lnTo>
                  <a:lnTo>
                    <a:pt x="4" y="4"/>
                  </a:lnTo>
                  <a:lnTo>
                    <a:pt x="0" y="0"/>
                  </a:lnTo>
                  <a:lnTo>
                    <a:pt x="15" y="3"/>
                  </a:lnTo>
                  <a:lnTo>
                    <a:pt x="29" y="6"/>
                  </a:lnTo>
                  <a:lnTo>
                    <a:pt x="33" y="14"/>
                  </a:lnTo>
                  <a:lnTo>
                    <a:pt x="39" y="25"/>
                  </a:lnTo>
                  <a:lnTo>
                    <a:pt x="41" y="38"/>
                  </a:lnTo>
                  <a:lnTo>
                    <a:pt x="42" y="41"/>
                  </a:lnTo>
                  <a:lnTo>
                    <a:pt x="20" y="35"/>
                  </a:lnTo>
                  <a:lnTo>
                    <a:pt x="29" y="2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2" name="Freeform 292">
              <a:extLst>
                <a:ext uri="{FF2B5EF4-FFF2-40B4-BE49-F238E27FC236}">
                  <a16:creationId xmlns:a16="http://schemas.microsoft.com/office/drawing/2014/main" id="{4DAE87D4-7814-8F2A-6A12-E8F783F8C961}"/>
                </a:ext>
              </a:extLst>
            </p:cNvPr>
            <p:cNvSpPr>
              <a:spLocks/>
            </p:cNvSpPr>
            <p:nvPr/>
          </p:nvSpPr>
          <p:spPr bwMode="auto">
            <a:xfrm>
              <a:off x="1830176" y="1318384"/>
              <a:ext cx="193498" cy="42522"/>
            </a:xfrm>
            <a:custGeom>
              <a:avLst/>
              <a:gdLst>
                <a:gd name="T0" fmla="*/ 21683 w 100"/>
                <a:gd name="T1" fmla="*/ 3040830 h 20"/>
                <a:gd name="T2" fmla="*/ 22937 w 100"/>
                <a:gd name="T3" fmla="*/ 2273689 h 20"/>
                <a:gd name="T4" fmla="*/ 17920 w 100"/>
                <a:gd name="T5" fmla="*/ 3635310 h 20"/>
                <a:gd name="T6" fmla="*/ 14074 w 100"/>
                <a:gd name="T7" fmla="*/ 4561245 h 20"/>
                <a:gd name="T8" fmla="*/ 13349 w 100"/>
                <a:gd name="T9" fmla="*/ 3933621 h 20"/>
                <a:gd name="T10" fmla="*/ 10700 w 100"/>
                <a:gd name="T11" fmla="*/ 5720582 h 20"/>
                <a:gd name="T12" fmla="*/ 7025 w 100"/>
                <a:gd name="T13" fmla="*/ 5720582 h 20"/>
                <a:gd name="T14" fmla="*/ 7025 w 100"/>
                <a:gd name="T15" fmla="*/ 5001078 h 20"/>
                <a:gd name="T16" fmla="*/ 3847 w 100"/>
                <a:gd name="T17" fmla="*/ 5115798 h 20"/>
                <a:gd name="T18" fmla="*/ 0 w 100"/>
                <a:gd name="T19" fmla="*/ 5115798 h 20"/>
                <a:gd name="T20" fmla="*/ 2171 w 100"/>
                <a:gd name="T21" fmla="*/ 3933621 h 20"/>
                <a:gd name="T22" fmla="*/ 15708 w 100"/>
                <a:gd name="T23" fmla="*/ 1515793 h 20"/>
                <a:gd name="T24" fmla="*/ 24933 w 100"/>
                <a:gd name="T25" fmla="*/ 0 h 20"/>
                <a:gd name="T26" fmla="*/ 30977 w 100"/>
                <a:gd name="T27" fmla="*/ 0 h 20"/>
                <a:gd name="T28" fmla="*/ 36820 w 100"/>
                <a:gd name="T29" fmla="*/ 345339 h 20"/>
                <a:gd name="T30" fmla="*/ 31746 w 100"/>
                <a:gd name="T31" fmla="*/ 1165518 h 20"/>
                <a:gd name="T32" fmla="*/ 32278 w 100"/>
                <a:gd name="T33" fmla="*/ 1515793 h 20"/>
                <a:gd name="T34" fmla="*/ 30977 w 100"/>
                <a:gd name="T35" fmla="*/ 1888110 h 20"/>
                <a:gd name="T36" fmla="*/ 24933 w 100"/>
                <a:gd name="T37" fmla="*/ 3040830 h 20"/>
                <a:gd name="T38" fmla="*/ 21683 w 100"/>
                <a:gd name="T39" fmla="*/ 4561245 h 20"/>
                <a:gd name="T40" fmla="*/ 21683 w 100"/>
                <a:gd name="T41" fmla="*/ 3040830 h 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0"/>
                <a:gd name="T64" fmla="*/ 0 h 20"/>
                <a:gd name="T65" fmla="*/ 100 w 100"/>
                <a:gd name="T66" fmla="*/ 20 h 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0" h="20">
                  <a:moveTo>
                    <a:pt x="59" y="11"/>
                  </a:moveTo>
                  <a:lnTo>
                    <a:pt x="62" y="8"/>
                  </a:lnTo>
                  <a:lnTo>
                    <a:pt x="49" y="13"/>
                  </a:lnTo>
                  <a:lnTo>
                    <a:pt x="38" y="16"/>
                  </a:lnTo>
                  <a:lnTo>
                    <a:pt x="36" y="14"/>
                  </a:lnTo>
                  <a:lnTo>
                    <a:pt x="29" y="20"/>
                  </a:lnTo>
                  <a:lnTo>
                    <a:pt x="19" y="20"/>
                  </a:lnTo>
                  <a:lnTo>
                    <a:pt x="19" y="17"/>
                  </a:lnTo>
                  <a:lnTo>
                    <a:pt x="10" y="18"/>
                  </a:lnTo>
                  <a:lnTo>
                    <a:pt x="0" y="18"/>
                  </a:lnTo>
                  <a:lnTo>
                    <a:pt x="6" y="14"/>
                  </a:lnTo>
                  <a:lnTo>
                    <a:pt x="43" y="5"/>
                  </a:lnTo>
                  <a:lnTo>
                    <a:pt x="68" y="0"/>
                  </a:lnTo>
                  <a:lnTo>
                    <a:pt x="84" y="0"/>
                  </a:lnTo>
                  <a:lnTo>
                    <a:pt x="100" y="1"/>
                  </a:lnTo>
                  <a:lnTo>
                    <a:pt x="86" y="4"/>
                  </a:lnTo>
                  <a:lnTo>
                    <a:pt x="88" y="5"/>
                  </a:lnTo>
                  <a:lnTo>
                    <a:pt x="84" y="7"/>
                  </a:lnTo>
                  <a:lnTo>
                    <a:pt x="68" y="11"/>
                  </a:lnTo>
                  <a:lnTo>
                    <a:pt x="59" y="16"/>
                  </a:lnTo>
                  <a:lnTo>
                    <a:pt x="59" y="1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3" name="Freeform 293">
              <a:extLst>
                <a:ext uri="{FF2B5EF4-FFF2-40B4-BE49-F238E27FC236}">
                  <a16:creationId xmlns:a16="http://schemas.microsoft.com/office/drawing/2014/main" id="{3AD509B4-FF74-7F9D-3A32-7AF4B8045CC0}"/>
                </a:ext>
              </a:extLst>
            </p:cNvPr>
            <p:cNvSpPr>
              <a:spLocks/>
            </p:cNvSpPr>
            <p:nvPr/>
          </p:nvSpPr>
          <p:spPr bwMode="auto">
            <a:xfrm>
              <a:off x="2220370" y="1339645"/>
              <a:ext cx="121536" cy="45559"/>
            </a:xfrm>
            <a:custGeom>
              <a:avLst/>
              <a:gdLst>
                <a:gd name="T0" fmla="*/ 9773 w 63"/>
                <a:gd name="T1" fmla="*/ 794111 h 22"/>
                <a:gd name="T2" fmla="*/ 6448 w 63"/>
                <a:gd name="T3" fmla="*/ 483360 h 22"/>
                <a:gd name="T4" fmla="*/ 7779 w 63"/>
                <a:gd name="T5" fmla="*/ 703069 h 22"/>
                <a:gd name="T6" fmla="*/ 5345 w 63"/>
                <a:gd name="T7" fmla="*/ 794111 h 22"/>
                <a:gd name="T8" fmla="*/ 5345 w 63"/>
                <a:gd name="T9" fmla="*/ 1155071 h 22"/>
                <a:gd name="T10" fmla="*/ 5345 w 63"/>
                <a:gd name="T11" fmla="*/ 1189809 h 22"/>
                <a:gd name="T12" fmla="*/ 0 w 63"/>
                <a:gd name="T13" fmla="*/ 1487485 h 22"/>
                <a:gd name="T14" fmla="*/ 13656 w 63"/>
                <a:gd name="T15" fmla="*/ 1487485 h 22"/>
                <a:gd name="T16" fmla="*/ 5345 w 63"/>
                <a:gd name="T17" fmla="*/ 1881511 h 22"/>
                <a:gd name="T18" fmla="*/ 5174 w 63"/>
                <a:gd name="T19" fmla="*/ 2163615 h 22"/>
                <a:gd name="T20" fmla="*/ 13170 w 63"/>
                <a:gd name="T21" fmla="*/ 2443786 h 22"/>
                <a:gd name="T22" fmla="*/ 14223 w 63"/>
                <a:gd name="T23" fmla="*/ 2163615 h 22"/>
                <a:gd name="T24" fmla="*/ 14793 w 63"/>
                <a:gd name="T25" fmla="*/ 1730631 h 22"/>
                <a:gd name="T26" fmla="*/ 17503 w 63"/>
                <a:gd name="T27" fmla="*/ 1730631 h 22"/>
                <a:gd name="T28" fmla="*/ 19166 w 63"/>
                <a:gd name="T29" fmla="*/ 1487485 h 22"/>
                <a:gd name="T30" fmla="*/ 17158 w 63"/>
                <a:gd name="T31" fmla="*/ 1189809 h 22"/>
                <a:gd name="T32" fmla="*/ 21115 w 63"/>
                <a:gd name="T33" fmla="*/ 483360 h 22"/>
                <a:gd name="T34" fmla="*/ 20157 w 63"/>
                <a:gd name="T35" fmla="*/ 0 h 22"/>
                <a:gd name="T36" fmla="*/ 16709 w 63"/>
                <a:gd name="T37" fmla="*/ 332310 h 22"/>
                <a:gd name="T38" fmla="*/ 10917 w 63"/>
                <a:gd name="T39" fmla="*/ 1 h 22"/>
                <a:gd name="T40" fmla="*/ 13170 w 63"/>
                <a:gd name="T41" fmla="*/ 794111 h 22"/>
                <a:gd name="T42" fmla="*/ 11320 w 63"/>
                <a:gd name="T43" fmla="*/ 889308 h 22"/>
                <a:gd name="T44" fmla="*/ 9773 w 63"/>
                <a:gd name="T45" fmla="*/ 794111 h 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3"/>
                <a:gd name="T70" fmla="*/ 0 h 22"/>
                <a:gd name="T71" fmla="*/ 63 w 63"/>
                <a:gd name="T72" fmla="*/ 22 h 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3" h="22">
                  <a:moveTo>
                    <a:pt x="29" y="7"/>
                  </a:moveTo>
                  <a:lnTo>
                    <a:pt x="19" y="4"/>
                  </a:lnTo>
                  <a:lnTo>
                    <a:pt x="23" y="6"/>
                  </a:lnTo>
                  <a:lnTo>
                    <a:pt x="16" y="7"/>
                  </a:lnTo>
                  <a:lnTo>
                    <a:pt x="16" y="10"/>
                  </a:lnTo>
                  <a:lnTo>
                    <a:pt x="16" y="11"/>
                  </a:lnTo>
                  <a:lnTo>
                    <a:pt x="0" y="13"/>
                  </a:lnTo>
                  <a:lnTo>
                    <a:pt x="41" y="13"/>
                  </a:lnTo>
                  <a:lnTo>
                    <a:pt x="16" y="17"/>
                  </a:lnTo>
                  <a:lnTo>
                    <a:pt x="15" y="19"/>
                  </a:lnTo>
                  <a:lnTo>
                    <a:pt x="39" y="22"/>
                  </a:lnTo>
                  <a:lnTo>
                    <a:pt x="42" y="19"/>
                  </a:lnTo>
                  <a:lnTo>
                    <a:pt x="45" y="16"/>
                  </a:lnTo>
                  <a:lnTo>
                    <a:pt x="52" y="16"/>
                  </a:lnTo>
                  <a:lnTo>
                    <a:pt x="57" y="13"/>
                  </a:lnTo>
                  <a:lnTo>
                    <a:pt x="51" y="11"/>
                  </a:lnTo>
                  <a:lnTo>
                    <a:pt x="63" y="4"/>
                  </a:lnTo>
                  <a:lnTo>
                    <a:pt x="60" y="0"/>
                  </a:lnTo>
                  <a:lnTo>
                    <a:pt x="50" y="3"/>
                  </a:lnTo>
                  <a:lnTo>
                    <a:pt x="32" y="1"/>
                  </a:lnTo>
                  <a:lnTo>
                    <a:pt x="39" y="7"/>
                  </a:lnTo>
                  <a:lnTo>
                    <a:pt x="34" y="8"/>
                  </a:lnTo>
                  <a:lnTo>
                    <a:pt x="29"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4" name="Freeform 294">
              <a:extLst>
                <a:ext uri="{FF2B5EF4-FFF2-40B4-BE49-F238E27FC236}">
                  <a16:creationId xmlns:a16="http://schemas.microsoft.com/office/drawing/2014/main" id="{557DD3F1-6C91-FCF5-B12F-30A98D744290}"/>
                </a:ext>
              </a:extLst>
            </p:cNvPr>
            <p:cNvSpPr>
              <a:spLocks/>
            </p:cNvSpPr>
            <p:nvPr/>
          </p:nvSpPr>
          <p:spPr bwMode="auto">
            <a:xfrm>
              <a:off x="2265147" y="1269789"/>
              <a:ext cx="107143" cy="39484"/>
            </a:xfrm>
            <a:custGeom>
              <a:avLst/>
              <a:gdLst>
                <a:gd name="T0" fmla="*/ 9082 w 56"/>
                <a:gd name="T1" fmla="*/ 131390 h 20"/>
                <a:gd name="T2" fmla="*/ 9518 w 56"/>
                <a:gd name="T3" fmla="*/ 93850 h 20"/>
                <a:gd name="T4" fmla="*/ 13000 w 56"/>
                <a:gd name="T5" fmla="*/ 131390 h 20"/>
                <a:gd name="T6" fmla="*/ 14022 w 56"/>
                <a:gd name="T7" fmla="*/ 183946 h 20"/>
                <a:gd name="T8" fmla="*/ 13625 w 56"/>
                <a:gd name="T9" fmla="*/ 360534 h 20"/>
                <a:gd name="T10" fmla="*/ 14555 w 56"/>
                <a:gd name="T11" fmla="*/ 529249 h 20"/>
                <a:gd name="T12" fmla="*/ 10795 w 56"/>
                <a:gd name="T13" fmla="*/ 676796 h 20"/>
                <a:gd name="T14" fmla="*/ 6844 w 56"/>
                <a:gd name="T15" fmla="*/ 435694 h 20"/>
                <a:gd name="T16" fmla="*/ 0 w 56"/>
                <a:gd name="T17" fmla="*/ 360534 h 20"/>
                <a:gd name="T18" fmla="*/ 1511 w 56"/>
                <a:gd name="T19" fmla="*/ 311210 h 20"/>
                <a:gd name="T20" fmla="*/ 5269 w 56"/>
                <a:gd name="T21" fmla="*/ 311210 h 20"/>
                <a:gd name="T22" fmla="*/ 4645 w 56"/>
                <a:gd name="T23" fmla="*/ 131390 h 20"/>
                <a:gd name="T24" fmla="*/ 2572 w 56"/>
                <a:gd name="T25" fmla="*/ 183946 h 20"/>
                <a:gd name="T26" fmla="*/ 1511 w 56"/>
                <a:gd name="T27" fmla="*/ 1 h 20"/>
                <a:gd name="T28" fmla="*/ 9082 w 56"/>
                <a:gd name="T29" fmla="*/ 0 h 20"/>
                <a:gd name="T30" fmla="*/ 9082 w 56"/>
                <a:gd name="T31" fmla="*/ 13139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6"/>
                <a:gd name="T49" fmla="*/ 0 h 20"/>
                <a:gd name="T50" fmla="*/ 56 w 56"/>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6" h="20">
                  <a:moveTo>
                    <a:pt x="35" y="4"/>
                  </a:moveTo>
                  <a:lnTo>
                    <a:pt x="37" y="3"/>
                  </a:lnTo>
                  <a:lnTo>
                    <a:pt x="50" y="4"/>
                  </a:lnTo>
                  <a:lnTo>
                    <a:pt x="54" y="6"/>
                  </a:lnTo>
                  <a:lnTo>
                    <a:pt x="53" y="11"/>
                  </a:lnTo>
                  <a:lnTo>
                    <a:pt x="56" y="16"/>
                  </a:lnTo>
                  <a:lnTo>
                    <a:pt x="41" y="20"/>
                  </a:lnTo>
                  <a:lnTo>
                    <a:pt x="27" y="13"/>
                  </a:lnTo>
                  <a:lnTo>
                    <a:pt x="0" y="11"/>
                  </a:lnTo>
                  <a:lnTo>
                    <a:pt x="6" y="9"/>
                  </a:lnTo>
                  <a:lnTo>
                    <a:pt x="19" y="9"/>
                  </a:lnTo>
                  <a:lnTo>
                    <a:pt x="18" y="4"/>
                  </a:lnTo>
                  <a:lnTo>
                    <a:pt x="9" y="6"/>
                  </a:lnTo>
                  <a:lnTo>
                    <a:pt x="6" y="1"/>
                  </a:lnTo>
                  <a:lnTo>
                    <a:pt x="35" y="0"/>
                  </a:lnTo>
                  <a:lnTo>
                    <a:pt x="35"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5" name="Freeform 295">
              <a:extLst>
                <a:ext uri="{FF2B5EF4-FFF2-40B4-BE49-F238E27FC236}">
                  <a16:creationId xmlns:a16="http://schemas.microsoft.com/office/drawing/2014/main" id="{3154A930-9179-97DE-384D-65236A3417AF}"/>
                </a:ext>
              </a:extLst>
            </p:cNvPr>
            <p:cNvSpPr>
              <a:spLocks/>
            </p:cNvSpPr>
            <p:nvPr/>
          </p:nvSpPr>
          <p:spPr bwMode="auto">
            <a:xfrm>
              <a:off x="2102033" y="1532509"/>
              <a:ext cx="92751" cy="42522"/>
            </a:xfrm>
            <a:custGeom>
              <a:avLst/>
              <a:gdLst>
                <a:gd name="T0" fmla="*/ 14100 w 48"/>
                <a:gd name="T1" fmla="*/ 716171 h 21"/>
                <a:gd name="T2" fmla="*/ 15178 w 48"/>
                <a:gd name="T3" fmla="*/ 625753 h 21"/>
                <a:gd name="T4" fmla="*/ 10395 w 48"/>
                <a:gd name="T5" fmla="*/ 0 h 21"/>
                <a:gd name="T6" fmla="*/ 7992 w 48"/>
                <a:gd name="T7" fmla="*/ 306619 h 21"/>
                <a:gd name="T8" fmla="*/ 7120 w 48"/>
                <a:gd name="T9" fmla="*/ 292101 h 21"/>
                <a:gd name="T10" fmla="*/ 5958 w 48"/>
                <a:gd name="T11" fmla="*/ 501320 h 21"/>
                <a:gd name="T12" fmla="*/ 0 w 48"/>
                <a:gd name="T13" fmla="*/ 851606 h 21"/>
                <a:gd name="T14" fmla="*/ 9657 w 48"/>
                <a:gd name="T15" fmla="*/ 1319747 h 21"/>
                <a:gd name="T16" fmla="*/ 17037 w 48"/>
                <a:gd name="T17" fmla="*/ 1023101 h 21"/>
                <a:gd name="T18" fmla="*/ 15178 w 48"/>
                <a:gd name="T19" fmla="*/ 1023101 h 21"/>
                <a:gd name="T20" fmla="*/ 14100 w 48"/>
                <a:gd name="T21" fmla="*/ 716171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21"/>
                <a:gd name="T35" fmla="*/ 48 w 48"/>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21">
                  <a:moveTo>
                    <a:pt x="40" y="11"/>
                  </a:moveTo>
                  <a:lnTo>
                    <a:pt x="42" y="10"/>
                  </a:lnTo>
                  <a:lnTo>
                    <a:pt x="29" y="0"/>
                  </a:lnTo>
                  <a:lnTo>
                    <a:pt x="22" y="5"/>
                  </a:lnTo>
                  <a:lnTo>
                    <a:pt x="20" y="4"/>
                  </a:lnTo>
                  <a:lnTo>
                    <a:pt x="17" y="8"/>
                  </a:lnTo>
                  <a:lnTo>
                    <a:pt x="0" y="13"/>
                  </a:lnTo>
                  <a:lnTo>
                    <a:pt x="27" y="21"/>
                  </a:lnTo>
                  <a:lnTo>
                    <a:pt x="48" y="16"/>
                  </a:lnTo>
                  <a:lnTo>
                    <a:pt x="42" y="16"/>
                  </a:lnTo>
                  <a:lnTo>
                    <a:pt x="40" y="1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6" name="Freeform 296">
              <a:extLst>
                <a:ext uri="{FF2B5EF4-FFF2-40B4-BE49-F238E27FC236}">
                  <a16:creationId xmlns:a16="http://schemas.microsoft.com/office/drawing/2014/main" id="{58B6A617-AE70-0303-347B-446E0FC8F37D}"/>
                </a:ext>
              </a:extLst>
            </p:cNvPr>
            <p:cNvSpPr>
              <a:spLocks/>
            </p:cNvSpPr>
            <p:nvPr/>
          </p:nvSpPr>
          <p:spPr bwMode="auto">
            <a:xfrm>
              <a:off x="2608966" y="1421650"/>
              <a:ext cx="92751" cy="28853"/>
            </a:xfrm>
            <a:custGeom>
              <a:avLst/>
              <a:gdLst>
                <a:gd name="T0" fmla="*/ 11896 w 48"/>
                <a:gd name="T1" fmla="*/ 0 h 15"/>
                <a:gd name="T2" fmla="*/ 1205 w 48"/>
                <a:gd name="T3" fmla="*/ 67036 h 15"/>
                <a:gd name="T4" fmla="*/ 0 w 48"/>
                <a:gd name="T5" fmla="*/ 183946 h 15"/>
                <a:gd name="T6" fmla="*/ 1456 w 48"/>
                <a:gd name="T7" fmla="*/ 311210 h 15"/>
                <a:gd name="T8" fmla="*/ 3163 w 48"/>
                <a:gd name="T9" fmla="*/ 504748 h 15"/>
                <a:gd name="T10" fmla="*/ 17037 w 48"/>
                <a:gd name="T11" fmla="*/ 424689 h 15"/>
                <a:gd name="T12" fmla="*/ 11896 w 48"/>
                <a:gd name="T13" fmla="*/ 0 h 15"/>
                <a:gd name="T14" fmla="*/ 0 60000 65536"/>
                <a:gd name="T15" fmla="*/ 0 60000 65536"/>
                <a:gd name="T16" fmla="*/ 0 60000 65536"/>
                <a:gd name="T17" fmla="*/ 0 60000 65536"/>
                <a:gd name="T18" fmla="*/ 0 60000 65536"/>
                <a:gd name="T19" fmla="*/ 0 60000 65536"/>
                <a:gd name="T20" fmla="*/ 0 60000 65536"/>
                <a:gd name="T21" fmla="*/ 0 w 48"/>
                <a:gd name="T22" fmla="*/ 0 h 15"/>
                <a:gd name="T23" fmla="*/ 48 w 48"/>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15">
                  <a:moveTo>
                    <a:pt x="34" y="0"/>
                  </a:moveTo>
                  <a:lnTo>
                    <a:pt x="3" y="2"/>
                  </a:lnTo>
                  <a:lnTo>
                    <a:pt x="0" y="6"/>
                  </a:lnTo>
                  <a:lnTo>
                    <a:pt x="4" y="9"/>
                  </a:lnTo>
                  <a:lnTo>
                    <a:pt x="9" y="15"/>
                  </a:lnTo>
                  <a:lnTo>
                    <a:pt x="48" y="12"/>
                  </a:lnTo>
                  <a:lnTo>
                    <a:pt x="34"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7" name="Freeform 297">
              <a:extLst>
                <a:ext uri="{FF2B5EF4-FFF2-40B4-BE49-F238E27FC236}">
                  <a16:creationId xmlns:a16="http://schemas.microsoft.com/office/drawing/2014/main" id="{45805808-1759-6D78-2EB5-C636900E2F2A}"/>
                </a:ext>
              </a:extLst>
            </p:cNvPr>
            <p:cNvSpPr>
              <a:spLocks/>
            </p:cNvSpPr>
            <p:nvPr/>
          </p:nvSpPr>
          <p:spPr bwMode="auto">
            <a:xfrm>
              <a:off x="2565789" y="1581105"/>
              <a:ext cx="60768" cy="31892"/>
            </a:xfrm>
            <a:custGeom>
              <a:avLst/>
              <a:gdLst>
                <a:gd name="T0" fmla="*/ 14352 w 31"/>
                <a:gd name="T1" fmla="*/ 750218 h 16"/>
                <a:gd name="T2" fmla="*/ 1847 w 31"/>
                <a:gd name="T3" fmla="*/ 1232281 h 16"/>
                <a:gd name="T4" fmla="*/ 0 w 31"/>
                <a:gd name="T5" fmla="*/ 695485 h 16"/>
                <a:gd name="T6" fmla="*/ 10153 w 31"/>
                <a:gd name="T7" fmla="*/ 0 h 16"/>
                <a:gd name="T8" fmla="*/ 17341 w 31"/>
                <a:gd name="T9" fmla="*/ 363055 h 16"/>
                <a:gd name="T10" fmla="*/ 14352 w 31"/>
                <a:gd name="T11" fmla="*/ 750218 h 16"/>
                <a:gd name="T12" fmla="*/ 0 60000 65536"/>
                <a:gd name="T13" fmla="*/ 0 60000 65536"/>
                <a:gd name="T14" fmla="*/ 0 60000 65536"/>
                <a:gd name="T15" fmla="*/ 0 60000 65536"/>
                <a:gd name="T16" fmla="*/ 0 60000 65536"/>
                <a:gd name="T17" fmla="*/ 0 60000 65536"/>
                <a:gd name="T18" fmla="*/ 0 w 31"/>
                <a:gd name="T19" fmla="*/ 0 h 16"/>
                <a:gd name="T20" fmla="*/ 31 w 31"/>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1" h="16">
                  <a:moveTo>
                    <a:pt x="26" y="10"/>
                  </a:moveTo>
                  <a:lnTo>
                    <a:pt x="3" y="16"/>
                  </a:lnTo>
                  <a:lnTo>
                    <a:pt x="0" y="9"/>
                  </a:lnTo>
                  <a:lnTo>
                    <a:pt x="19" y="0"/>
                  </a:lnTo>
                  <a:lnTo>
                    <a:pt x="31" y="5"/>
                  </a:lnTo>
                  <a:lnTo>
                    <a:pt x="26" y="1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8" name="Freeform 298">
              <a:extLst>
                <a:ext uri="{FF2B5EF4-FFF2-40B4-BE49-F238E27FC236}">
                  <a16:creationId xmlns:a16="http://schemas.microsoft.com/office/drawing/2014/main" id="{19E375D0-2446-C1D6-445F-C0F5530C5BA9}"/>
                </a:ext>
              </a:extLst>
            </p:cNvPr>
            <p:cNvSpPr>
              <a:spLocks/>
            </p:cNvSpPr>
            <p:nvPr/>
          </p:nvSpPr>
          <p:spPr bwMode="auto">
            <a:xfrm>
              <a:off x="2396278" y="1281938"/>
              <a:ext cx="63967" cy="27335"/>
            </a:xfrm>
            <a:custGeom>
              <a:avLst/>
              <a:gdLst>
                <a:gd name="T0" fmla="*/ 0 w 33"/>
                <a:gd name="T1" fmla="*/ 797242 h 13"/>
                <a:gd name="T2" fmla="*/ 1522 w 33"/>
                <a:gd name="T3" fmla="*/ 0 h 13"/>
                <a:gd name="T4" fmla="*/ 12629 w 33"/>
                <a:gd name="T5" fmla="*/ 545481 h 13"/>
                <a:gd name="T6" fmla="*/ 11075 w 33"/>
                <a:gd name="T7" fmla="*/ 1165200 h 13"/>
                <a:gd name="T8" fmla="*/ 1256 w 33"/>
                <a:gd name="T9" fmla="*/ 1702985 h 13"/>
                <a:gd name="T10" fmla="*/ 0 w 33"/>
                <a:gd name="T11" fmla="*/ 1165200 h 13"/>
                <a:gd name="T12" fmla="*/ 0 w 33"/>
                <a:gd name="T13" fmla="*/ 797242 h 13"/>
                <a:gd name="T14" fmla="*/ 0 60000 65536"/>
                <a:gd name="T15" fmla="*/ 0 60000 65536"/>
                <a:gd name="T16" fmla="*/ 0 60000 65536"/>
                <a:gd name="T17" fmla="*/ 0 60000 65536"/>
                <a:gd name="T18" fmla="*/ 0 60000 65536"/>
                <a:gd name="T19" fmla="*/ 0 60000 65536"/>
                <a:gd name="T20" fmla="*/ 0 60000 65536"/>
                <a:gd name="T21" fmla="*/ 0 w 33"/>
                <a:gd name="T22" fmla="*/ 0 h 13"/>
                <a:gd name="T23" fmla="*/ 33 w 33"/>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13">
                  <a:moveTo>
                    <a:pt x="0" y="6"/>
                  </a:moveTo>
                  <a:lnTo>
                    <a:pt x="4" y="0"/>
                  </a:lnTo>
                  <a:lnTo>
                    <a:pt x="33" y="4"/>
                  </a:lnTo>
                  <a:lnTo>
                    <a:pt x="29" y="9"/>
                  </a:lnTo>
                  <a:lnTo>
                    <a:pt x="3" y="13"/>
                  </a:lnTo>
                  <a:lnTo>
                    <a:pt x="0" y="9"/>
                  </a:lnTo>
                  <a:lnTo>
                    <a:pt x="0" y="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39" name="Freeform 299">
              <a:extLst>
                <a:ext uri="{FF2B5EF4-FFF2-40B4-BE49-F238E27FC236}">
                  <a16:creationId xmlns:a16="http://schemas.microsoft.com/office/drawing/2014/main" id="{2917128A-A6E8-D0D2-24F9-14B78381A9D1}"/>
                </a:ext>
              </a:extLst>
            </p:cNvPr>
            <p:cNvSpPr>
              <a:spLocks/>
            </p:cNvSpPr>
            <p:nvPr/>
          </p:nvSpPr>
          <p:spPr bwMode="auto">
            <a:xfrm>
              <a:off x="2321117" y="1365461"/>
              <a:ext cx="67165" cy="21260"/>
            </a:xfrm>
            <a:custGeom>
              <a:avLst/>
              <a:gdLst>
                <a:gd name="T0" fmla="*/ 3224 w 35"/>
                <a:gd name="T1" fmla="*/ 1189809 h 11"/>
                <a:gd name="T2" fmla="*/ 0 w 35"/>
                <a:gd name="T3" fmla="*/ 1022646 h 11"/>
                <a:gd name="T4" fmla="*/ 8023 w 35"/>
                <a:gd name="T5" fmla="*/ 0 h 11"/>
                <a:gd name="T6" fmla="*/ 9887 w 35"/>
                <a:gd name="T7" fmla="*/ 794111 h 11"/>
                <a:gd name="T8" fmla="*/ 9060 w 35"/>
                <a:gd name="T9" fmla="*/ 1189809 h 11"/>
                <a:gd name="T10" fmla="*/ 3224 w 35"/>
                <a:gd name="T11" fmla="*/ 1189809 h 11"/>
                <a:gd name="T12" fmla="*/ 0 60000 65536"/>
                <a:gd name="T13" fmla="*/ 0 60000 65536"/>
                <a:gd name="T14" fmla="*/ 0 60000 65536"/>
                <a:gd name="T15" fmla="*/ 0 60000 65536"/>
                <a:gd name="T16" fmla="*/ 0 60000 65536"/>
                <a:gd name="T17" fmla="*/ 0 60000 65536"/>
                <a:gd name="T18" fmla="*/ 0 w 35"/>
                <a:gd name="T19" fmla="*/ 0 h 11"/>
                <a:gd name="T20" fmla="*/ 35 w 3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35" h="11">
                  <a:moveTo>
                    <a:pt x="11" y="11"/>
                  </a:moveTo>
                  <a:lnTo>
                    <a:pt x="0" y="9"/>
                  </a:lnTo>
                  <a:lnTo>
                    <a:pt x="28" y="0"/>
                  </a:lnTo>
                  <a:lnTo>
                    <a:pt x="35" y="7"/>
                  </a:lnTo>
                  <a:lnTo>
                    <a:pt x="32" y="11"/>
                  </a:lnTo>
                  <a:lnTo>
                    <a:pt x="11" y="1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0" name="Freeform 300">
              <a:extLst>
                <a:ext uri="{FF2B5EF4-FFF2-40B4-BE49-F238E27FC236}">
                  <a16:creationId xmlns:a16="http://schemas.microsoft.com/office/drawing/2014/main" id="{59FB547C-2743-CFBE-CD6B-DA514698B0E9}"/>
                </a:ext>
              </a:extLst>
            </p:cNvPr>
            <p:cNvSpPr>
              <a:spLocks/>
            </p:cNvSpPr>
            <p:nvPr/>
          </p:nvSpPr>
          <p:spPr bwMode="auto">
            <a:xfrm>
              <a:off x="2065252" y="1417094"/>
              <a:ext cx="55971" cy="27335"/>
            </a:xfrm>
            <a:custGeom>
              <a:avLst/>
              <a:gdLst>
                <a:gd name="T0" fmla="*/ 3074 w 29"/>
                <a:gd name="T1" fmla="*/ 8320296 h 13"/>
                <a:gd name="T2" fmla="*/ 0 w 29"/>
                <a:gd name="T3" fmla="*/ 2470889 h 13"/>
                <a:gd name="T4" fmla="*/ 8421 w 29"/>
                <a:gd name="T5" fmla="*/ 0 h 13"/>
                <a:gd name="T6" fmla="*/ 10026 w 29"/>
                <a:gd name="T7" fmla="*/ 2470889 h 13"/>
                <a:gd name="T8" fmla="*/ 3074 w 29"/>
                <a:gd name="T9" fmla="*/ 8320296 h 13"/>
                <a:gd name="T10" fmla="*/ 0 60000 65536"/>
                <a:gd name="T11" fmla="*/ 0 60000 65536"/>
                <a:gd name="T12" fmla="*/ 0 60000 65536"/>
                <a:gd name="T13" fmla="*/ 0 60000 65536"/>
                <a:gd name="T14" fmla="*/ 0 60000 65536"/>
                <a:gd name="T15" fmla="*/ 0 w 29"/>
                <a:gd name="T16" fmla="*/ 0 h 13"/>
                <a:gd name="T17" fmla="*/ 29 w 29"/>
                <a:gd name="T18" fmla="*/ 13 h 13"/>
              </a:gdLst>
              <a:ahLst/>
              <a:cxnLst>
                <a:cxn ang="T10">
                  <a:pos x="T0" y="T1"/>
                </a:cxn>
                <a:cxn ang="T11">
                  <a:pos x="T2" y="T3"/>
                </a:cxn>
                <a:cxn ang="T12">
                  <a:pos x="T4" y="T5"/>
                </a:cxn>
                <a:cxn ang="T13">
                  <a:pos x="T6" y="T7"/>
                </a:cxn>
                <a:cxn ang="T14">
                  <a:pos x="T8" y="T9"/>
                </a:cxn>
              </a:cxnLst>
              <a:rect l="T15" t="T16" r="T17" b="T18"/>
              <a:pathLst>
                <a:path w="29" h="13">
                  <a:moveTo>
                    <a:pt x="9" y="13"/>
                  </a:moveTo>
                  <a:lnTo>
                    <a:pt x="0" y="4"/>
                  </a:lnTo>
                  <a:lnTo>
                    <a:pt x="25" y="0"/>
                  </a:lnTo>
                  <a:lnTo>
                    <a:pt x="29" y="4"/>
                  </a:lnTo>
                  <a:lnTo>
                    <a:pt x="9" y="1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1" name="Freeform 301">
              <a:extLst>
                <a:ext uri="{FF2B5EF4-FFF2-40B4-BE49-F238E27FC236}">
                  <a16:creationId xmlns:a16="http://schemas.microsoft.com/office/drawing/2014/main" id="{0EF45BDB-FC69-F705-D0AE-F254B6882059}"/>
                </a:ext>
              </a:extLst>
            </p:cNvPr>
            <p:cNvSpPr>
              <a:spLocks/>
            </p:cNvSpPr>
            <p:nvPr/>
          </p:nvSpPr>
          <p:spPr bwMode="auto">
            <a:xfrm>
              <a:off x="2884022" y="1174115"/>
              <a:ext cx="1194573" cy="669711"/>
            </a:xfrm>
            <a:custGeom>
              <a:avLst/>
              <a:gdLst>
                <a:gd name="T0" fmla="*/ 31343 w 622"/>
                <a:gd name="T1" fmla="*/ 19366411 h 333"/>
                <a:gd name="T2" fmla="*/ 36626 w 622"/>
                <a:gd name="T3" fmla="*/ 19066509 h 333"/>
                <a:gd name="T4" fmla="*/ 32125 w 622"/>
                <a:gd name="T5" fmla="*/ 20229222 h 333"/>
                <a:gd name="T6" fmla="*/ 34932 w 622"/>
                <a:gd name="T7" fmla="*/ 21083846 h 333"/>
                <a:gd name="T8" fmla="*/ 36626 w 622"/>
                <a:gd name="T9" fmla="*/ 22275108 h 333"/>
                <a:gd name="T10" fmla="*/ 38354 w 622"/>
                <a:gd name="T11" fmla="*/ 23105914 h 333"/>
                <a:gd name="T12" fmla="*/ 43629 w 622"/>
                <a:gd name="T13" fmla="*/ 23453129 h 333"/>
                <a:gd name="T14" fmla="*/ 49572 w 622"/>
                <a:gd name="T15" fmla="*/ 23758716 h 333"/>
                <a:gd name="T16" fmla="*/ 53613 w 622"/>
                <a:gd name="T17" fmla="*/ 24191063 h 333"/>
                <a:gd name="T18" fmla="*/ 57121 w 622"/>
                <a:gd name="T19" fmla="*/ 23627907 h 333"/>
                <a:gd name="T20" fmla="*/ 59200 w 622"/>
                <a:gd name="T21" fmla="*/ 23026472 h 333"/>
                <a:gd name="T22" fmla="*/ 61516 w 622"/>
                <a:gd name="T23" fmla="*/ 21642954 h 333"/>
                <a:gd name="T24" fmla="*/ 66501 w 622"/>
                <a:gd name="T25" fmla="*/ 20633521 h 333"/>
                <a:gd name="T26" fmla="*/ 71318 w 622"/>
                <a:gd name="T27" fmla="*/ 19984429 h 333"/>
                <a:gd name="T28" fmla="*/ 77525 w 622"/>
                <a:gd name="T29" fmla="*/ 17930184 h 333"/>
                <a:gd name="T30" fmla="*/ 85880 w 622"/>
                <a:gd name="T31" fmla="*/ 17546590 h 333"/>
                <a:gd name="T32" fmla="*/ 105680 w 622"/>
                <a:gd name="T33" fmla="*/ 15317980 h 333"/>
                <a:gd name="T34" fmla="*/ 122549 w 622"/>
                <a:gd name="T35" fmla="*/ 14568774 h 333"/>
                <a:gd name="T36" fmla="*/ 130636 w 622"/>
                <a:gd name="T37" fmla="*/ 12491114 h 333"/>
                <a:gd name="T38" fmla="*/ 124592 w 622"/>
                <a:gd name="T39" fmla="*/ 11917207 h 333"/>
                <a:gd name="T40" fmla="*/ 130261 w 622"/>
                <a:gd name="T41" fmla="*/ 11298397 h 333"/>
                <a:gd name="T42" fmla="*/ 143802 w 622"/>
                <a:gd name="T43" fmla="*/ 11917207 h 333"/>
                <a:gd name="T44" fmla="*/ 134174 w 622"/>
                <a:gd name="T45" fmla="*/ 10343546 h 333"/>
                <a:gd name="T46" fmla="*/ 135280 w 622"/>
                <a:gd name="T47" fmla="*/ 9652591 h 333"/>
                <a:gd name="T48" fmla="*/ 135639 w 622"/>
                <a:gd name="T49" fmla="*/ 9116708 h 333"/>
                <a:gd name="T50" fmla="*/ 150795 w 622"/>
                <a:gd name="T51" fmla="*/ 9116708 h 333"/>
                <a:gd name="T52" fmla="*/ 154909 w 622"/>
                <a:gd name="T53" fmla="*/ 7929581 h 333"/>
                <a:gd name="T54" fmla="*/ 155258 w 622"/>
                <a:gd name="T55" fmla="*/ 7434201 h 333"/>
                <a:gd name="T56" fmla="*/ 146746 w 622"/>
                <a:gd name="T57" fmla="*/ 5886215 h 333"/>
                <a:gd name="T58" fmla="*/ 152862 w 622"/>
                <a:gd name="T59" fmla="*/ 4692223 h 333"/>
                <a:gd name="T60" fmla="*/ 159937 w 622"/>
                <a:gd name="T61" fmla="*/ 2932824 h 333"/>
                <a:gd name="T62" fmla="*/ 157096 w 622"/>
                <a:gd name="T63" fmla="*/ 2237152 h 333"/>
                <a:gd name="T64" fmla="*/ 158502 w 622"/>
                <a:gd name="T65" fmla="*/ 1546521 h 333"/>
                <a:gd name="T66" fmla="*/ 144184 w 622"/>
                <a:gd name="T67" fmla="*/ 1386442 h 333"/>
                <a:gd name="T68" fmla="*/ 147177 w 622"/>
                <a:gd name="T69" fmla="*/ 350470 h 333"/>
                <a:gd name="T70" fmla="*/ 109894 w 622"/>
                <a:gd name="T71" fmla="*/ 350470 h 333"/>
                <a:gd name="T72" fmla="*/ 105680 w 622"/>
                <a:gd name="T73" fmla="*/ 808266 h 333"/>
                <a:gd name="T74" fmla="*/ 91673 w 622"/>
                <a:gd name="T75" fmla="*/ 1313099 h 333"/>
                <a:gd name="T76" fmla="*/ 65586 w 622"/>
                <a:gd name="T77" fmla="*/ 843040 h 333"/>
                <a:gd name="T78" fmla="*/ 37642 w 622"/>
                <a:gd name="T79" fmla="*/ 1737062 h 333"/>
                <a:gd name="T80" fmla="*/ 25136 w 622"/>
                <a:gd name="T81" fmla="*/ 3431538 h 333"/>
                <a:gd name="T82" fmla="*/ 5748 w 622"/>
                <a:gd name="T83" fmla="*/ 5077984 h 333"/>
                <a:gd name="T84" fmla="*/ 0 w 622"/>
                <a:gd name="T85" fmla="*/ 5657963 h 333"/>
                <a:gd name="T86" fmla="*/ 14360 w 622"/>
                <a:gd name="T87" fmla="*/ 6565837 h 333"/>
                <a:gd name="T88" fmla="*/ 37642 w 622"/>
                <a:gd name="T89" fmla="*/ 8262027 h 333"/>
                <a:gd name="T90" fmla="*/ 39160 w 622"/>
                <a:gd name="T91" fmla="*/ 10149377 h 333"/>
                <a:gd name="T92" fmla="*/ 41283 w 622"/>
                <a:gd name="T93" fmla="*/ 10343546 h 333"/>
                <a:gd name="T94" fmla="*/ 44718 w 622"/>
                <a:gd name="T95" fmla="*/ 11530708 h 333"/>
                <a:gd name="T96" fmla="*/ 47563 w 622"/>
                <a:gd name="T97" fmla="*/ 12322101 h 333"/>
                <a:gd name="T98" fmla="*/ 45207 w 622"/>
                <a:gd name="T99" fmla="*/ 13668447 h 333"/>
                <a:gd name="T100" fmla="*/ 36149 w 622"/>
                <a:gd name="T101" fmla="*/ 14829254 h 333"/>
                <a:gd name="T102" fmla="*/ 35165 w 622"/>
                <a:gd name="T103" fmla="*/ 15019030 h 333"/>
                <a:gd name="T104" fmla="*/ 41995 w 622"/>
                <a:gd name="T105" fmla="*/ 15317980 h 333"/>
                <a:gd name="T106" fmla="*/ 31004 w 622"/>
                <a:gd name="T107" fmla="*/ 15910963 h 333"/>
                <a:gd name="T108" fmla="*/ 32977 w 622"/>
                <a:gd name="T109" fmla="*/ 16579658 h 333"/>
                <a:gd name="T110" fmla="*/ 42232 w 622"/>
                <a:gd name="T111" fmla="*/ 16233546 h 333"/>
                <a:gd name="T112" fmla="*/ 31343 w 622"/>
                <a:gd name="T113" fmla="*/ 17873249 h 3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22"/>
                <a:gd name="T172" fmla="*/ 0 h 333"/>
                <a:gd name="T173" fmla="*/ 622 w 622"/>
                <a:gd name="T174" fmla="*/ 333 h 3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22" h="333">
                  <a:moveTo>
                    <a:pt x="132" y="243"/>
                  </a:moveTo>
                  <a:lnTo>
                    <a:pt x="116" y="246"/>
                  </a:lnTo>
                  <a:lnTo>
                    <a:pt x="110" y="250"/>
                  </a:lnTo>
                  <a:lnTo>
                    <a:pt x="109" y="255"/>
                  </a:lnTo>
                  <a:lnTo>
                    <a:pt x="119" y="253"/>
                  </a:lnTo>
                  <a:lnTo>
                    <a:pt x="115" y="256"/>
                  </a:lnTo>
                  <a:lnTo>
                    <a:pt x="107" y="263"/>
                  </a:lnTo>
                  <a:lnTo>
                    <a:pt x="116" y="260"/>
                  </a:lnTo>
                  <a:lnTo>
                    <a:pt x="123" y="258"/>
                  </a:lnTo>
                  <a:lnTo>
                    <a:pt x="126" y="250"/>
                  </a:lnTo>
                  <a:lnTo>
                    <a:pt x="128" y="253"/>
                  </a:lnTo>
                  <a:lnTo>
                    <a:pt x="132" y="256"/>
                  </a:lnTo>
                  <a:lnTo>
                    <a:pt x="135" y="262"/>
                  </a:lnTo>
                  <a:lnTo>
                    <a:pt x="126" y="259"/>
                  </a:lnTo>
                  <a:lnTo>
                    <a:pt x="128" y="262"/>
                  </a:lnTo>
                  <a:lnTo>
                    <a:pt x="113" y="266"/>
                  </a:lnTo>
                  <a:lnTo>
                    <a:pt x="125" y="265"/>
                  </a:lnTo>
                  <a:lnTo>
                    <a:pt x="129" y="265"/>
                  </a:lnTo>
                  <a:lnTo>
                    <a:pt x="110" y="269"/>
                  </a:lnTo>
                  <a:lnTo>
                    <a:pt x="115" y="271"/>
                  </a:lnTo>
                  <a:lnTo>
                    <a:pt x="110" y="275"/>
                  </a:lnTo>
                  <a:lnTo>
                    <a:pt x="118" y="275"/>
                  </a:lnTo>
                  <a:lnTo>
                    <a:pt x="113" y="276"/>
                  </a:lnTo>
                  <a:lnTo>
                    <a:pt x="113" y="278"/>
                  </a:lnTo>
                  <a:lnTo>
                    <a:pt x="119" y="279"/>
                  </a:lnTo>
                  <a:lnTo>
                    <a:pt x="112" y="279"/>
                  </a:lnTo>
                  <a:lnTo>
                    <a:pt x="121" y="282"/>
                  </a:lnTo>
                  <a:lnTo>
                    <a:pt x="119" y="287"/>
                  </a:lnTo>
                  <a:lnTo>
                    <a:pt x="123" y="285"/>
                  </a:lnTo>
                  <a:lnTo>
                    <a:pt x="121" y="288"/>
                  </a:lnTo>
                  <a:lnTo>
                    <a:pt x="119" y="291"/>
                  </a:lnTo>
                  <a:lnTo>
                    <a:pt x="123" y="297"/>
                  </a:lnTo>
                  <a:lnTo>
                    <a:pt x="123" y="300"/>
                  </a:lnTo>
                  <a:lnTo>
                    <a:pt x="129" y="300"/>
                  </a:lnTo>
                  <a:lnTo>
                    <a:pt x="126" y="303"/>
                  </a:lnTo>
                  <a:lnTo>
                    <a:pt x="129" y="303"/>
                  </a:lnTo>
                  <a:lnTo>
                    <a:pt x="129" y="305"/>
                  </a:lnTo>
                  <a:lnTo>
                    <a:pt x="131" y="307"/>
                  </a:lnTo>
                  <a:lnTo>
                    <a:pt x="126" y="308"/>
                  </a:lnTo>
                  <a:lnTo>
                    <a:pt x="134" y="308"/>
                  </a:lnTo>
                  <a:lnTo>
                    <a:pt x="131" y="310"/>
                  </a:lnTo>
                  <a:lnTo>
                    <a:pt x="131" y="314"/>
                  </a:lnTo>
                  <a:lnTo>
                    <a:pt x="137" y="313"/>
                  </a:lnTo>
                  <a:lnTo>
                    <a:pt x="137" y="316"/>
                  </a:lnTo>
                  <a:lnTo>
                    <a:pt x="135" y="317"/>
                  </a:lnTo>
                  <a:lnTo>
                    <a:pt x="137" y="317"/>
                  </a:lnTo>
                  <a:lnTo>
                    <a:pt x="137" y="319"/>
                  </a:lnTo>
                  <a:lnTo>
                    <a:pt x="141" y="320"/>
                  </a:lnTo>
                  <a:lnTo>
                    <a:pt x="150" y="319"/>
                  </a:lnTo>
                  <a:lnTo>
                    <a:pt x="164" y="314"/>
                  </a:lnTo>
                  <a:lnTo>
                    <a:pt x="163" y="317"/>
                  </a:lnTo>
                  <a:lnTo>
                    <a:pt x="170" y="314"/>
                  </a:lnTo>
                  <a:lnTo>
                    <a:pt x="161" y="320"/>
                  </a:lnTo>
                  <a:lnTo>
                    <a:pt x="167" y="320"/>
                  </a:lnTo>
                  <a:lnTo>
                    <a:pt x="163" y="324"/>
                  </a:lnTo>
                  <a:lnTo>
                    <a:pt x="170" y="323"/>
                  </a:lnTo>
                  <a:lnTo>
                    <a:pt x="168" y="324"/>
                  </a:lnTo>
                  <a:lnTo>
                    <a:pt x="174" y="324"/>
                  </a:lnTo>
                  <a:lnTo>
                    <a:pt x="168" y="330"/>
                  </a:lnTo>
                  <a:lnTo>
                    <a:pt x="176" y="326"/>
                  </a:lnTo>
                  <a:lnTo>
                    <a:pt x="168" y="330"/>
                  </a:lnTo>
                  <a:lnTo>
                    <a:pt x="171" y="333"/>
                  </a:lnTo>
                  <a:lnTo>
                    <a:pt x="183" y="329"/>
                  </a:lnTo>
                  <a:lnTo>
                    <a:pt x="190" y="332"/>
                  </a:lnTo>
                  <a:lnTo>
                    <a:pt x="192" y="330"/>
                  </a:lnTo>
                  <a:lnTo>
                    <a:pt x="190" y="327"/>
                  </a:lnTo>
                  <a:lnTo>
                    <a:pt x="182" y="324"/>
                  </a:lnTo>
                  <a:lnTo>
                    <a:pt x="195" y="324"/>
                  </a:lnTo>
                  <a:lnTo>
                    <a:pt x="198" y="323"/>
                  </a:lnTo>
                  <a:lnTo>
                    <a:pt x="196" y="321"/>
                  </a:lnTo>
                  <a:lnTo>
                    <a:pt x="196" y="320"/>
                  </a:lnTo>
                  <a:lnTo>
                    <a:pt x="195" y="319"/>
                  </a:lnTo>
                  <a:lnTo>
                    <a:pt x="202" y="319"/>
                  </a:lnTo>
                  <a:lnTo>
                    <a:pt x="195" y="316"/>
                  </a:lnTo>
                  <a:lnTo>
                    <a:pt x="202" y="316"/>
                  </a:lnTo>
                  <a:lnTo>
                    <a:pt x="202" y="314"/>
                  </a:lnTo>
                  <a:lnTo>
                    <a:pt x="202" y="313"/>
                  </a:lnTo>
                  <a:lnTo>
                    <a:pt x="206" y="311"/>
                  </a:lnTo>
                  <a:lnTo>
                    <a:pt x="203" y="308"/>
                  </a:lnTo>
                  <a:lnTo>
                    <a:pt x="209" y="308"/>
                  </a:lnTo>
                  <a:lnTo>
                    <a:pt x="208" y="305"/>
                  </a:lnTo>
                  <a:lnTo>
                    <a:pt x="214" y="301"/>
                  </a:lnTo>
                  <a:lnTo>
                    <a:pt x="214" y="300"/>
                  </a:lnTo>
                  <a:lnTo>
                    <a:pt x="211" y="295"/>
                  </a:lnTo>
                  <a:lnTo>
                    <a:pt x="212" y="295"/>
                  </a:lnTo>
                  <a:lnTo>
                    <a:pt x="208" y="289"/>
                  </a:lnTo>
                  <a:lnTo>
                    <a:pt x="218" y="287"/>
                  </a:lnTo>
                  <a:lnTo>
                    <a:pt x="225" y="285"/>
                  </a:lnTo>
                  <a:lnTo>
                    <a:pt x="224" y="284"/>
                  </a:lnTo>
                  <a:lnTo>
                    <a:pt x="224" y="281"/>
                  </a:lnTo>
                  <a:lnTo>
                    <a:pt x="228" y="281"/>
                  </a:lnTo>
                  <a:lnTo>
                    <a:pt x="230" y="278"/>
                  </a:lnTo>
                  <a:lnTo>
                    <a:pt x="232" y="279"/>
                  </a:lnTo>
                  <a:lnTo>
                    <a:pt x="231" y="278"/>
                  </a:lnTo>
                  <a:lnTo>
                    <a:pt x="234" y="278"/>
                  </a:lnTo>
                  <a:lnTo>
                    <a:pt x="238" y="275"/>
                  </a:lnTo>
                  <a:lnTo>
                    <a:pt x="234" y="272"/>
                  </a:lnTo>
                  <a:lnTo>
                    <a:pt x="244" y="272"/>
                  </a:lnTo>
                  <a:lnTo>
                    <a:pt x="241" y="266"/>
                  </a:lnTo>
                  <a:lnTo>
                    <a:pt x="235" y="263"/>
                  </a:lnTo>
                  <a:lnTo>
                    <a:pt x="245" y="262"/>
                  </a:lnTo>
                  <a:lnTo>
                    <a:pt x="247" y="252"/>
                  </a:lnTo>
                  <a:lnTo>
                    <a:pt x="259" y="250"/>
                  </a:lnTo>
                  <a:lnTo>
                    <a:pt x="257" y="246"/>
                  </a:lnTo>
                  <a:lnTo>
                    <a:pt x="266" y="244"/>
                  </a:lnTo>
                  <a:lnTo>
                    <a:pt x="270" y="243"/>
                  </a:lnTo>
                  <a:lnTo>
                    <a:pt x="283" y="240"/>
                  </a:lnTo>
                  <a:lnTo>
                    <a:pt x="282" y="239"/>
                  </a:lnTo>
                  <a:lnTo>
                    <a:pt x="289" y="233"/>
                  </a:lnTo>
                  <a:lnTo>
                    <a:pt x="295" y="233"/>
                  </a:lnTo>
                  <a:lnTo>
                    <a:pt x="289" y="239"/>
                  </a:lnTo>
                  <a:lnTo>
                    <a:pt x="295" y="239"/>
                  </a:lnTo>
                  <a:lnTo>
                    <a:pt x="314" y="234"/>
                  </a:lnTo>
                  <a:lnTo>
                    <a:pt x="314" y="231"/>
                  </a:lnTo>
                  <a:lnTo>
                    <a:pt x="320" y="231"/>
                  </a:lnTo>
                  <a:lnTo>
                    <a:pt x="331" y="230"/>
                  </a:lnTo>
                  <a:lnTo>
                    <a:pt x="333" y="227"/>
                  </a:lnTo>
                  <a:lnTo>
                    <a:pt x="344" y="217"/>
                  </a:lnTo>
                  <a:lnTo>
                    <a:pt x="362" y="208"/>
                  </a:lnTo>
                  <a:lnTo>
                    <a:pt x="362" y="204"/>
                  </a:lnTo>
                  <a:lnTo>
                    <a:pt x="365" y="199"/>
                  </a:lnTo>
                  <a:lnTo>
                    <a:pt x="376" y="207"/>
                  </a:lnTo>
                  <a:lnTo>
                    <a:pt x="384" y="204"/>
                  </a:lnTo>
                  <a:lnTo>
                    <a:pt x="389" y="202"/>
                  </a:lnTo>
                  <a:lnTo>
                    <a:pt x="394" y="204"/>
                  </a:lnTo>
                  <a:lnTo>
                    <a:pt x="420" y="198"/>
                  </a:lnTo>
                  <a:lnTo>
                    <a:pt x="445" y="191"/>
                  </a:lnTo>
                  <a:lnTo>
                    <a:pt x="453" y="188"/>
                  </a:lnTo>
                  <a:lnTo>
                    <a:pt x="462" y="183"/>
                  </a:lnTo>
                  <a:lnTo>
                    <a:pt x="468" y="181"/>
                  </a:lnTo>
                  <a:lnTo>
                    <a:pt x="475" y="178"/>
                  </a:lnTo>
                  <a:lnTo>
                    <a:pt x="482" y="175"/>
                  </a:lnTo>
                  <a:lnTo>
                    <a:pt x="447" y="170"/>
                  </a:lnTo>
                  <a:lnTo>
                    <a:pt x="420" y="176"/>
                  </a:lnTo>
                  <a:lnTo>
                    <a:pt x="418" y="173"/>
                  </a:lnTo>
                  <a:lnTo>
                    <a:pt x="439" y="169"/>
                  </a:lnTo>
                  <a:lnTo>
                    <a:pt x="410" y="169"/>
                  </a:lnTo>
                  <a:lnTo>
                    <a:pt x="424" y="163"/>
                  </a:lnTo>
                  <a:lnTo>
                    <a:pt x="423" y="162"/>
                  </a:lnTo>
                  <a:lnTo>
                    <a:pt x="426" y="162"/>
                  </a:lnTo>
                  <a:lnTo>
                    <a:pt x="450" y="159"/>
                  </a:lnTo>
                  <a:lnTo>
                    <a:pt x="450" y="154"/>
                  </a:lnTo>
                  <a:lnTo>
                    <a:pt x="449" y="154"/>
                  </a:lnTo>
                  <a:lnTo>
                    <a:pt x="426" y="153"/>
                  </a:lnTo>
                  <a:lnTo>
                    <a:pt x="434" y="151"/>
                  </a:lnTo>
                  <a:lnTo>
                    <a:pt x="424" y="146"/>
                  </a:lnTo>
                  <a:lnTo>
                    <a:pt x="446" y="153"/>
                  </a:lnTo>
                  <a:lnTo>
                    <a:pt x="465" y="160"/>
                  </a:lnTo>
                  <a:lnTo>
                    <a:pt x="474" y="170"/>
                  </a:lnTo>
                  <a:lnTo>
                    <a:pt x="482" y="167"/>
                  </a:lnTo>
                  <a:lnTo>
                    <a:pt x="485" y="165"/>
                  </a:lnTo>
                  <a:lnTo>
                    <a:pt x="487" y="169"/>
                  </a:lnTo>
                  <a:lnTo>
                    <a:pt x="492" y="167"/>
                  </a:lnTo>
                  <a:lnTo>
                    <a:pt x="492" y="162"/>
                  </a:lnTo>
                  <a:lnTo>
                    <a:pt x="492" y="154"/>
                  </a:lnTo>
                  <a:lnTo>
                    <a:pt x="487" y="156"/>
                  </a:lnTo>
                  <a:lnTo>
                    <a:pt x="490" y="151"/>
                  </a:lnTo>
                  <a:lnTo>
                    <a:pt x="485" y="151"/>
                  </a:lnTo>
                  <a:lnTo>
                    <a:pt x="482" y="151"/>
                  </a:lnTo>
                  <a:lnTo>
                    <a:pt x="485" y="147"/>
                  </a:lnTo>
                  <a:lnTo>
                    <a:pt x="459" y="141"/>
                  </a:lnTo>
                  <a:lnTo>
                    <a:pt x="456" y="144"/>
                  </a:lnTo>
                  <a:lnTo>
                    <a:pt x="456" y="141"/>
                  </a:lnTo>
                  <a:lnTo>
                    <a:pt x="466" y="137"/>
                  </a:lnTo>
                  <a:lnTo>
                    <a:pt x="450" y="137"/>
                  </a:lnTo>
                  <a:lnTo>
                    <a:pt x="443" y="137"/>
                  </a:lnTo>
                  <a:lnTo>
                    <a:pt x="440" y="135"/>
                  </a:lnTo>
                  <a:lnTo>
                    <a:pt x="463" y="131"/>
                  </a:lnTo>
                  <a:lnTo>
                    <a:pt x="439" y="131"/>
                  </a:lnTo>
                  <a:lnTo>
                    <a:pt x="439" y="133"/>
                  </a:lnTo>
                  <a:lnTo>
                    <a:pt x="439" y="130"/>
                  </a:lnTo>
                  <a:lnTo>
                    <a:pt x="445" y="128"/>
                  </a:lnTo>
                  <a:lnTo>
                    <a:pt x="443" y="127"/>
                  </a:lnTo>
                  <a:lnTo>
                    <a:pt x="461" y="127"/>
                  </a:lnTo>
                  <a:lnTo>
                    <a:pt x="465" y="124"/>
                  </a:lnTo>
                  <a:lnTo>
                    <a:pt x="463" y="121"/>
                  </a:lnTo>
                  <a:lnTo>
                    <a:pt x="472" y="122"/>
                  </a:lnTo>
                  <a:lnTo>
                    <a:pt x="484" y="122"/>
                  </a:lnTo>
                  <a:lnTo>
                    <a:pt x="491" y="124"/>
                  </a:lnTo>
                  <a:lnTo>
                    <a:pt x="478" y="124"/>
                  </a:lnTo>
                  <a:lnTo>
                    <a:pt x="498" y="128"/>
                  </a:lnTo>
                  <a:lnTo>
                    <a:pt x="516" y="124"/>
                  </a:lnTo>
                  <a:lnTo>
                    <a:pt x="517" y="119"/>
                  </a:lnTo>
                  <a:lnTo>
                    <a:pt x="503" y="119"/>
                  </a:lnTo>
                  <a:lnTo>
                    <a:pt x="501" y="121"/>
                  </a:lnTo>
                  <a:lnTo>
                    <a:pt x="497" y="115"/>
                  </a:lnTo>
                  <a:lnTo>
                    <a:pt x="503" y="111"/>
                  </a:lnTo>
                  <a:lnTo>
                    <a:pt x="532" y="112"/>
                  </a:lnTo>
                  <a:lnTo>
                    <a:pt x="530" y="108"/>
                  </a:lnTo>
                  <a:lnTo>
                    <a:pt x="517" y="108"/>
                  </a:lnTo>
                  <a:lnTo>
                    <a:pt x="516" y="102"/>
                  </a:lnTo>
                  <a:lnTo>
                    <a:pt x="504" y="102"/>
                  </a:lnTo>
                  <a:lnTo>
                    <a:pt x="517" y="101"/>
                  </a:lnTo>
                  <a:lnTo>
                    <a:pt x="504" y="98"/>
                  </a:lnTo>
                  <a:lnTo>
                    <a:pt x="504" y="95"/>
                  </a:lnTo>
                  <a:lnTo>
                    <a:pt x="532" y="101"/>
                  </a:lnTo>
                  <a:lnTo>
                    <a:pt x="530" y="92"/>
                  </a:lnTo>
                  <a:lnTo>
                    <a:pt x="510" y="90"/>
                  </a:lnTo>
                  <a:lnTo>
                    <a:pt x="532" y="89"/>
                  </a:lnTo>
                  <a:lnTo>
                    <a:pt x="520" y="88"/>
                  </a:lnTo>
                  <a:lnTo>
                    <a:pt x="513" y="85"/>
                  </a:lnTo>
                  <a:lnTo>
                    <a:pt x="510" y="85"/>
                  </a:lnTo>
                  <a:lnTo>
                    <a:pt x="503" y="80"/>
                  </a:lnTo>
                  <a:lnTo>
                    <a:pt x="520" y="79"/>
                  </a:lnTo>
                  <a:lnTo>
                    <a:pt x="549" y="79"/>
                  </a:lnTo>
                  <a:lnTo>
                    <a:pt x="549" y="73"/>
                  </a:lnTo>
                  <a:lnTo>
                    <a:pt x="532" y="72"/>
                  </a:lnTo>
                  <a:lnTo>
                    <a:pt x="524" y="69"/>
                  </a:lnTo>
                  <a:lnTo>
                    <a:pt x="545" y="69"/>
                  </a:lnTo>
                  <a:lnTo>
                    <a:pt x="523" y="64"/>
                  </a:lnTo>
                  <a:lnTo>
                    <a:pt x="519" y="69"/>
                  </a:lnTo>
                  <a:lnTo>
                    <a:pt x="514" y="66"/>
                  </a:lnTo>
                  <a:lnTo>
                    <a:pt x="523" y="56"/>
                  </a:lnTo>
                  <a:lnTo>
                    <a:pt x="539" y="51"/>
                  </a:lnTo>
                  <a:lnTo>
                    <a:pt x="546" y="47"/>
                  </a:lnTo>
                  <a:lnTo>
                    <a:pt x="540" y="48"/>
                  </a:lnTo>
                  <a:lnTo>
                    <a:pt x="548" y="40"/>
                  </a:lnTo>
                  <a:lnTo>
                    <a:pt x="561" y="40"/>
                  </a:lnTo>
                  <a:lnTo>
                    <a:pt x="562" y="35"/>
                  </a:lnTo>
                  <a:lnTo>
                    <a:pt x="539" y="40"/>
                  </a:lnTo>
                  <a:lnTo>
                    <a:pt x="535" y="37"/>
                  </a:lnTo>
                  <a:lnTo>
                    <a:pt x="558" y="35"/>
                  </a:lnTo>
                  <a:lnTo>
                    <a:pt x="580" y="31"/>
                  </a:lnTo>
                  <a:lnTo>
                    <a:pt x="538" y="31"/>
                  </a:lnTo>
                  <a:lnTo>
                    <a:pt x="596" y="27"/>
                  </a:lnTo>
                  <a:lnTo>
                    <a:pt x="594" y="25"/>
                  </a:lnTo>
                  <a:lnTo>
                    <a:pt x="622" y="21"/>
                  </a:lnTo>
                  <a:lnTo>
                    <a:pt x="585" y="16"/>
                  </a:lnTo>
                  <a:lnTo>
                    <a:pt x="567" y="19"/>
                  </a:lnTo>
                  <a:lnTo>
                    <a:pt x="545" y="22"/>
                  </a:lnTo>
                  <a:lnTo>
                    <a:pt x="543" y="21"/>
                  </a:lnTo>
                  <a:lnTo>
                    <a:pt x="504" y="31"/>
                  </a:lnTo>
                  <a:lnTo>
                    <a:pt x="519" y="24"/>
                  </a:lnTo>
                  <a:lnTo>
                    <a:pt x="527" y="16"/>
                  </a:lnTo>
                  <a:lnTo>
                    <a:pt x="513" y="15"/>
                  </a:lnTo>
                  <a:lnTo>
                    <a:pt x="507" y="18"/>
                  </a:lnTo>
                  <a:lnTo>
                    <a:pt x="479" y="22"/>
                  </a:lnTo>
                  <a:lnTo>
                    <a:pt x="494" y="19"/>
                  </a:lnTo>
                  <a:lnTo>
                    <a:pt x="497" y="16"/>
                  </a:lnTo>
                  <a:lnTo>
                    <a:pt x="429" y="19"/>
                  </a:lnTo>
                  <a:lnTo>
                    <a:pt x="449" y="13"/>
                  </a:lnTo>
                  <a:lnTo>
                    <a:pt x="490" y="15"/>
                  </a:lnTo>
                  <a:lnTo>
                    <a:pt x="536" y="11"/>
                  </a:lnTo>
                  <a:lnTo>
                    <a:pt x="503" y="8"/>
                  </a:lnTo>
                  <a:lnTo>
                    <a:pt x="504" y="5"/>
                  </a:lnTo>
                  <a:lnTo>
                    <a:pt x="410" y="6"/>
                  </a:lnTo>
                  <a:lnTo>
                    <a:pt x="423" y="6"/>
                  </a:lnTo>
                  <a:lnTo>
                    <a:pt x="495" y="3"/>
                  </a:lnTo>
                  <a:lnTo>
                    <a:pt x="466" y="0"/>
                  </a:lnTo>
                  <a:lnTo>
                    <a:pt x="378" y="2"/>
                  </a:lnTo>
                  <a:lnTo>
                    <a:pt x="384" y="3"/>
                  </a:lnTo>
                  <a:lnTo>
                    <a:pt x="376" y="5"/>
                  </a:lnTo>
                  <a:lnTo>
                    <a:pt x="373" y="6"/>
                  </a:lnTo>
                  <a:lnTo>
                    <a:pt x="352" y="5"/>
                  </a:lnTo>
                  <a:lnTo>
                    <a:pt x="320" y="3"/>
                  </a:lnTo>
                  <a:lnTo>
                    <a:pt x="325" y="6"/>
                  </a:lnTo>
                  <a:lnTo>
                    <a:pt x="302" y="5"/>
                  </a:lnTo>
                  <a:lnTo>
                    <a:pt x="341" y="8"/>
                  </a:lnTo>
                  <a:lnTo>
                    <a:pt x="362" y="11"/>
                  </a:lnTo>
                  <a:lnTo>
                    <a:pt x="343" y="8"/>
                  </a:lnTo>
                  <a:lnTo>
                    <a:pt x="343" y="9"/>
                  </a:lnTo>
                  <a:lnTo>
                    <a:pt x="315" y="8"/>
                  </a:lnTo>
                  <a:lnTo>
                    <a:pt x="327" y="13"/>
                  </a:lnTo>
                  <a:lnTo>
                    <a:pt x="317" y="13"/>
                  </a:lnTo>
                  <a:lnTo>
                    <a:pt x="315" y="15"/>
                  </a:lnTo>
                  <a:lnTo>
                    <a:pt x="314" y="18"/>
                  </a:lnTo>
                  <a:lnTo>
                    <a:pt x="261" y="11"/>
                  </a:lnTo>
                  <a:lnTo>
                    <a:pt x="259" y="16"/>
                  </a:lnTo>
                  <a:lnTo>
                    <a:pt x="259" y="19"/>
                  </a:lnTo>
                  <a:lnTo>
                    <a:pt x="235" y="15"/>
                  </a:lnTo>
                  <a:lnTo>
                    <a:pt x="225" y="21"/>
                  </a:lnTo>
                  <a:lnTo>
                    <a:pt x="221" y="21"/>
                  </a:lnTo>
                  <a:lnTo>
                    <a:pt x="225" y="12"/>
                  </a:lnTo>
                  <a:lnTo>
                    <a:pt x="173" y="16"/>
                  </a:lnTo>
                  <a:lnTo>
                    <a:pt x="189" y="22"/>
                  </a:lnTo>
                  <a:lnTo>
                    <a:pt x="176" y="19"/>
                  </a:lnTo>
                  <a:lnTo>
                    <a:pt x="153" y="18"/>
                  </a:lnTo>
                  <a:lnTo>
                    <a:pt x="153" y="21"/>
                  </a:lnTo>
                  <a:lnTo>
                    <a:pt x="148" y="24"/>
                  </a:lnTo>
                  <a:lnTo>
                    <a:pt x="129" y="24"/>
                  </a:lnTo>
                  <a:lnTo>
                    <a:pt x="126" y="28"/>
                  </a:lnTo>
                  <a:lnTo>
                    <a:pt x="123" y="25"/>
                  </a:lnTo>
                  <a:lnTo>
                    <a:pt x="76" y="35"/>
                  </a:lnTo>
                  <a:lnTo>
                    <a:pt x="106" y="35"/>
                  </a:lnTo>
                  <a:lnTo>
                    <a:pt x="97" y="37"/>
                  </a:lnTo>
                  <a:lnTo>
                    <a:pt x="96" y="41"/>
                  </a:lnTo>
                  <a:lnTo>
                    <a:pt x="86" y="47"/>
                  </a:lnTo>
                  <a:lnTo>
                    <a:pt x="46" y="51"/>
                  </a:lnTo>
                  <a:lnTo>
                    <a:pt x="6" y="57"/>
                  </a:lnTo>
                  <a:lnTo>
                    <a:pt x="1" y="60"/>
                  </a:lnTo>
                  <a:lnTo>
                    <a:pt x="3" y="63"/>
                  </a:lnTo>
                  <a:lnTo>
                    <a:pt x="25" y="66"/>
                  </a:lnTo>
                  <a:lnTo>
                    <a:pt x="20" y="69"/>
                  </a:lnTo>
                  <a:lnTo>
                    <a:pt x="19" y="69"/>
                  </a:lnTo>
                  <a:lnTo>
                    <a:pt x="35" y="70"/>
                  </a:lnTo>
                  <a:lnTo>
                    <a:pt x="57" y="69"/>
                  </a:lnTo>
                  <a:lnTo>
                    <a:pt x="54" y="73"/>
                  </a:lnTo>
                  <a:lnTo>
                    <a:pt x="26" y="73"/>
                  </a:lnTo>
                  <a:lnTo>
                    <a:pt x="48" y="74"/>
                  </a:lnTo>
                  <a:lnTo>
                    <a:pt x="39" y="74"/>
                  </a:lnTo>
                  <a:lnTo>
                    <a:pt x="0" y="77"/>
                  </a:lnTo>
                  <a:lnTo>
                    <a:pt x="14" y="79"/>
                  </a:lnTo>
                  <a:lnTo>
                    <a:pt x="25" y="82"/>
                  </a:lnTo>
                  <a:lnTo>
                    <a:pt x="13" y="85"/>
                  </a:lnTo>
                  <a:lnTo>
                    <a:pt x="39" y="92"/>
                  </a:lnTo>
                  <a:lnTo>
                    <a:pt x="35" y="89"/>
                  </a:lnTo>
                  <a:lnTo>
                    <a:pt x="42" y="88"/>
                  </a:lnTo>
                  <a:lnTo>
                    <a:pt x="49" y="89"/>
                  </a:lnTo>
                  <a:lnTo>
                    <a:pt x="67" y="86"/>
                  </a:lnTo>
                  <a:lnTo>
                    <a:pt x="74" y="86"/>
                  </a:lnTo>
                  <a:lnTo>
                    <a:pt x="122" y="93"/>
                  </a:lnTo>
                  <a:lnTo>
                    <a:pt x="119" y="99"/>
                  </a:lnTo>
                  <a:lnTo>
                    <a:pt x="129" y="105"/>
                  </a:lnTo>
                  <a:lnTo>
                    <a:pt x="132" y="109"/>
                  </a:lnTo>
                  <a:lnTo>
                    <a:pt x="129" y="112"/>
                  </a:lnTo>
                  <a:lnTo>
                    <a:pt x="125" y="115"/>
                  </a:lnTo>
                  <a:lnTo>
                    <a:pt x="132" y="115"/>
                  </a:lnTo>
                  <a:lnTo>
                    <a:pt x="132" y="121"/>
                  </a:lnTo>
                  <a:lnTo>
                    <a:pt x="134" y="125"/>
                  </a:lnTo>
                  <a:lnTo>
                    <a:pt x="132" y="130"/>
                  </a:lnTo>
                  <a:lnTo>
                    <a:pt x="135" y="131"/>
                  </a:lnTo>
                  <a:lnTo>
                    <a:pt x="134" y="138"/>
                  </a:lnTo>
                  <a:lnTo>
                    <a:pt x="128" y="141"/>
                  </a:lnTo>
                  <a:lnTo>
                    <a:pt x="123" y="146"/>
                  </a:lnTo>
                  <a:lnTo>
                    <a:pt x="132" y="146"/>
                  </a:lnTo>
                  <a:lnTo>
                    <a:pt x="118" y="151"/>
                  </a:lnTo>
                  <a:lnTo>
                    <a:pt x="123" y="156"/>
                  </a:lnTo>
                  <a:lnTo>
                    <a:pt x="137" y="153"/>
                  </a:lnTo>
                  <a:lnTo>
                    <a:pt x="142" y="141"/>
                  </a:lnTo>
                  <a:lnTo>
                    <a:pt x="145" y="150"/>
                  </a:lnTo>
                  <a:lnTo>
                    <a:pt x="153" y="147"/>
                  </a:lnTo>
                  <a:lnTo>
                    <a:pt x="150" y="150"/>
                  </a:lnTo>
                  <a:lnTo>
                    <a:pt x="160" y="151"/>
                  </a:lnTo>
                  <a:lnTo>
                    <a:pt x="150" y="154"/>
                  </a:lnTo>
                  <a:lnTo>
                    <a:pt x="160" y="154"/>
                  </a:lnTo>
                  <a:lnTo>
                    <a:pt x="153" y="157"/>
                  </a:lnTo>
                  <a:lnTo>
                    <a:pt x="158" y="157"/>
                  </a:lnTo>
                  <a:lnTo>
                    <a:pt x="154" y="159"/>
                  </a:lnTo>
                  <a:lnTo>
                    <a:pt x="163" y="162"/>
                  </a:lnTo>
                  <a:lnTo>
                    <a:pt x="155" y="160"/>
                  </a:lnTo>
                  <a:lnTo>
                    <a:pt x="164" y="165"/>
                  </a:lnTo>
                  <a:lnTo>
                    <a:pt x="163" y="165"/>
                  </a:lnTo>
                  <a:lnTo>
                    <a:pt x="163" y="167"/>
                  </a:lnTo>
                  <a:lnTo>
                    <a:pt x="164" y="170"/>
                  </a:lnTo>
                  <a:lnTo>
                    <a:pt x="128" y="165"/>
                  </a:lnTo>
                  <a:lnTo>
                    <a:pt x="125" y="169"/>
                  </a:lnTo>
                  <a:lnTo>
                    <a:pt x="164" y="178"/>
                  </a:lnTo>
                  <a:lnTo>
                    <a:pt x="157" y="181"/>
                  </a:lnTo>
                  <a:lnTo>
                    <a:pt x="158" y="183"/>
                  </a:lnTo>
                  <a:lnTo>
                    <a:pt x="155" y="186"/>
                  </a:lnTo>
                  <a:lnTo>
                    <a:pt x="157" y="188"/>
                  </a:lnTo>
                  <a:lnTo>
                    <a:pt x="160" y="189"/>
                  </a:lnTo>
                  <a:lnTo>
                    <a:pt x="160" y="191"/>
                  </a:lnTo>
                  <a:lnTo>
                    <a:pt x="154" y="189"/>
                  </a:lnTo>
                  <a:lnTo>
                    <a:pt x="148" y="194"/>
                  </a:lnTo>
                  <a:lnTo>
                    <a:pt x="154" y="194"/>
                  </a:lnTo>
                  <a:lnTo>
                    <a:pt x="123" y="201"/>
                  </a:lnTo>
                  <a:lnTo>
                    <a:pt x="125" y="204"/>
                  </a:lnTo>
                  <a:lnTo>
                    <a:pt x="144" y="202"/>
                  </a:lnTo>
                  <a:lnTo>
                    <a:pt x="150" y="199"/>
                  </a:lnTo>
                  <a:lnTo>
                    <a:pt x="144" y="204"/>
                  </a:lnTo>
                  <a:lnTo>
                    <a:pt x="150" y="207"/>
                  </a:lnTo>
                  <a:lnTo>
                    <a:pt x="125" y="204"/>
                  </a:lnTo>
                  <a:lnTo>
                    <a:pt x="121" y="204"/>
                  </a:lnTo>
                  <a:lnTo>
                    <a:pt x="129" y="208"/>
                  </a:lnTo>
                  <a:lnTo>
                    <a:pt x="118" y="207"/>
                  </a:lnTo>
                  <a:lnTo>
                    <a:pt x="110" y="212"/>
                  </a:lnTo>
                  <a:lnTo>
                    <a:pt x="132" y="208"/>
                  </a:lnTo>
                  <a:lnTo>
                    <a:pt x="129" y="208"/>
                  </a:lnTo>
                  <a:lnTo>
                    <a:pt x="138" y="210"/>
                  </a:lnTo>
                  <a:lnTo>
                    <a:pt x="144" y="208"/>
                  </a:lnTo>
                  <a:lnTo>
                    <a:pt x="148" y="208"/>
                  </a:lnTo>
                  <a:lnTo>
                    <a:pt x="142" y="211"/>
                  </a:lnTo>
                  <a:lnTo>
                    <a:pt x="151" y="211"/>
                  </a:lnTo>
                  <a:lnTo>
                    <a:pt x="147" y="212"/>
                  </a:lnTo>
                  <a:lnTo>
                    <a:pt x="148" y="214"/>
                  </a:lnTo>
                  <a:lnTo>
                    <a:pt x="126" y="211"/>
                  </a:lnTo>
                  <a:lnTo>
                    <a:pt x="106" y="217"/>
                  </a:lnTo>
                  <a:lnTo>
                    <a:pt x="134" y="217"/>
                  </a:lnTo>
                  <a:lnTo>
                    <a:pt x="141" y="220"/>
                  </a:lnTo>
                  <a:lnTo>
                    <a:pt x="134" y="217"/>
                  </a:lnTo>
                  <a:lnTo>
                    <a:pt x="106" y="220"/>
                  </a:lnTo>
                  <a:lnTo>
                    <a:pt x="109" y="223"/>
                  </a:lnTo>
                  <a:lnTo>
                    <a:pt x="121" y="223"/>
                  </a:lnTo>
                  <a:lnTo>
                    <a:pt x="113" y="226"/>
                  </a:lnTo>
                  <a:lnTo>
                    <a:pt x="112" y="227"/>
                  </a:lnTo>
                  <a:lnTo>
                    <a:pt x="109" y="227"/>
                  </a:lnTo>
                  <a:lnTo>
                    <a:pt x="116" y="228"/>
                  </a:lnTo>
                  <a:lnTo>
                    <a:pt x="105" y="230"/>
                  </a:lnTo>
                  <a:lnTo>
                    <a:pt x="103" y="234"/>
                  </a:lnTo>
                  <a:lnTo>
                    <a:pt x="123" y="228"/>
                  </a:lnTo>
                  <a:lnTo>
                    <a:pt x="145" y="221"/>
                  </a:lnTo>
                  <a:lnTo>
                    <a:pt x="141" y="224"/>
                  </a:lnTo>
                  <a:lnTo>
                    <a:pt x="102" y="237"/>
                  </a:lnTo>
                  <a:lnTo>
                    <a:pt x="107" y="237"/>
                  </a:lnTo>
                  <a:lnTo>
                    <a:pt x="103" y="239"/>
                  </a:lnTo>
                  <a:lnTo>
                    <a:pt x="122" y="237"/>
                  </a:lnTo>
                  <a:lnTo>
                    <a:pt x="105" y="242"/>
                  </a:lnTo>
                  <a:lnTo>
                    <a:pt x="107" y="243"/>
                  </a:lnTo>
                  <a:lnTo>
                    <a:pt x="109" y="244"/>
                  </a:lnTo>
                  <a:lnTo>
                    <a:pt x="116" y="244"/>
                  </a:lnTo>
                  <a:lnTo>
                    <a:pt x="132" y="24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2" name="Freeform 302">
              <a:extLst>
                <a:ext uri="{FF2B5EF4-FFF2-40B4-BE49-F238E27FC236}">
                  <a16:creationId xmlns:a16="http://schemas.microsoft.com/office/drawing/2014/main" id="{C6505E08-6621-DBBB-B0DA-D0D837491B9D}"/>
                </a:ext>
              </a:extLst>
            </p:cNvPr>
            <p:cNvSpPr>
              <a:spLocks/>
            </p:cNvSpPr>
            <p:nvPr/>
          </p:nvSpPr>
          <p:spPr bwMode="auto">
            <a:xfrm>
              <a:off x="3104706" y="1520360"/>
              <a:ext cx="59169" cy="28854"/>
            </a:xfrm>
            <a:custGeom>
              <a:avLst/>
              <a:gdLst>
                <a:gd name="T0" fmla="*/ 20216 w 30"/>
                <a:gd name="T1" fmla="*/ 625753 h 14"/>
                <a:gd name="T2" fmla="*/ 4840 w 30"/>
                <a:gd name="T3" fmla="*/ 0 h 14"/>
                <a:gd name="T4" fmla="*/ 0 w 30"/>
                <a:gd name="T5" fmla="*/ 292101 h 14"/>
                <a:gd name="T6" fmla="*/ 1 w 30"/>
                <a:gd name="T7" fmla="*/ 292101 h 14"/>
                <a:gd name="T8" fmla="*/ 0 w 30"/>
                <a:gd name="T9" fmla="*/ 438027 h 14"/>
                <a:gd name="T10" fmla="*/ 2092 w 30"/>
                <a:gd name="T11" fmla="*/ 625753 h 14"/>
                <a:gd name="T12" fmla="*/ 5298 w 30"/>
                <a:gd name="T13" fmla="*/ 851606 h 14"/>
                <a:gd name="T14" fmla="*/ 2580 w 30"/>
                <a:gd name="T15" fmla="*/ 893933 h 14"/>
                <a:gd name="T16" fmla="*/ 20216 w 30"/>
                <a:gd name="T17" fmla="*/ 625753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14"/>
                <a:gd name="T29" fmla="*/ 30 w 3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14">
                  <a:moveTo>
                    <a:pt x="30" y="10"/>
                  </a:moveTo>
                  <a:lnTo>
                    <a:pt x="7" y="0"/>
                  </a:lnTo>
                  <a:lnTo>
                    <a:pt x="0" y="4"/>
                  </a:lnTo>
                  <a:lnTo>
                    <a:pt x="1" y="4"/>
                  </a:lnTo>
                  <a:lnTo>
                    <a:pt x="0" y="7"/>
                  </a:lnTo>
                  <a:lnTo>
                    <a:pt x="3" y="10"/>
                  </a:lnTo>
                  <a:lnTo>
                    <a:pt x="8" y="13"/>
                  </a:lnTo>
                  <a:lnTo>
                    <a:pt x="4" y="14"/>
                  </a:lnTo>
                  <a:lnTo>
                    <a:pt x="30" y="1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3" name="Freeform 303">
              <a:extLst>
                <a:ext uri="{FF2B5EF4-FFF2-40B4-BE49-F238E27FC236}">
                  <a16:creationId xmlns:a16="http://schemas.microsoft.com/office/drawing/2014/main" id="{B92366A5-1860-E08E-F859-8F3F32862FF9}"/>
                </a:ext>
              </a:extLst>
            </p:cNvPr>
            <p:cNvSpPr>
              <a:spLocks/>
            </p:cNvSpPr>
            <p:nvPr/>
          </p:nvSpPr>
          <p:spPr bwMode="auto">
            <a:xfrm>
              <a:off x="4033818" y="2006318"/>
              <a:ext cx="107143" cy="127564"/>
            </a:xfrm>
            <a:custGeom>
              <a:avLst/>
              <a:gdLst>
                <a:gd name="T0" fmla="*/ 14467 w 56"/>
                <a:gd name="T1" fmla="*/ 2487492 h 64"/>
                <a:gd name="T2" fmla="*/ 14467 w 56"/>
                <a:gd name="T3" fmla="*/ 1810923 h 64"/>
                <a:gd name="T4" fmla="*/ 14555 w 56"/>
                <a:gd name="T5" fmla="*/ 1087477 h 64"/>
                <a:gd name="T6" fmla="*/ 12165 w 56"/>
                <a:gd name="T7" fmla="*/ 895730 h 64"/>
                <a:gd name="T8" fmla="*/ 11720 w 56"/>
                <a:gd name="T9" fmla="*/ 914667 h 64"/>
                <a:gd name="T10" fmla="*/ 8499 w 56"/>
                <a:gd name="T11" fmla="*/ 764819 h 64"/>
                <a:gd name="T12" fmla="*/ 11022 w 56"/>
                <a:gd name="T13" fmla="*/ 173369 h 64"/>
                <a:gd name="T14" fmla="*/ 11720 w 56"/>
                <a:gd name="T15" fmla="*/ 0 h 64"/>
                <a:gd name="T16" fmla="*/ 10168 w 56"/>
                <a:gd name="T17" fmla="*/ 1 h 64"/>
                <a:gd name="T18" fmla="*/ 9023 w 56"/>
                <a:gd name="T19" fmla="*/ 1 h 64"/>
                <a:gd name="T20" fmla="*/ 6345 w 56"/>
                <a:gd name="T21" fmla="*/ 498374 h 64"/>
                <a:gd name="T22" fmla="*/ 7591 w 56"/>
                <a:gd name="T23" fmla="*/ 537895 h 64"/>
                <a:gd name="T24" fmla="*/ 6345 w 56"/>
                <a:gd name="T25" fmla="*/ 895730 h 64"/>
                <a:gd name="T26" fmla="*/ 1808 w 56"/>
                <a:gd name="T27" fmla="*/ 914667 h 64"/>
                <a:gd name="T28" fmla="*/ 2163 w 56"/>
                <a:gd name="T29" fmla="*/ 1273616 h 64"/>
                <a:gd name="T30" fmla="*/ 2 w 56"/>
                <a:gd name="T31" fmla="*/ 1568918 h 64"/>
                <a:gd name="T32" fmla="*/ 4645 w 56"/>
                <a:gd name="T33" fmla="*/ 1810923 h 64"/>
                <a:gd name="T34" fmla="*/ 1808 w 56"/>
                <a:gd name="T35" fmla="*/ 2453371 h 64"/>
                <a:gd name="T36" fmla="*/ 4645 w 56"/>
                <a:gd name="T37" fmla="*/ 2307509 h 64"/>
                <a:gd name="T38" fmla="*/ 1808 w 56"/>
                <a:gd name="T39" fmla="*/ 2706204 h 64"/>
                <a:gd name="T40" fmla="*/ 0 w 56"/>
                <a:gd name="T41" fmla="*/ 2815386 h 64"/>
                <a:gd name="T42" fmla="*/ 1056 w 56"/>
                <a:gd name="T43" fmla="*/ 2952153 h 64"/>
                <a:gd name="T44" fmla="*/ 0 w 56"/>
                <a:gd name="T45" fmla="*/ 3126109 h 64"/>
                <a:gd name="T46" fmla="*/ 1263 w 56"/>
                <a:gd name="T47" fmla="*/ 3171924 h 64"/>
                <a:gd name="T48" fmla="*/ 1056 w 56"/>
                <a:gd name="T49" fmla="*/ 3349676 h 64"/>
                <a:gd name="T50" fmla="*/ 2163 w 56"/>
                <a:gd name="T51" fmla="*/ 3349676 h 64"/>
                <a:gd name="T52" fmla="*/ 2163 w 56"/>
                <a:gd name="T53" fmla="*/ 3488385 h 64"/>
                <a:gd name="T54" fmla="*/ 6304 w 56"/>
                <a:gd name="T55" fmla="*/ 3349676 h 64"/>
                <a:gd name="T56" fmla="*/ 9212 w 56"/>
                <a:gd name="T57" fmla="*/ 3017634 h 64"/>
                <a:gd name="T58" fmla="*/ 13000 w 56"/>
                <a:gd name="T59" fmla="*/ 2838918 h 64"/>
                <a:gd name="T60" fmla="*/ 14467 w 56"/>
                <a:gd name="T61" fmla="*/ 2487492 h 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6"/>
                <a:gd name="T94" fmla="*/ 0 h 64"/>
                <a:gd name="T95" fmla="*/ 56 w 56"/>
                <a:gd name="T96" fmla="*/ 64 h 6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6" h="64">
                  <a:moveTo>
                    <a:pt x="55" y="46"/>
                  </a:moveTo>
                  <a:lnTo>
                    <a:pt x="55" y="33"/>
                  </a:lnTo>
                  <a:lnTo>
                    <a:pt x="56" y="20"/>
                  </a:lnTo>
                  <a:lnTo>
                    <a:pt x="47" y="16"/>
                  </a:lnTo>
                  <a:lnTo>
                    <a:pt x="45" y="17"/>
                  </a:lnTo>
                  <a:lnTo>
                    <a:pt x="33" y="14"/>
                  </a:lnTo>
                  <a:lnTo>
                    <a:pt x="43" y="3"/>
                  </a:lnTo>
                  <a:lnTo>
                    <a:pt x="45" y="0"/>
                  </a:lnTo>
                  <a:lnTo>
                    <a:pt x="39" y="1"/>
                  </a:lnTo>
                  <a:lnTo>
                    <a:pt x="34" y="1"/>
                  </a:lnTo>
                  <a:lnTo>
                    <a:pt x="24" y="9"/>
                  </a:lnTo>
                  <a:lnTo>
                    <a:pt x="29" y="10"/>
                  </a:lnTo>
                  <a:lnTo>
                    <a:pt x="24" y="16"/>
                  </a:lnTo>
                  <a:lnTo>
                    <a:pt x="7" y="17"/>
                  </a:lnTo>
                  <a:lnTo>
                    <a:pt x="8" y="23"/>
                  </a:lnTo>
                  <a:lnTo>
                    <a:pt x="2" y="29"/>
                  </a:lnTo>
                  <a:lnTo>
                    <a:pt x="18" y="33"/>
                  </a:lnTo>
                  <a:lnTo>
                    <a:pt x="7" y="45"/>
                  </a:lnTo>
                  <a:lnTo>
                    <a:pt x="18" y="42"/>
                  </a:lnTo>
                  <a:lnTo>
                    <a:pt x="7" y="49"/>
                  </a:lnTo>
                  <a:lnTo>
                    <a:pt x="0" y="51"/>
                  </a:lnTo>
                  <a:lnTo>
                    <a:pt x="4" y="54"/>
                  </a:lnTo>
                  <a:lnTo>
                    <a:pt x="0" y="57"/>
                  </a:lnTo>
                  <a:lnTo>
                    <a:pt x="5" y="58"/>
                  </a:lnTo>
                  <a:lnTo>
                    <a:pt x="4" y="61"/>
                  </a:lnTo>
                  <a:lnTo>
                    <a:pt x="8" y="61"/>
                  </a:lnTo>
                  <a:lnTo>
                    <a:pt x="8" y="64"/>
                  </a:lnTo>
                  <a:lnTo>
                    <a:pt x="23" y="61"/>
                  </a:lnTo>
                  <a:lnTo>
                    <a:pt x="36" y="55"/>
                  </a:lnTo>
                  <a:lnTo>
                    <a:pt x="50" y="52"/>
                  </a:lnTo>
                  <a:lnTo>
                    <a:pt x="55" y="4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4" name="Freeform 304">
              <a:extLst>
                <a:ext uri="{FF2B5EF4-FFF2-40B4-BE49-F238E27FC236}">
                  <a16:creationId xmlns:a16="http://schemas.microsoft.com/office/drawing/2014/main" id="{0582C8E5-685E-B9C9-EE3D-E1B23F3E28DF}"/>
                </a:ext>
              </a:extLst>
            </p:cNvPr>
            <p:cNvSpPr>
              <a:spLocks/>
            </p:cNvSpPr>
            <p:nvPr/>
          </p:nvSpPr>
          <p:spPr bwMode="auto">
            <a:xfrm>
              <a:off x="4152156" y="1890903"/>
              <a:ext cx="193498" cy="294612"/>
            </a:xfrm>
            <a:custGeom>
              <a:avLst/>
              <a:gdLst>
                <a:gd name="T0" fmla="*/ 2209 w 101"/>
                <a:gd name="T1" fmla="*/ 3536573 h 146"/>
                <a:gd name="T2" fmla="*/ 4544 w 101"/>
                <a:gd name="T3" fmla="*/ 3536573 h 146"/>
                <a:gd name="T4" fmla="*/ 3166 w 101"/>
                <a:gd name="T5" fmla="*/ 4502184 h 146"/>
                <a:gd name="T6" fmla="*/ 5451 w 101"/>
                <a:gd name="T7" fmla="*/ 4996665 h 146"/>
                <a:gd name="T8" fmla="*/ 8105 w 101"/>
                <a:gd name="T9" fmla="*/ 5219774 h 146"/>
                <a:gd name="T10" fmla="*/ 10539 w 101"/>
                <a:gd name="T11" fmla="*/ 6970130 h 146"/>
                <a:gd name="T12" fmla="*/ 4544 w 101"/>
                <a:gd name="T13" fmla="*/ 7507891 h 146"/>
                <a:gd name="T14" fmla="*/ 6522 w 101"/>
                <a:gd name="T15" fmla="*/ 8047999 h 146"/>
                <a:gd name="T16" fmla="*/ 2209 w 101"/>
                <a:gd name="T17" fmla="*/ 9173409 h 146"/>
                <a:gd name="T18" fmla="*/ 7823 w 101"/>
                <a:gd name="T19" fmla="*/ 9526266 h 146"/>
                <a:gd name="T20" fmla="*/ 10539 w 101"/>
                <a:gd name="T21" fmla="*/ 9526266 h 146"/>
                <a:gd name="T22" fmla="*/ 3793 w 101"/>
                <a:gd name="T23" fmla="*/ 10558954 h 146"/>
                <a:gd name="T24" fmla="*/ 1285 w 101"/>
                <a:gd name="T25" fmla="*/ 11422226 h 146"/>
                <a:gd name="T26" fmla="*/ 6530 w 101"/>
                <a:gd name="T27" fmla="*/ 11221754 h 146"/>
                <a:gd name="T28" fmla="*/ 11228 w 101"/>
                <a:gd name="T29" fmla="*/ 10558954 h 146"/>
                <a:gd name="T30" fmla="*/ 21998 w 101"/>
                <a:gd name="T31" fmla="*/ 10524013 h 146"/>
                <a:gd name="T32" fmla="*/ 23098 w 101"/>
                <a:gd name="T33" fmla="*/ 9480446 h 146"/>
                <a:gd name="T34" fmla="*/ 27348 w 101"/>
                <a:gd name="T35" fmla="*/ 8216344 h 146"/>
                <a:gd name="T36" fmla="*/ 21998 w 101"/>
                <a:gd name="T37" fmla="*/ 7713236 h 146"/>
                <a:gd name="T38" fmla="*/ 19306 w 101"/>
                <a:gd name="T39" fmla="*/ 6475744 h 146"/>
                <a:gd name="T40" fmla="*/ 20389 w 101"/>
                <a:gd name="T41" fmla="*/ 6056233 h 146"/>
                <a:gd name="T42" fmla="*/ 13451 w 101"/>
                <a:gd name="T43" fmla="*/ 3715702 h 146"/>
                <a:gd name="T44" fmla="*/ 11633 w 101"/>
                <a:gd name="T45" fmla="*/ 3201280 h 146"/>
                <a:gd name="T46" fmla="*/ 10931 w 101"/>
                <a:gd name="T47" fmla="*/ 2874849 h 146"/>
                <a:gd name="T48" fmla="*/ 7823 w 101"/>
                <a:gd name="T49" fmla="*/ 1389576 h 146"/>
                <a:gd name="T50" fmla="*/ 7291 w 101"/>
                <a:gd name="T51" fmla="*/ 1208327 h 146"/>
                <a:gd name="T52" fmla="*/ 4550 w 101"/>
                <a:gd name="T53" fmla="*/ 0 h 146"/>
                <a:gd name="T54" fmla="*/ 3166 w 101"/>
                <a:gd name="T55" fmla="*/ 923632 h 146"/>
                <a:gd name="T56" fmla="*/ 1285 w 101"/>
                <a:gd name="T57" fmla="*/ 1490045 h 146"/>
                <a:gd name="T58" fmla="*/ 1285 w 101"/>
                <a:gd name="T59" fmla="*/ 1910873 h 146"/>
                <a:gd name="T60" fmla="*/ 2 w 101"/>
                <a:gd name="T61" fmla="*/ 2663801 h 146"/>
                <a:gd name="T62" fmla="*/ 2646 w 101"/>
                <a:gd name="T63" fmla="*/ 2499870 h 146"/>
                <a:gd name="T64" fmla="*/ 1 w 101"/>
                <a:gd name="T65" fmla="*/ 4434026 h 14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1"/>
                <a:gd name="T100" fmla="*/ 0 h 146"/>
                <a:gd name="T101" fmla="*/ 101 w 101"/>
                <a:gd name="T102" fmla="*/ 146 h 14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1" h="146">
                  <a:moveTo>
                    <a:pt x="1" y="56"/>
                  </a:moveTo>
                  <a:lnTo>
                    <a:pt x="8" y="45"/>
                  </a:lnTo>
                  <a:lnTo>
                    <a:pt x="13" y="45"/>
                  </a:lnTo>
                  <a:lnTo>
                    <a:pt x="16" y="45"/>
                  </a:lnTo>
                  <a:lnTo>
                    <a:pt x="14" y="50"/>
                  </a:lnTo>
                  <a:lnTo>
                    <a:pt x="11" y="58"/>
                  </a:lnTo>
                  <a:lnTo>
                    <a:pt x="14" y="67"/>
                  </a:lnTo>
                  <a:lnTo>
                    <a:pt x="20" y="64"/>
                  </a:lnTo>
                  <a:lnTo>
                    <a:pt x="34" y="61"/>
                  </a:lnTo>
                  <a:lnTo>
                    <a:pt x="30" y="67"/>
                  </a:lnTo>
                  <a:lnTo>
                    <a:pt x="37" y="74"/>
                  </a:lnTo>
                  <a:lnTo>
                    <a:pt x="39" y="89"/>
                  </a:lnTo>
                  <a:lnTo>
                    <a:pt x="34" y="89"/>
                  </a:lnTo>
                  <a:lnTo>
                    <a:pt x="16" y="96"/>
                  </a:lnTo>
                  <a:lnTo>
                    <a:pt x="18" y="98"/>
                  </a:lnTo>
                  <a:lnTo>
                    <a:pt x="23" y="103"/>
                  </a:lnTo>
                  <a:lnTo>
                    <a:pt x="11" y="112"/>
                  </a:lnTo>
                  <a:lnTo>
                    <a:pt x="8" y="117"/>
                  </a:lnTo>
                  <a:lnTo>
                    <a:pt x="23" y="118"/>
                  </a:lnTo>
                  <a:lnTo>
                    <a:pt x="29" y="122"/>
                  </a:lnTo>
                  <a:lnTo>
                    <a:pt x="45" y="117"/>
                  </a:lnTo>
                  <a:lnTo>
                    <a:pt x="39" y="122"/>
                  </a:lnTo>
                  <a:lnTo>
                    <a:pt x="27" y="125"/>
                  </a:lnTo>
                  <a:lnTo>
                    <a:pt x="13" y="135"/>
                  </a:lnTo>
                  <a:lnTo>
                    <a:pt x="0" y="144"/>
                  </a:lnTo>
                  <a:lnTo>
                    <a:pt x="5" y="146"/>
                  </a:lnTo>
                  <a:lnTo>
                    <a:pt x="8" y="144"/>
                  </a:lnTo>
                  <a:lnTo>
                    <a:pt x="24" y="143"/>
                  </a:lnTo>
                  <a:lnTo>
                    <a:pt x="30" y="138"/>
                  </a:lnTo>
                  <a:lnTo>
                    <a:pt x="42" y="135"/>
                  </a:lnTo>
                  <a:lnTo>
                    <a:pt x="58" y="134"/>
                  </a:lnTo>
                  <a:lnTo>
                    <a:pt x="81" y="134"/>
                  </a:lnTo>
                  <a:lnTo>
                    <a:pt x="97" y="124"/>
                  </a:lnTo>
                  <a:lnTo>
                    <a:pt x="85" y="121"/>
                  </a:lnTo>
                  <a:lnTo>
                    <a:pt x="90" y="117"/>
                  </a:lnTo>
                  <a:lnTo>
                    <a:pt x="101" y="105"/>
                  </a:lnTo>
                  <a:lnTo>
                    <a:pt x="97" y="98"/>
                  </a:lnTo>
                  <a:lnTo>
                    <a:pt x="81" y="99"/>
                  </a:lnTo>
                  <a:lnTo>
                    <a:pt x="82" y="93"/>
                  </a:lnTo>
                  <a:lnTo>
                    <a:pt x="72" y="83"/>
                  </a:lnTo>
                  <a:lnTo>
                    <a:pt x="77" y="85"/>
                  </a:lnTo>
                  <a:lnTo>
                    <a:pt x="75" y="77"/>
                  </a:lnTo>
                  <a:lnTo>
                    <a:pt x="65" y="69"/>
                  </a:lnTo>
                  <a:lnTo>
                    <a:pt x="50" y="47"/>
                  </a:lnTo>
                  <a:lnTo>
                    <a:pt x="32" y="44"/>
                  </a:lnTo>
                  <a:lnTo>
                    <a:pt x="43" y="41"/>
                  </a:lnTo>
                  <a:lnTo>
                    <a:pt x="36" y="38"/>
                  </a:lnTo>
                  <a:lnTo>
                    <a:pt x="40" y="37"/>
                  </a:lnTo>
                  <a:lnTo>
                    <a:pt x="55" y="18"/>
                  </a:lnTo>
                  <a:lnTo>
                    <a:pt x="29" y="18"/>
                  </a:lnTo>
                  <a:lnTo>
                    <a:pt x="23" y="16"/>
                  </a:lnTo>
                  <a:lnTo>
                    <a:pt x="27" y="15"/>
                  </a:lnTo>
                  <a:lnTo>
                    <a:pt x="37" y="3"/>
                  </a:lnTo>
                  <a:lnTo>
                    <a:pt x="17" y="0"/>
                  </a:lnTo>
                  <a:lnTo>
                    <a:pt x="13" y="6"/>
                  </a:lnTo>
                  <a:lnTo>
                    <a:pt x="11" y="12"/>
                  </a:lnTo>
                  <a:lnTo>
                    <a:pt x="7" y="13"/>
                  </a:lnTo>
                  <a:lnTo>
                    <a:pt x="5" y="19"/>
                  </a:lnTo>
                  <a:lnTo>
                    <a:pt x="5" y="21"/>
                  </a:lnTo>
                  <a:lnTo>
                    <a:pt x="5" y="24"/>
                  </a:lnTo>
                  <a:lnTo>
                    <a:pt x="1" y="32"/>
                  </a:lnTo>
                  <a:lnTo>
                    <a:pt x="2" y="34"/>
                  </a:lnTo>
                  <a:lnTo>
                    <a:pt x="0" y="35"/>
                  </a:lnTo>
                  <a:lnTo>
                    <a:pt x="10" y="32"/>
                  </a:lnTo>
                  <a:lnTo>
                    <a:pt x="8" y="34"/>
                  </a:lnTo>
                  <a:lnTo>
                    <a:pt x="1" y="56"/>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245" name="Freeform 305">
              <a:extLst>
                <a:ext uri="{FF2B5EF4-FFF2-40B4-BE49-F238E27FC236}">
                  <a16:creationId xmlns:a16="http://schemas.microsoft.com/office/drawing/2014/main" id="{6D867421-38ED-773A-BB48-B7122F365106}"/>
                </a:ext>
              </a:extLst>
            </p:cNvPr>
            <p:cNvSpPr>
              <a:spLocks/>
            </p:cNvSpPr>
            <p:nvPr/>
          </p:nvSpPr>
          <p:spPr bwMode="auto">
            <a:xfrm>
              <a:off x="4096185" y="2006318"/>
              <a:ext cx="59169" cy="39484"/>
            </a:xfrm>
            <a:custGeom>
              <a:avLst/>
              <a:gdLst>
                <a:gd name="T0" fmla="*/ 20216 w 30"/>
                <a:gd name="T1" fmla="*/ 1391487 h 20"/>
                <a:gd name="T2" fmla="*/ 20216 w 30"/>
                <a:gd name="T3" fmla="*/ 1050468 h 20"/>
                <a:gd name="T4" fmla="*/ 14722 w 30"/>
                <a:gd name="T5" fmla="*/ 0 h 20"/>
                <a:gd name="T6" fmla="*/ 6534 w 30"/>
                <a:gd name="T7" fmla="*/ 305237 h 20"/>
                <a:gd name="T8" fmla="*/ 0 w 30"/>
                <a:gd name="T9" fmla="*/ 1391487 h 20"/>
                <a:gd name="T10" fmla="*/ 8059 w 30"/>
                <a:gd name="T11" fmla="*/ 1707044 h 20"/>
                <a:gd name="T12" fmla="*/ 9080 w 30"/>
                <a:gd name="T13" fmla="*/ 1603464 h 20"/>
                <a:gd name="T14" fmla="*/ 15118 w 30"/>
                <a:gd name="T15" fmla="*/ 2017656 h 20"/>
                <a:gd name="T16" fmla="*/ 20216 w 30"/>
                <a:gd name="T17" fmla="*/ 1391487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20"/>
                <a:gd name="T29" fmla="*/ 30 w 30"/>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20">
                  <a:moveTo>
                    <a:pt x="30" y="14"/>
                  </a:moveTo>
                  <a:lnTo>
                    <a:pt x="30" y="10"/>
                  </a:lnTo>
                  <a:lnTo>
                    <a:pt x="22" y="0"/>
                  </a:lnTo>
                  <a:lnTo>
                    <a:pt x="10" y="3"/>
                  </a:lnTo>
                  <a:lnTo>
                    <a:pt x="0" y="14"/>
                  </a:lnTo>
                  <a:lnTo>
                    <a:pt x="12" y="17"/>
                  </a:lnTo>
                  <a:lnTo>
                    <a:pt x="14" y="16"/>
                  </a:lnTo>
                  <a:lnTo>
                    <a:pt x="23" y="20"/>
                  </a:lnTo>
                  <a:lnTo>
                    <a:pt x="30" y="14"/>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246" name="Freeform 306">
              <a:extLst>
                <a:ext uri="{FF2B5EF4-FFF2-40B4-BE49-F238E27FC236}">
                  <a16:creationId xmlns:a16="http://schemas.microsoft.com/office/drawing/2014/main" id="{CC5EE721-8971-1361-8398-7E86C33E32FA}"/>
                </a:ext>
              </a:extLst>
            </p:cNvPr>
            <p:cNvSpPr>
              <a:spLocks/>
            </p:cNvSpPr>
            <p:nvPr/>
          </p:nvSpPr>
          <p:spPr bwMode="auto">
            <a:xfrm>
              <a:off x="4134565" y="1927350"/>
              <a:ext cx="23988" cy="13668"/>
            </a:xfrm>
            <a:custGeom>
              <a:avLst/>
              <a:gdLst>
                <a:gd name="T0" fmla="*/ 571 w 13"/>
                <a:gd name="T1" fmla="*/ 1 h 7"/>
                <a:gd name="T2" fmla="*/ 372 w 13"/>
                <a:gd name="T3" fmla="*/ 0 h 7"/>
                <a:gd name="T4" fmla="*/ 0 w 13"/>
                <a:gd name="T5" fmla="*/ 292101 h 7"/>
                <a:gd name="T6" fmla="*/ 954 w 13"/>
                <a:gd name="T7" fmla="*/ 438027 h 7"/>
                <a:gd name="T8" fmla="*/ 1101 w 13"/>
                <a:gd name="T9" fmla="*/ 417287 h 7"/>
                <a:gd name="T10" fmla="*/ 571 w 13"/>
                <a:gd name="T11" fmla="*/ 1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7" y="1"/>
                  </a:moveTo>
                  <a:lnTo>
                    <a:pt x="4" y="0"/>
                  </a:lnTo>
                  <a:lnTo>
                    <a:pt x="0" y="4"/>
                  </a:lnTo>
                  <a:lnTo>
                    <a:pt x="11" y="7"/>
                  </a:lnTo>
                  <a:lnTo>
                    <a:pt x="13" y="6"/>
                  </a:lnTo>
                  <a:lnTo>
                    <a:pt x="7"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7" name="Freeform 307">
              <a:extLst>
                <a:ext uri="{FF2B5EF4-FFF2-40B4-BE49-F238E27FC236}">
                  <a16:creationId xmlns:a16="http://schemas.microsoft.com/office/drawing/2014/main" id="{12D3032A-9000-7C7A-1E82-F1C2D0330C77}"/>
                </a:ext>
              </a:extLst>
            </p:cNvPr>
            <p:cNvSpPr>
              <a:spLocks/>
            </p:cNvSpPr>
            <p:nvPr/>
          </p:nvSpPr>
          <p:spPr bwMode="auto">
            <a:xfrm>
              <a:off x="4128168" y="1900014"/>
              <a:ext cx="23988" cy="16705"/>
            </a:xfrm>
            <a:custGeom>
              <a:avLst/>
              <a:gdLst>
                <a:gd name="T0" fmla="*/ 12209 w 12"/>
                <a:gd name="T1" fmla="*/ 699913 h 8"/>
                <a:gd name="T2" fmla="*/ 10350 w 12"/>
                <a:gd name="T3" fmla="*/ 0 h 8"/>
                <a:gd name="T4" fmla="*/ 3391 w 12"/>
                <a:gd name="T5" fmla="*/ 699913 h 8"/>
                <a:gd name="T6" fmla="*/ 0 w 12"/>
                <a:gd name="T7" fmla="*/ 2261947 h 8"/>
                <a:gd name="T8" fmla="*/ 12209 w 12"/>
                <a:gd name="T9" fmla="*/ 699913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12" y="3"/>
                  </a:moveTo>
                  <a:lnTo>
                    <a:pt x="10" y="0"/>
                  </a:lnTo>
                  <a:lnTo>
                    <a:pt x="3" y="3"/>
                  </a:lnTo>
                  <a:lnTo>
                    <a:pt x="0" y="8"/>
                  </a:lnTo>
                  <a:lnTo>
                    <a:pt x="12"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8" name="Freeform 308">
              <a:extLst>
                <a:ext uri="{FF2B5EF4-FFF2-40B4-BE49-F238E27FC236}">
                  <a16:creationId xmlns:a16="http://schemas.microsoft.com/office/drawing/2014/main" id="{C5D53685-CBC1-8D30-7A7A-387F5F991480}"/>
                </a:ext>
              </a:extLst>
            </p:cNvPr>
            <p:cNvSpPr>
              <a:spLocks/>
            </p:cNvSpPr>
            <p:nvPr/>
          </p:nvSpPr>
          <p:spPr bwMode="auto">
            <a:xfrm>
              <a:off x="4264097" y="1830158"/>
              <a:ext cx="12793" cy="13668"/>
            </a:xfrm>
            <a:custGeom>
              <a:avLst/>
              <a:gdLst>
                <a:gd name="T0" fmla="*/ 20671 w 6"/>
                <a:gd name="T1" fmla="*/ 0 h 7"/>
                <a:gd name="T2" fmla="*/ 15503 w 6"/>
                <a:gd name="T3" fmla="*/ 204471 h 7"/>
                <a:gd name="T4" fmla="*/ 0 w 6"/>
                <a:gd name="T5" fmla="*/ 417287 h 7"/>
                <a:gd name="T6" fmla="*/ 15503 w 6"/>
                <a:gd name="T7" fmla="*/ 438027 h 7"/>
                <a:gd name="T8" fmla="*/ 47519 w 6"/>
                <a:gd name="T9" fmla="*/ 0 h 7"/>
                <a:gd name="T10" fmla="*/ 20671 w 6"/>
                <a:gd name="T11" fmla="*/ 0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3" y="0"/>
                  </a:moveTo>
                  <a:lnTo>
                    <a:pt x="2" y="3"/>
                  </a:lnTo>
                  <a:lnTo>
                    <a:pt x="0" y="6"/>
                  </a:lnTo>
                  <a:lnTo>
                    <a:pt x="2" y="7"/>
                  </a:lnTo>
                  <a:lnTo>
                    <a:pt x="6" y="0"/>
                  </a:lnTo>
                  <a:lnTo>
                    <a:pt x="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49" name="Freeform 309">
              <a:extLst>
                <a:ext uri="{FF2B5EF4-FFF2-40B4-BE49-F238E27FC236}">
                  <a16:creationId xmlns:a16="http://schemas.microsoft.com/office/drawing/2014/main" id="{1BB41076-B074-6C33-42A8-A3158F1144E5}"/>
                </a:ext>
              </a:extLst>
            </p:cNvPr>
            <p:cNvSpPr>
              <a:spLocks/>
            </p:cNvSpPr>
            <p:nvPr/>
          </p:nvSpPr>
          <p:spPr bwMode="auto">
            <a:xfrm>
              <a:off x="4148958" y="1965315"/>
              <a:ext cx="9595" cy="6074"/>
            </a:xfrm>
            <a:custGeom>
              <a:avLst/>
              <a:gdLst>
                <a:gd name="T0" fmla="*/ 0 w 6"/>
                <a:gd name="T1" fmla="*/ 21788986 h 3"/>
                <a:gd name="T2" fmla="*/ 6 w 6"/>
                <a:gd name="T3" fmla="*/ 0 h 3"/>
                <a:gd name="T4" fmla="*/ 0 w 6"/>
                <a:gd name="T5" fmla="*/ 0 h 3"/>
                <a:gd name="T6" fmla="*/ 0 w 6"/>
                <a:gd name="T7" fmla="*/ 21788986 h 3"/>
                <a:gd name="T8" fmla="*/ 0 60000 65536"/>
                <a:gd name="T9" fmla="*/ 0 60000 65536"/>
                <a:gd name="T10" fmla="*/ 0 60000 65536"/>
                <a:gd name="T11" fmla="*/ 0 60000 65536"/>
                <a:gd name="T12" fmla="*/ 0 w 6"/>
                <a:gd name="T13" fmla="*/ 0 h 3"/>
                <a:gd name="T14" fmla="*/ 6 w 6"/>
                <a:gd name="T15" fmla="*/ 3 h 3"/>
              </a:gdLst>
              <a:ahLst/>
              <a:cxnLst>
                <a:cxn ang="T8">
                  <a:pos x="T0" y="T1"/>
                </a:cxn>
                <a:cxn ang="T9">
                  <a:pos x="T2" y="T3"/>
                </a:cxn>
                <a:cxn ang="T10">
                  <a:pos x="T4" y="T5"/>
                </a:cxn>
                <a:cxn ang="T11">
                  <a:pos x="T6" y="T7"/>
                </a:cxn>
              </a:cxnLst>
              <a:rect l="T12" t="T13" r="T14" b="T15"/>
              <a:pathLst>
                <a:path w="6" h="3">
                  <a:moveTo>
                    <a:pt x="0" y="3"/>
                  </a:moveTo>
                  <a:lnTo>
                    <a:pt x="6" y="0"/>
                  </a:lnTo>
                  <a:lnTo>
                    <a:pt x="0" y="0"/>
                  </a:lnTo>
                  <a:lnTo>
                    <a:pt x="0"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0" name="Freeform 310">
              <a:extLst>
                <a:ext uri="{FF2B5EF4-FFF2-40B4-BE49-F238E27FC236}">
                  <a16:creationId xmlns:a16="http://schemas.microsoft.com/office/drawing/2014/main" id="{37BFC647-79FC-1901-C20B-6293651FDDF1}"/>
                </a:ext>
              </a:extLst>
            </p:cNvPr>
            <p:cNvSpPr>
              <a:spLocks/>
            </p:cNvSpPr>
            <p:nvPr/>
          </p:nvSpPr>
          <p:spPr bwMode="auto">
            <a:xfrm>
              <a:off x="4185738" y="2065544"/>
              <a:ext cx="11195" cy="10630"/>
            </a:xfrm>
            <a:custGeom>
              <a:avLst/>
              <a:gdLst>
                <a:gd name="T0" fmla="*/ 176176 w 5"/>
                <a:gd name="T1" fmla="*/ 176176 h 5"/>
                <a:gd name="T2" fmla="*/ 0 w 5"/>
                <a:gd name="T3" fmla="*/ 0 h 5"/>
                <a:gd name="T4" fmla="*/ 0 w 5"/>
                <a:gd name="T5" fmla="*/ 176176 h 5"/>
                <a:gd name="T6" fmla="*/ 176176 w 5"/>
                <a:gd name="T7" fmla="*/ 176176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5"/>
                  </a:moveTo>
                  <a:lnTo>
                    <a:pt x="0" y="0"/>
                  </a:lnTo>
                  <a:lnTo>
                    <a:pt x="0" y="5"/>
                  </a:lnTo>
                  <a:lnTo>
                    <a:pt x="5" y="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1" name="Freeform 311">
              <a:extLst>
                <a:ext uri="{FF2B5EF4-FFF2-40B4-BE49-F238E27FC236}">
                  <a16:creationId xmlns:a16="http://schemas.microsoft.com/office/drawing/2014/main" id="{81E305FE-A143-EC91-EF32-C67E3806FD09}"/>
                </a:ext>
              </a:extLst>
            </p:cNvPr>
            <p:cNvSpPr>
              <a:spLocks/>
            </p:cNvSpPr>
            <p:nvPr/>
          </p:nvSpPr>
          <p:spPr bwMode="auto">
            <a:xfrm>
              <a:off x="4344055" y="2446717"/>
              <a:ext cx="7996" cy="6074"/>
            </a:xfrm>
            <a:custGeom>
              <a:avLst/>
              <a:gdLst>
                <a:gd name="T0" fmla="*/ 3392 w 4"/>
                <a:gd name="T1" fmla="*/ 0 h 3"/>
                <a:gd name="T2" fmla="*/ 0 w 4"/>
                <a:gd name="T3" fmla="*/ 0 h 3"/>
                <a:gd name="T4" fmla="*/ 0 w 4"/>
                <a:gd name="T5" fmla="*/ 13073399 h 3"/>
                <a:gd name="T6" fmla="*/ 2714 w 4"/>
                <a:gd name="T7" fmla="*/ 21788986 h 3"/>
                <a:gd name="T8" fmla="*/ 3392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0"/>
                  </a:moveTo>
                  <a:lnTo>
                    <a:pt x="0" y="0"/>
                  </a:lnTo>
                  <a:lnTo>
                    <a:pt x="0" y="2"/>
                  </a:lnTo>
                  <a:lnTo>
                    <a:pt x="3" y="3"/>
                  </a:lnTo>
                  <a:lnTo>
                    <a:pt x="4"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2" name="Freeform 312">
              <a:extLst>
                <a:ext uri="{FF2B5EF4-FFF2-40B4-BE49-F238E27FC236}">
                  <a16:creationId xmlns:a16="http://schemas.microsoft.com/office/drawing/2014/main" id="{8D137649-D1C2-8884-0128-179866FE2B30}"/>
                </a:ext>
              </a:extLst>
            </p:cNvPr>
            <p:cNvSpPr>
              <a:spLocks/>
            </p:cNvSpPr>
            <p:nvPr/>
          </p:nvSpPr>
          <p:spPr bwMode="auto">
            <a:xfrm>
              <a:off x="913856" y="2808148"/>
              <a:ext cx="802778" cy="649969"/>
            </a:xfrm>
            <a:custGeom>
              <a:avLst/>
              <a:gdLst>
                <a:gd name="T0" fmla="*/ 15067 w 418"/>
                <a:gd name="T1" fmla="*/ 10730738 h 324"/>
                <a:gd name="T2" fmla="*/ 10062 w 418"/>
                <a:gd name="T3" fmla="*/ 7724030 h 324"/>
                <a:gd name="T4" fmla="*/ 3985 w 418"/>
                <a:gd name="T5" fmla="*/ 6431865 h 324"/>
                <a:gd name="T6" fmla="*/ 5809 w 418"/>
                <a:gd name="T7" fmla="*/ 4786787 h 324"/>
                <a:gd name="T8" fmla="*/ 1 w 418"/>
                <a:gd name="T9" fmla="*/ 1728273 h 324"/>
                <a:gd name="T10" fmla="*/ 10447 w 418"/>
                <a:gd name="T11" fmla="*/ 0 h 324"/>
                <a:gd name="T12" fmla="*/ 20930 w 418"/>
                <a:gd name="T13" fmla="*/ 1138027 h 324"/>
                <a:gd name="T14" fmla="*/ 37580 w 418"/>
                <a:gd name="T15" fmla="*/ 1555119 h 324"/>
                <a:gd name="T16" fmla="*/ 49285 w 418"/>
                <a:gd name="T17" fmla="*/ 2217141 h 324"/>
                <a:gd name="T18" fmla="*/ 56068 w 418"/>
                <a:gd name="T19" fmla="*/ 4436335 h 324"/>
                <a:gd name="T20" fmla="*/ 67335 w 418"/>
                <a:gd name="T21" fmla="*/ 4861021 h 324"/>
                <a:gd name="T22" fmla="*/ 73860 w 418"/>
                <a:gd name="T23" fmla="*/ 7942781 h 324"/>
                <a:gd name="T24" fmla="*/ 73860 w 418"/>
                <a:gd name="T25" fmla="*/ 11416707 h 324"/>
                <a:gd name="T26" fmla="*/ 76165 w 418"/>
                <a:gd name="T27" fmla="*/ 15367474 h 324"/>
                <a:gd name="T28" fmla="*/ 78918 w 418"/>
                <a:gd name="T29" fmla="*/ 16971389 h 324"/>
                <a:gd name="T30" fmla="*/ 93074 w 418"/>
                <a:gd name="T31" fmla="*/ 17289453 h 324"/>
                <a:gd name="T32" fmla="*/ 99624 w 418"/>
                <a:gd name="T33" fmla="*/ 17127717 h 324"/>
                <a:gd name="T34" fmla="*/ 104913 w 418"/>
                <a:gd name="T35" fmla="*/ 14504709 h 324"/>
                <a:gd name="T36" fmla="*/ 118805 w 418"/>
                <a:gd name="T37" fmla="*/ 13596289 h 324"/>
                <a:gd name="T38" fmla="*/ 122068 w 418"/>
                <a:gd name="T39" fmla="*/ 14071895 h 324"/>
                <a:gd name="T40" fmla="*/ 117233 w 418"/>
                <a:gd name="T41" fmla="*/ 16187802 h 324"/>
                <a:gd name="T42" fmla="*/ 114125 w 418"/>
                <a:gd name="T43" fmla="*/ 17127717 h 324"/>
                <a:gd name="T44" fmla="*/ 104799 w 418"/>
                <a:gd name="T45" fmla="*/ 18221611 h 324"/>
                <a:gd name="T46" fmla="*/ 98743 w 418"/>
                <a:gd name="T47" fmla="*/ 19009849 h 324"/>
                <a:gd name="T48" fmla="*/ 93074 w 418"/>
                <a:gd name="T49" fmla="*/ 21236968 h 324"/>
                <a:gd name="T50" fmla="*/ 83806 w 418"/>
                <a:gd name="T51" fmla="*/ 20058798 h 324"/>
                <a:gd name="T52" fmla="*/ 80866 w 418"/>
                <a:gd name="T53" fmla="*/ 20058798 h 324"/>
                <a:gd name="T54" fmla="*/ 72740 w 418"/>
                <a:gd name="T55" fmla="*/ 20772167 h 324"/>
                <a:gd name="T56" fmla="*/ 57706 w 418"/>
                <a:gd name="T57" fmla="*/ 19126273 h 324"/>
                <a:gd name="T58" fmla="*/ 46104 w 418"/>
                <a:gd name="T59" fmla="*/ 17695218 h 324"/>
                <a:gd name="T60" fmla="*/ 36291 w 418"/>
                <a:gd name="T61" fmla="*/ 15804951 h 324"/>
                <a:gd name="T62" fmla="*/ 37580 w 418"/>
                <a:gd name="T63" fmla="*/ 14408736 h 324"/>
                <a:gd name="T64" fmla="*/ 34967 w 418"/>
                <a:gd name="T65" fmla="*/ 11704158 h 324"/>
                <a:gd name="T66" fmla="*/ 30963 w 418"/>
                <a:gd name="T67" fmla="*/ 10128288 h 324"/>
                <a:gd name="T68" fmla="*/ 29085 w 418"/>
                <a:gd name="T69" fmla="*/ 9211064 h 324"/>
                <a:gd name="T70" fmla="*/ 24244 w 418"/>
                <a:gd name="T71" fmla="*/ 8510292 h 324"/>
                <a:gd name="T72" fmla="*/ 20930 w 418"/>
                <a:gd name="T73" fmla="*/ 6179060 h 324"/>
                <a:gd name="T74" fmla="*/ 16126 w 418"/>
                <a:gd name="T75" fmla="*/ 4168413 h 324"/>
                <a:gd name="T76" fmla="*/ 11720 w 418"/>
                <a:gd name="T77" fmla="*/ 1395493 h 324"/>
                <a:gd name="T78" fmla="*/ 7243 w 418"/>
                <a:gd name="T79" fmla="*/ 3500293 h 324"/>
                <a:gd name="T80" fmla="*/ 13199 w 418"/>
                <a:gd name="T81" fmla="*/ 6353266 h 324"/>
                <a:gd name="T82" fmla="*/ 15851 w 418"/>
                <a:gd name="T83" fmla="*/ 8549022 h 324"/>
                <a:gd name="T84" fmla="*/ 20300 w 418"/>
                <a:gd name="T85" fmla="*/ 10953916 h 3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18"/>
                <a:gd name="T130" fmla="*/ 0 h 324"/>
                <a:gd name="T131" fmla="*/ 418 w 418"/>
                <a:gd name="T132" fmla="*/ 324 h 3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18" h="324">
                  <a:moveTo>
                    <a:pt x="72" y="169"/>
                  </a:moveTo>
                  <a:lnTo>
                    <a:pt x="62" y="173"/>
                  </a:lnTo>
                  <a:lnTo>
                    <a:pt x="52" y="157"/>
                  </a:lnTo>
                  <a:lnTo>
                    <a:pt x="38" y="141"/>
                  </a:lnTo>
                  <a:lnTo>
                    <a:pt x="39" y="126"/>
                  </a:lnTo>
                  <a:lnTo>
                    <a:pt x="35" y="113"/>
                  </a:lnTo>
                  <a:lnTo>
                    <a:pt x="29" y="103"/>
                  </a:lnTo>
                  <a:lnTo>
                    <a:pt x="20" y="103"/>
                  </a:lnTo>
                  <a:lnTo>
                    <a:pt x="13" y="94"/>
                  </a:lnTo>
                  <a:lnTo>
                    <a:pt x="6" y="86"/>
                  </a:lnTo>
                  <a:lnTo>
                    <a:pt x="17" y="89"/>
                  </a:lnTo>
                  <a:lnTo>
                    <a:pt x="20" y="70"/>
                  </a:lnTo>
                  <a:lnTo>
                    <a:pt x="13" y="58"/>
                  </a:lnTo>
                  <a:lnTo>
                    <a:pt x="4" y="47"/>
                  </a:lnTo>
                  <a:lnTo>
                    <a:pt x="1" y="25"/>
                  </a:lnTo>
                  <a:lnTo>
                    <a:pt x="0" y="1"/>
                  </a:lnTo>
                  <a:lnTo>
                    <a:pt x="19" y="0"/>
                  </a:lnTo>
                  <a:lnTo>
                    <a:pt x="36" y="0"/>
                  </a:lnTo>
                  <a:lnTo>
                    <a:pt x="48" y="6"/>
                  </a:lnTo>
                  <a:lnTo>
                    <a:pt x="59" y="12"/>
                  </a:lnTo>
                  <a:lnTo>
                    <a:pt x="72" y="17"/>
                  </a:lnTo>
                  <a:lnTo>
                    <a:pt x="84" y="23"/>
                  </a:lnTo>
                  <a:lnTo>
                    <a:pt x="106" y="23"/>
                  </a:lnTo>
                  <a:lnTo>
                    <a:pt x="128" y="23"/>
                  </a:lnTo>
                  <a:lnTo>
                    <a:pt x="129" y="15"/>
                  </a:lnTo>
                  <a:lnTo>
                    <a:pt x="155" y="15"/>
                  </a:lnTo>
                  <a:lnTo>
                    <a:pt x="168" y="32"/>
                  </a:lnTo>
                  <a:lnTo>
                    <a:pt x="173" y="51"/>
                  </a:lnTo>
                  <a:lnTo>
                    <a:pt x="183" y="58"/>
                  </a:lnTo>
                  <a:lnTo>
                    <a:pt x="192" y="65"/>
                  </a:lnTo>
                  <a:lnTo>
                    <a:pt x="202" y="52"/>
                  </a:lnTo>
                  <a:lnTo>
                    <a:pt x="224" y="54"/>
                  </a:lnTo>
                  <a:lnTo>
                    <a:pt x="231" y="71"/>
                  </a:lnTo>
                  <a:lnTo>
                    <a:pt x="237" y="87"/>
                  </a:lnTo>
                  <a:lnTo>
                    <a:pt x="242" y="108"/>
                  </a:lnTo>
                  <a:lnTo>
                    <a:pt x="253" y="116"/>
                  </a:lnTo>
                  <a:lnTo>
                    <a:pt x="271" y="119"/>
                  </a:lnTo>
                  <a:lnTo>
                    <a:pt x="261" y="144"/>
                  </a:lnTo>
                  <a:lnTo>
                    <a:pt x="253" y="167"/>
                  </a:lnTo>
                  <a:lnTo>
                    <a:pt x="250" y="192"/>
                  </a:lnTo>
                  <a:lnTo>
                    <a:pt x="256" y="209"/>
                  </a:lnTo>
                  <a:lnTo>
                    <a:pt x="261" y="225"/>
                  </a:lnTo>
                  <a:lnTo>
                    <a:pt x="266" y="237"/>
                  </a:lnTo>
                  <a:lnTo>
                    <a:pt x="270" y="248"/>
                  </a:lnTo>
                  <a:lnTo>
                    <a:pt x="271" y="248"/>
                  </a:lnTo>
                  <a:lnTo>
                    <a:pt x="289" y="257"/>
                  </a:lnTo>
                  <a:lnTo>
                    <a:pt x="302" y="256"/>
                  </a:lnTo>
                  <a:lnTo>
                    <a:pt x="319" y="253"/>
                  </a:lnTo>
                  <a:lnTo>
                    <a:pt x="330" y="251"/>
                  </a:lnTo>
                  <a:lnTo>
                    <a:pt x="337" y="254"/>
                  </a:lnTo>
                  <a:lnTo>
                    <a:pt x="341" y="250"/>
                  </a:lnTo>
                  <a:lnTo>
                    <a:pt x="341" y="247"/>
                  </a:lnTo>
                  <a:lnTo>
                    <a:pt x="353" y="234"/>
                  </a:lnTo>
                  <a:lnTo>
                    <a:pt x="360" y="212"/>
                  </a:lnTo>
                  <a:lnTo>
                    <a:pt x="378" y="203"/>
                  </a:lnTo>
                  <a:lnTo>
                    <a:pt x="392" y="201"/>
                  </a:lnTo>
                  <a:lnTo>
                    <a:pt x="407" y="199"/>
                  </a:lnTo>
                  <a:lnTo>
                    <a:pt x="411" y="199"/>
                  </a:lnTo>
                  <a:lnTo>
                    <a:pt x="417" y="203"/>
                  </a:lnTo>
                  <a:lnTo>
                    <a:pt x="418" y="206"/>
                  </a:lnTo>
                  <a:lnTo>
                    <a:pt x="404" y="228"/>
                  </a:lnTo>
                  <a:lnTo>
                    <a:pt x="401" y="235"/>
                  </a:lnTo>
                  <a:lnTo>
                    <a:pt x="401" y="237"/>
                  </a:lnTo>
                  <a:lnTo>
                    <a:pt x="401" y="238"/>
                  </a:lnTo>
                  <a:lnTo>
                    <a:pt x="394" y="256"/>
                  </a:lnTo>
                  <a:lnTo>
                    <a:pt x="391" y="250"/>
                  </a:lnTo>
                  <a:lnTo>
                    <a:pt x="388" y="254"/>
                  </a:lnTo>
                  <a:lnTo>
                    <a:pt x="373" y="266"/>
                  </a:lnTo>
                  <a:lnTo>
                    <a:pt x="359" y="266"/>
                  </a:lnTo>
                  <a:lnTo>
                    <a:pt x="344" y="266"/>
                  </a:lnTo>
                  <a:lnTo>
                    <a:pt x="343" y="276"/>
                  </a:lnTo>
                  <a:lnTo>
                    <a:pt x="338" y="278"/>
                  </a:lnTo>
                  <a:lnTo>
                    <a:pt x="348" y="295"/>
                  </a:lnTo>
                  <a:lnTo>
                    <a:pt x="328" y="298"/>
                  </a:lnTo>
                  <a:lnTo>
                    <a:pt x="319" y="311"/>
                  </a:lnTo>
                  <a:lnTo>
                    <a:pt x="317" y="324"/>
                  </a:lnTo>
                  <a:lnTo>
                    <a:pt x="302" y="309"/>
                  </a:lnTo>
                  <a:lnTo>
                    <a:pt x="287" y="293"/>
                  </a:lnTo>
                  <a:lnTo>
                    <a:pt x="293" y="298"/>
                  </a:lnTo>
                  <a:lnTo>
                    <a:pt x="285" y="293"/>
                  </a:lnTo>
                  <a:lnTo>
                    <a:pt x="277" y="293"/>
                  </a:lnTo>
                  <a:lnTo>
                    <a:pt x="280" y="295"/>
                  </a:lnTo>
                  <a:lnTo>
                    <a:pt x="264" y="299"/>
                  </a:lnTo>
                  <a:lnTo>
                    <a:pt x="250" y="304"/>
                  </a:lnTo>
                  <a:lnTo>
                    <a:pt x="232" y="295"/>
                  </a:lnTo>
                  <a:lnTo>
                    <a:pt x="215" y="288"/>
                  </a:lnTo>
                  <a:lnTo>
                    <a:pt x="197" y="279"/>
                  </a:lnTo>
                  <a:lnTo>
                    <a:pt x="180" y="270"/>
                  </a:lnTo>
                  <a:lnTo>
                    <a:pt x="170" y="264"/>
                  </a:lnTo>
                  <a:lnTo>
                    <a:pt x="158" y="259"/>
                  </a:lnTo>
                  <a:lnTo>
                    <a:pt x="148" y="251"/>
                  </a:lnTo>
                  <a:lnTo>
                    <a:pt x="136" y="241"/>
                  </a:lnTo>
                  <a:lnTo>
                    <a:pt x="125" y="231"/>
                  </a:lnTo>
                  <a:lnTo>
                    <a:pt x="123" y="218"/>
                  </a:lnTo>
                  <a:lnTo>
                    <a:pt x="129" y="215"/>
                  </a:lnTo>
                  <a:lnTo>
                    <a:pt x="128" y="211"/>
                  </a:lnTo>
                  <a:lnTo>
                    <a:pt x="131" y="199"/>
                  </a:lnTo>
                  <a:lnTo>
                    <a:pt x="126" y="186"/>
                  </a:lnTo>
                  <a:lnTo>
                    <a:pt x="120" y="171"/>
                  </a:lnTo>
                  <a:lnTo>
                    <a:pt x="112" y="158"/>
                  </a:lnTo>
                  <a:lnTo>
                    <a:pt x="102" y="147"/>
                  </a:lnTo>
                  <a:lnTo>
                    <a:pt x="106" y="148"/>
                  </a:lnTo>
                  <a:lnTo>
                    <a:pt x="100" y="138"/>
                  </a:lnTo>
                  <a:lnTo>
                    <a:pt x="97" y="137"/>
                  </a:lnTo>
                  <a:lnTo>
                    <a:pt x="99" y="135"/>
                  </a:lnTo>
                  <a:lnTo>
                    <a:pt x="87" y="128"/>
                  </a:lnTo>
                  <a:lnTo>
                    <a:pt x="90" y="125"/>
                  </a:lnTo>
                  <a:lnTo>
                    <a:pt x="83" y="124"/>
                  </a:lnTo>
                  <a:lnTo>
                    <a:pt x="88" y="113"/>
                  </a:lnTo>
                  <a:lnTo>
                    <a:pt x="81" y="108"/>
                  </a:lnTo>
                  <a:lnTo>
                    <a:pt x="72" y="90"/>
                  </a:lnTo>
                  <a:lnTo>
                    <a:pt x="72" y="84"/>
                  </a:lnTo>
                  <a:lnTo>
                    <a:pt x="62" y="77"/>
                  </a:lnTo>
                  <a:lnTo>
                    <a:pt x="56" y="61"/>
                  </a:lnTo>
                  <a:lnTo>
                    <a:pt x="51" y="47"/>
                  </a:lnTo>
                  <a:lnTo>
                    <a:pt x="51" y="25"/>
                  </a:lnTo>
                  <a:lnTo>
                    <a:pt x="40" y="20"/>
                  </a:lnTo>
                  <a:lnTo>
                    <a:pt x="29" y="13"/>
                  </a:lnTo>
                  <a:lnTo>
                    <a:pt x="26" y="32"/>
                  </a:lnTo>
                  <a:lnTo>
                    <a:pt x="25" y="51"/>
                  </a:lnTo>
                  <a:lnTo>
                    <a:pt x="32" y="65"/>
                  </a:lnTo>
                  <a:lnTo>
                    <a:pt x="40" y="81"/>
                  </a:lnTo>
                  <a:lnTo>
                    <a:pt x="45" y="93"/>
                  </a:lnTo>
                  <a:lnTo>
                    <a:pt x="49" y="106"/>
                  </a:lnTo>
                  <a:lnTo>
                    <a:pt x="51" y="105"/>
                  </a:lnTo>
                  <a:lnTo>
                    <a:pt x="54" y="125"/>
                  </a:lnTo>
                  <a:lnTo>
                    <a:pt x="56" y="147"/>
                  </a:lnTo>
                  <a:lnTo>
                    <a:pt x="62" y="151"/>
                  </a:lnTo>
                  <a:lnTo>
                    <a:pt x="70" y="160"/>
                  </a:lnTo>
                  <a:lnTo>
                    <a:pt x="72" y="169"/>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3" name="Freeform 313">
              <a:extLst>
                <a:ext uri="{FF2B5EF4-FFF2-40B4-BE49-F238E27FC236}">
                  <a16:creationId xmlns:a16="http://schemas.microsoft.com/office/drawing/2014/main" id="{A5B79B6E-E078-F974-FF14-1B8539F1C707}"/>
                </a:ext>
              </a:extLst>
            </p:cNvPr>
            <p:cNvSpPr>
              <a:spLocks/>
            </p:cNvSpPr>
            <p:nvPr/>
          </p:nvSpPr>
          <p:spPr bwMode="auto">
            <a:xfrm>
              <a:off x="2010880" y="3014680"/>
              <a:ext cx="19189" cy="31892"/>
            </a:xfrm>
            <a:custGeom>
              <a:avLst/>
              <a:gdLst>
                <a:gd name="T0" fmla="*/ 97 w 11"/>
                <a:gd name="T1" fmla="*/ 1232281 h 16"/>
                <a:gd name="T2" fmla="*/ 116 w 11"/>
                <a:gd name="T3" fmla="*/ 695485 h 16"/>
                <a:gd name="T4" fmla="*/ 0 w 11"/>
                <a:gd name="T5" fmla="*/ 0 h 16"/>
                <a:gd name="T6" fmla="*/ 152 w 11"/>
                <a:gd name="T7" fmla="*/ 750218 h 16"/>
                <a:gd name="T8" fmla="*/ 97 w 11"/>
                <a:gd name="T9" fmla="*/ 1232281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6" y="16"/>
                  </a:moveTo>
                  <a:lnTo>
                    <a:pt x="8" y="9"/>
                  </a:lnTo>
                  <a:lnTo>
                    <a:pt x="0" y="0"/>
                  </a:lnTo>
                  <a:lnTo>
                    <a:pt x="11" y="10"/>
                  </a:lnTo>
                  <a:lnTo>
                    <a:pt x="6" y="1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4" name="Freeform 314">
              <a:extLst>
                <a:ext uri="{FF2B5EF4-FFF2-40B4-BE49-F238E27FC236}">
                  <a16:creationId xmlns:a16="http://schemas.microsoft.com/office/drawing/2014/main" id="{420E015B-CD77-9E9F-5FC1-2992416149D4}"/>
                </a:ext>
              </a:extLst>
            </p:cNvPr>
            <p:cNvSpPr>
              <a:spLocks/>
            </p:cNvSpPr>
            <p:nvPr/>
          </p:nvSpPr>
          <p:spPr bwMode="auto">
            <a:xfrm>
              <a:off x="1790196" y="3638833"/>
              <a:ext cx="97549" cy="85042"/>
            </a:xfrm>
            <a:custGeom>
              <a:avLst/>
              <a:gdLst>
                <a:gd name="T0" fmla="*/ 0 w 51"/>
                <a:gd name="T1" fmla="*/ 1766529 h 42"/>
                <a:gd name="T2" fmla="*/ 1 w 51"/>
                <a:gd name="T3" fmla="*/ 851606 h 42"/>
                <a:gd name="T4" fmla="*/ 0 w 51"/>
                <a:gd name="T5" fmla="*/ 143130 h 42"/>
                <a:gd name="T6" fmla="*/ 1511 w 51"/>
                <a:gd name="T7" fmla="*/ 0 h 42"/>
                <a:gd name="T8" fmla="*/ 2585 w 51"/>
                <a:gd name="T9" fmla="*/ 438027 h 42"/>
                <a:gd name="T10" fmla="*/ 4423 w 51"/>
                <a:gd name="T11" fmla="*/ 625753 h 42"/>
                <a:gd name="T12" fmla="*/ 5917 w 51"/>
                <a:gd name="T13" fmla="*/ 923823 h 42"/>
                <a:gd name="T14" fmla="*/ 11661 w 51"/>
                <a:gd name="T15" fmla="*/ 417287 h 42"/>
                <a:gd name="T16" fmla="*/ 12273 w 51"/>
                <a:gd name="T17" fmla="*/ 596124 h 42"/>
                <a:gd name="T18" fmla="*/ 13059 w 51"/>
                <a:gd name="T19" fmla="*/ 851606 h 42"/>
                <a:gd name="T20" fmla="*/ 9749 w 51"/>
                <a:gd name="T21" fmla="*/ 1586644 h 42"/>
                <a:gd name="T22" fmla="*/ 11661 w 51"/>
                <a:gd name="T23" fmla="*/ 2266634 h 42"/>
                <a:gd name="T24" fmla="*/ 8151 w 51"/>
                <a:gd name="T25" fmla="*/ 2677991 h 42"/>
                <a:gd name="T26" fmla="*/ 7568 w 51"/>
                <a:gd name="T27" fmla="*/ 1962971 h 42"/>
                <a:gd name="T28" fmla="*/ 6608 w 51"/>
                <a:gd name="T29" fmla="*/ 2192517 h 42"/>
                <a:gd name="T30" fmla="*/ 4947 w 51"/>
                <a:gd name="T31" fmla="*/ 1766529 h 42"/>
                <a:gd name="T32" fmla="*/ 1056 w 51"/>
                <a:gd name="T33" fmla="*/ 1374080 h 42"/>
                <a:gd name="T34" fmla="*/ 0 w 51"/>
                <a:gd name="T35" fmla="*/ 1766529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1"/>
                <a:gd name="T55" fmla="*/ 0 h 42"/>
                <a:gd name="T56" fmla="*/ 51 w 51"/>
                <a:gd name="T57" fmla="*/ 42 h 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1" h="42">
                  <a:moveTo>
                    <a:pt x="0" y="28"/>
                  </a:moveTo>
                  <a:lnTo>
                    <a:pt x="1" y="13"/>
                  </a:lnTo>
                  <a:lnTo>
                    <a:pt x="0" y="2"/>
                  </a:lnTo>
                  <a:lnTo>
                    <a:pt x="6" y="0"/>
                  </a:lnTo>
                  <a:lnTo>
                    <a:pt x="10" y="7"/>
                  </a:lnTo>
                  <a:lnTo>
                    <a:pt x="17" y="10"/>
                  </a:lnTo>
                  <a:lnTo>
                    <a:pt x="23" y="15"/>
                  </a:lnTo>
                  <a:lnTo>
                    <a:pt x="45" y="6"/>
                  </a:lnTo>
                  <a:lnTo>
                    <a:pt x="48" y="9"/>
                  </a:lnTo>
                  <a:lnTo>
                    <a:pt x="51" y="13"/>
                  </a:lnTo>
                  <a:lnTo>
                    <a:pt x="38" y="25"/>
                  </a:lnTo>
                  <a:lnTo>
                    <a:pt x="45" y="36"/>
                  </a:lnTo>
                  <a:lnTo>
                    <a:pt x="32" y="42"/>
                  </a:lnTo>
                  <a:lnTo>
                    <a:pt x="29" y="31"/>
                  </a:lnTo>
                  <a:lnTo>
                    <a:pt x="26" y="35"/>
                  </a:lnTo>
                  <a:lnTo>
                    <a:pt x="19" y="28"/>
                  </a:lnTo>
                  <a:lnTo>
                    <a:pt x="4" y="22"/>
                  </a:lnTo>
                  <a:lnTo>
                    <a:pt x="0" y="2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5" name="Freeform 315">
              <a:extLst>
                <a:ext uri="{FF2B5EF4-FFF2-40B4-BE49-F238E27FC236}">
                  <a16:creationId xmlns:a16="http://schemas.microsoft.com/office/drawing/2014/main" id="{ED9D5600-C86E-29E8-B0FB-1F86A5B1C05F}"/>
                </a:ext>
              </a:extLst>
            </p:cNvPr>
            <p:cNvSpPr>
              <a:spLocks/>
            </p:cNvSpPr>
            <p:nvPr/>
          </p:nvSpPr>
          <p:spPr bwMode="auto">
            <a:xfrm>
              <a:off x="1887745" y="3644907"/>
              <a:ext cx="73561" cy="78968"/>
            </a:xfrm>
            <a:custGeom>
              <a:avLst/>
              <a:gdLst>
                <a:gd name="T0" fmla="*/ 8408 w 38"/>
                <a:gd name="T1" fmla="*/ 706647 h 40"/>
                <a:gd name="T2" fmla="*/ 10178 w 38"/>
                <a:gd name="T3" fmla="*/ 773871 h 40"/>
                <a:gd name="T4" fmla="*/ 9731 w 38"/>
                <a:gd name="T5" fmla="*/ 609972 h 40"/>
                <a:gd name="T6" fmla="*/ 7350 w 38"/>
                <a:gd name="T7" fmla="*/ 594565 h 40"/>
                <a:gd name="T8" fmla="*/ 6039 w 38"/>
                <a:gd name="T9" fmla="*/ 435694 h 40"/>
                <a:gd name="T10" fmla="*/ 2207 w 38"/>
                <a:gd name="T11" fmla="*/ 257524 h 40"/>
                <a:gd name="T12" fmla="*/ 1 w 38"/>
                <a:gd name="T13" fmla="*/ 131390 h 40"/>
                <a:gd name="T14" fmla="*/ 0 w 38"/>
                <a:gd name="T15" fmla="*/ 0 h 40"/>
                <a:gd name="T16" fmla="*/ 6039 w 38"/>
                <a:gd name="T17" fmla="*/ 0 h 40"/>
                <a:gd name="T18" fmla="*/ 9731 w 38"/>
                <a:gd name="T19" fmla="*/ 246646 h 40"/>
                <a:gd name="T20" fmla="*/ 13442 w 38"/>
                <a:gd name="T21" fmla="*/ 483426 h 40"/>
                <a:gd name="T22" fmla="*/ 14260 w 38"/>
                <a:gd name="T23" fmla="*/ 918680 h 40"/>
                <a:gd name="T24" fmla="*/ 12047 w 38"/>
                <a:gd name="T25" fmla="*/ 1106840 h 40"/>
                <a:gd name="T26" fmla="*/ 10178 w 38"/>
                <a:gd name="T27" fmla="*/ 1349288 h 40"/>
                <a:gd name="T28" fmla="*/ 8849 w 38"/>
                <a:gd name="T29" fmla="*/ 1165347 h 40"/>
                <a:gd name="T30" fmla="*/ 8408 w 38"/>
                <a:gd name="T31" fmla="*/ 706647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8"/>
                <a:gd name="T49" fmla="*/ 0 h 40"/>
                <a:gd name="T50" fmla="*/ 38 w 38"/>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8" h="40">
                  <a:moveTo>
                    <a:pt x="22" y="21"/>
                  </a:moveTo>
                  <a:lnTo>
                    <a:pt x="27" y="23"/>
                  </a:lnTo>
                  <a:lnTo>
                    <a:pt x="26" y="18"/>
                  </a:lnTo>
                  <a:lnTo>
                    <a:pt x="20" y="17"/>
                  </a:lnTo>
                  <a:lnTo>
                    <a:pt x="16" y="13"/>
                  </a:lnTo>
                  <a:lnTo>
                    <a:pt x="6" y="8"/>
                  </a:lnTo>
                  <a:lnTo>
                    <a:pt x="1" y="4"/>
                  </a:lnTo>
                  <a:lnTo>
                    <a:pt x="0" y="0"/>
                  </a:lnTo>
                  <a:lnTo>
                    <a:pt x="16" y="0"/>
                  </a:lnTo>
                  <a:lnTo>
                    <a:pt x="26" y="7"/>
                  </a:lnTo>
                  <a:lnTo>
                    <a:pt x="36" y="14"/>
                  </a:lnTo>
                  <a:lnTo>
                    <a:pt x="38" y="27"/>
                  </a:lnTo>
                  <a:lnTo>
                    <a:pt x="32" y="33"/>
                  </a:lnTo>
                  <a:lnTo>
                    <a:pt x="27" y="40"/>
                  </a:lnTo>
                  <a:lnTo>
                    <a:pt x="23" y="34"/>
                  </a:lnTo>
                  <a:lnTo>
                    <a:pt x="22" y="2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6" name="Freeform 316">
              <a:extLst>
                <a:ext uri="{FF2B5EF4-FFF2-40B4-BE49-F238E27FC236}">
                  <a16:creationId xmlns:a16="http://schemas.microsoft.com/office/drawing/2014/main" id="{7523BCD6-A2F2-5696-4926-88BD2AC61F87}"/>
                </a:ext>
              </a:extLst>
            </p:cNvPr>
            <p:cNvSpPr>
              <a:spLocks/>
            </p:cNvSpPr>
            <p:nvPr/>
          </p:nvSpPr>
          <p:spPr bwMode="auto">
            <a:xfrm>
              <a:off x="2642549" y="3777027"/>
              <a:ext cx="89553" cy="129083"/>
            </a:xfrm>
            <a:custGeom>
              <a:avLst/>
              <a:gdLst>
                <a:gd name="T0" fmla="*/ 16066 w 46"/>
                <a:gd name="T1" fmla="*/ 1369562 h 64"/>
                <a:gd name="T2" fmla="*/ 9406 w 46"/>
                <a:gd name="T3" fmla="*/ 363055 h 64"/>
                <a:gd name="T4" fmla="*/ 4504 w 46"/>
                <a:gd name="T5" fmla="*/ 0 h 64"/>
                <a:gd name="T6" fmla="*/ 3113 w 46"/>
                <a:gd name="T7" fmla="*/ 609634 h 64"/>
                <a:gd name="T8" fmla="*/ 2 w 46"/>
                <a:gd name="T9" fmla="*/ 1715921 h 64"/>
                <a:gd name="T10" fmla="*/ 3700 w 46"/>
                <a:gd name="T11" fmla="*/ 3380891 h 64"/>
                <a:gd name="T12" fmla="*/ 0 w 46"/>
                <a:gd name="T13" fmla="*/ 4684165 h 64"/>
                <a:gd name="T14" fmla="*/ 4504 w 46"/>
                <a:gd name="T15" fmla="*/ 4902708 h 64"/>
                <a:gd name="T16" fmla="*/ 11451 w 46"/>
                <a:gd name="T17" fmla="*/ 4902708 h 64"/>
                <a:gd name="T18" fmla="*/ 16066 w 46"/>
                <a:gd name="T19" fmla="*/ 3669977 h 64"/>
                <a:gd name="T20" fmla="*/ 20513 w 46"/>
                <a:gd name="T21" fmla="*/ 2411626 h 64"/>
                <a:gd name="T22" fmla="*/ 18391 w 46"/>
                <a:gd name="T23" fmla="*/ 1598379 h 64"/>
                <a:gd name="T24" fmla="*/ 18391 w 46"/>
                <a:gd name="T25" fmla="*/ 1810892 h 64"/>
                <a:gd name="T26" fmla="*/ 16066 w 46"/>
                <a:gd name="T27" fmla="*/ 1369562 h 6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64"/>
                <a:gd name="T44" fmla="*/ 46 w 46"/>
                <a:gd name="T45" fmla="*/ 64 h 6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64">
                  <a:moveTo>
                    <a:pt x="36" y="18"/>
                  </a:moveTo>
                  <a:lnTo>
                    <a:pt x="21" y="5"/>
                  </a:lnTo>
                  <a:lnTo>
                    <a:pt x="10" y="0"/>
                  </a:lnTo>
                  <a:lnTo>
                    <a:pt x="7" y="8"/>
                  </a:lnTo>
                  <a:lnTo>
                    <a:pt x="2" y="22"/>
                  </a:lnTo>
                  <a:lnTo>
                    <a:pt x="8" y="44"/>
                  </a:lnTo>
                  <a:lnTo>
                    <a:pt x="0" y="61"/>
                  </a:lnTo>
                  <a:lnTo>
                    <a:pt x="10" y="64"/>
                  </a:lnTo>
                  <a:lnTo>
                    <a:pt x="26" y="64"/>
                  </a:lnTo>
                  <a:lnTo>
                    <a:pt x="36" y="48"/>
                  </a:lnTo>
                  <a:lnTo>
                    <a:pt x="46" y="31"/>
                  </a:lnTo>
                  <a:lnTo>
                    <a:pt x="42" y="21"/>
                  </a:lnTo>
                  <a:lnTo>
                    <a:pt x="42" y="24"/>
                  </a:lnTo>
                  <a:lnTo>
                    <a:pt x="36" y="1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7" name="Freeform 317">
              <a:extLst>
                <a:ext uri="{FF2B5EF4-FFF2-40B4-BE49-F238E27FC236}">
                  <a16:creationId xmlns:a16="http://schemas.microsoft.com/office/drawing/2014/main" id="{69E3562A-BCB5-8EA3-D969-C770B91C26FD}"/>
                </a:ext>
              </a:extLst>
            </p:cNvPr>
            <p:cNvSpPr>
              <a:spLocks/>
            </p:cNvSpPr>
            <p:nvPr/>
          </p:nvSpPr>
          <p:spPr bwMode="auto">
            <a:xfrm>
              <a:off x="1903737" y="3541641"/>
              <a:ext cx="364609" cy="595298"/>
            </a:xfrm>
            <a:custGeom>
              <a:avLst/>
              <a:gdLst>
                <a:gd name="T0" fmla="*/ 21174 w 190"/>
                <a:gd name="T1" fmla="*/ 2004823 h 296"/>
                <a:gd name="T2" fmla="*/ 18786 w 190"/>
                <a:gd name="T3" fmla="*/ 1759335 h 296"/>
                <a:gd name="T4" fmla="*/ 15157 w 190"/>
                <a:gd name="T5" fmla="*/ 3882188 h 296"/>
                <a:gd name="T6" fmla="*/ 9628 w 190"/>
                <a:gd name="T7" fmla="*/ 5799776 h 296"/>
                <a:gd name="T8" fmla="*/ 7550 w 190"/>
                <a:gd name="T9" fmla="*/ 4814408 h 296"/>
                <a:gd name="T10" fmla="*/ 6686 w 190"/>
                <a:gd name="T11" fmla="*/ 6250872 h 296"/>
                <a:gd name="T12" fmla="*/ 6686 w 190"/>
                <a:gd name="T13" fmla="*/ 7248846 h 296"/>
                <a:gd name="T14" fmla="*/ 6686 w 190"/>
                <a:gd name="T15" fmla="*/ 9009643 h 296"/>
                <a:gd name="T16" fmla="*/ 7310 w 190"/>
                <a:gd name="T17" fmla="*/ 11045645 h 296"/>
                <a:gd name="T18" fmla="*/ 4768 w 190"/>
                <a:gd name="T19" fmla="*/ 12694211 h 296"/>
                <a:gd name="T20" fmla="*/ 1109 w 190"/>
                <a:gd name="T21" fmla="*/ 13769162 h 296"/>
                <a:gd name="T22" fmla="*/ 1 w 190"/>
                <a:gd name="T23" fmla="*/ 14418090 h 296"/>
                <a:gd name="T24" fmla="*/ 6686 w 190"/>
                <a:gd name="T25" fmla="*/ 15781386 h 296"/>
                <a:gd name="T26" fmla="*/ 15840 w 190"/>
                <a:gd name="T27" fmla="*/ 16482085 h 296"/>
                <a:gd name="T28" fmla="*/ 18786 w 190"/>
                <a:gd name="T29" fmla="*/ 17167322 h 296"/>
                <a:gd name="T30" fmla="*/ 24760 w 190"/>
                <a:gd name="T31" fmla="*/ 18724418 h 296"/>
                <a:gd name="T32" fmla="*/ 31429 w 190"/>
                <a:gd name="T33" fmla="*/ 19322531 h 296"/>
                <a:gd name="T34" fmla="*/ 39415 w 190"/>
                <a:gd name="T35" fmla="*/ 19769906 h 296"/>
                <a:gd name="T36" fmla="*/ 40459 w 190"/>
                <a:gd name="T37" fmla="*/ 21941081 h 296"/>
                <a:gd name="T38" fmla="*/ 42510 w 190"/>
                <a:gd name="T39" fmla="*/ 18167783 h 296"/>
                <a:gd name="T40" fmla="*/ 39649 w 190"/>
                <a:gd name="T41" fmla="*/ 15608813 h 296"/>
                <a:gd name="T42" fmla="*/ 43907 w 190"/>
                <a:gd name="T43" fmla="*/ 15281322 h 296"/>
                <a:gd name="T44" fmla="*/ 40610 w 190"/>
                <a:gd name="T45" fmla="*/ 14095584 h 296"/>
                <a:gd name="T46" fmla="*/ 48551 w 190"/>
                <a:gd name="T47" fmla="*/ 14095584 h 296"/>
                <a:gd name="T48" fmla="*/ 48732 w 190"/>
                <a:gd name="T49" fmla="*/ 14002257 h 296"/>
                <a:gd name="T50" fmla="*/ 53335 w 190"/>
                <a:gd name="T51" fmla="*/ 14604481 h 296"/>
                <a:gd name="T52" fmla="*/ 52973 w 190"/>
                <a:gd name="T53" fmla="*/ 13627062 h 296"/>
                <a:gd name="T54" fmla="*/ 52141 w 190"/>
                <a:gd name="T55" fmla="*/ 12050393 h 296"/>
                <a:gd name="T56" fmla="*/ 50832 w 190"/>
                <a:gd name="T57" fmla="*/ 9246845 h 296"/>
                <a:gd name="T58" fmla="*/ 48551 w 190"/>
                <a:gd name="T59" fmla="*/ 8167127 h 296"/>
                <a:gd name="T60" fmla="*/ 39815 w 190"/>
                <a:gd name="T61" fmla="*/ 7117607 h 296"/>
                <a:gd name="T62" fmla="*/ 33041 w 190"/>
                <a:gd name="T63" fmla="*/ 6993806 h 296"/>
                <a:gd name="T64" fmla="*/ 29909 w 190"/>
                <a:gd name="T65" fmla="*/ 5707617 h 296"/>
                <a:gd name="T66" fmla="*/ 25856 w 190"/>
                <a:gd name="T67" fmla="*/ 4133047 h 296"/>
                <a:gd name="T68" fmla="*/ 30491 w 190"/>
                <a:gd name="T69" fmla="*/ 1903480 h 296"/>
                <a:gd name="T70" fmla="*/ 35674 w 190"/>
                <a:gd name="T71" fmla="*/ 565788 h 296"/>
                <a:gd name="T72" fmla="*/ 33842 w 190"/>
                <a:gd name="T73" fmla="*/ 0 h 296"/>
                <a:gd name="T74" fmla="*/ 24924 w 190"/>
                <a:gd name="T75" fmla="*/ 1396300 h 29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0"/>
                <a:gd name="T115" fmla="*/ 0 h 296"/>
                <a:gd name="T116" fmla="*/ 190 w 190"/>
                <a:gd name="T117" fmla="*/ 296 h 29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0" h="296">
                  <a:moveTo>
                    <a:pt x="79" y="19"/>
                  </a:moveTo>
                  <a:lnTo>
                    <a:pt x="74" y="27"/>
                  </a:lnTo>
                  <a:lnTo>
                    <a:pt x="77" y="23"/>
                  </a:lnTo>
                  <a:lnTo>
                    <a:pt x="66" y="24"/>
                  </a:lnTo>
                  <a:lnTo>
                    <a:pt x="56" y="39"/>
                  </a:lnTo>
                  <a:lnTo>
                    <a:pt x="53" y="52"/>
                  </a:lnTo>
                  <a:lnTo>
                    <a:pt x="36" y="68"/>
                  </a:lnTo>
                  <a:lnTo>
                    <a:pt x="34" y="78"/>
                  </a:lnTo>
                  <a:lnTo>
                    <a:pt x="32" y="69"/>
                  </a:lnTo>
                  <a:lnTo>
                    <a:pt x="27" y="65"/>
                  </a:lnTo>
                  <a:lnTo>
                    <a:pt x="29" y="78"/>
                  </a:lnTo>
                  <a:lnTo>
                    <a:pt x="23" y="84"/>
                  </a:lnTo>
                  <a:lnTo>
                    <a:pt x="18" y="91"/>
                  </a:lnTo>
                  <a:lnTo>
                    <a:pt x="23" y="98"/>
                  </a:lnTo>
                  <a:lnTo>
                    <a:pt x="27" y="114"/>
                  </a:lnTo>
                  <a:lnTo>
                    <a:pt x="23" y="122"/>
                  </a:lnTo>
                  <a:lnTo>
                    <a:pt x="24" y="136"/>
                  </a:lnTo>
                  <a:lnTo>
                    <a:pt x="26" y="149"/>
                  </a:lnTo>
                  <a:lnTo>
                    <a:pt x="27" y="151"/>
                  </a:lnTo>
                  <a:lnTo>
                    <a:pt x="17" y="171"/>
                  </a:lnTo>
                  <a:lnTo>
                    <a:pt x="7" y="175"/>
                  </a:lnTo>
                  <a:lnTo>
                    <a:pt x="4" y="186"/>
                  </a:lnTo>
                  <a:lnTo>
                    <a:pt x="0" y="189"/>
                  </a:lnTo>
                  <a:lnTo>
                    <a:pt x="1" y="194"/>
                  </a:lnTo>
                  <a:lnTo>
                    <a:pt x="14" y="205"/>
                  </a:lnTo>
                  <a:lnTo>
                    <a:pt x="23" y="213"/>
                  </a:lnTo>
                  <a:lnTo>
                    <a:pt x="39" y="213"/>
                  </a:lnTo>
                  <a:lnTo>
                    <a:pt x="56" y="222"/>
                  </a:lnTo>
                  <a:lnTo>
                    <a:pt x="58" y="221"/>
                  </a:lnTo>
                  <a:lnTo>
                    <a:pt x="66" y="231"/>
                  </a:lnTo>
                  <a:lnTo>
                    <a:pt x="75" y="239"/>
                  </a:lnTo>
                  <a:lnTo>
                    <a:pt x="87" y="252"/>
                  </a:lnTo>
                  <a:lnTo>
                    <a:pt x="91" y="261"/>
                  </a:lnTo>
                  <a:lnTo>
                    <a:pt x="110" y="261"/>
                  </a:lnTo>
                  <a:lnTo>
                    <a:pt x="122" y="263"/>
                  </a:lnTo>
                  <a:lnTo>
                    <a:pt x="138" y="267"/>
                  </a:lnTo>
                  <a:lnTo>
                    <a:pt x="132" y="289"/>
                  </a:lnTo>
                  <a:lnTo>
                    <a:pt x="142" y="296"/>
                  </a:lnTo>
                  <a:lnTo>
                    <a:pt x="146" y="271"/>
                  </a:lnTo>
                  <a:lnTo>
                    <a:pt x="149" y="245"/>
                  </a:lnTo>
                  <a:lnTo>
                    <a:pt x="142" y="228"/>
                  </a:lnTo>
                  <a:lnTo>
                    <a:pt x="139" y="210"/>
                  </a:lnTo>
                  <a:lnTo>
                    <a:pt x="151" y="209"/>
                  </a:lnTo>
                  <a:lnTo>
                    <a:pt x="154" y="206"/>
                  </a:lnTo>
                  <a:lnTo>
                    <a:pt x="145" y="202"/>
                  </a:lnTo>
                  <a:lnTo>
                    <a:pt x="143" y="190"/>
                  </a:lnTo>
                  <a:lnTo>
                    <a:pt x="156" y="190"/>
                  </a:lnTo>
                  <a:lnTo>
                    <a:pt x="170" y="190"/>
                  </a:lnTo>
                  <a:lnTo>
                    <a:pt x="168" y="187"/>
                  </a:lnTo>
                  <a:lnTo>
                    <a:pt x="172" y="189"/>
                  </a:lnTo>
                  <a:lnTo>
                    <a:pt x="181" y="183"/>
                  </a:lnTo>
                  <a:lnTo>
                    <a:pt x="187" y="197"/>
                  </a:lnTo>
                  <a:lnTo>
                    <a:pt x="190" y="199"/>
                  </a:lnTo>
                  <a:lnTo>
                    <a:pt x="186" y="184"/>
                  </a:lnTo>
                  <a:lnTo>
                    <a:pt x="177" y="170"/>
                  </a:lnTo>
                  <a:lnTo>
                    <a:pt x="183" y="162"/>
                  </a:lnTo>
                  <a:lnTo>
                    <a:pt x="175" y="139"/>
                  </a:lnTo>
                  <a:lnTo>
                    <a:pt x="178" y="125"/>
                  </a:lnTo>
                  <a:lnTo>
                    <a:pt x="183" y="109"/>
                  </a:lnTo>
                  <a:lnTo>
                    <a:pt x="170" y="110"/>
                  </a:lnTo>
                  <a:lnTo>
                    <a:pt x="155" y="112"/>
                  </a:lnTo>
                  <a:lnTo>
                    <a:pt x="140" y="96"/>
                  </a:lnTo>
                  <a:lnTo>
                    <a:pt x="129" y="94"/>
                  </a:lnTo>
                  <a:lnTo>
                    <a:pt x="116" y="94"/>
                  </a:lnTo>
                  <a:lnTo>
                    <a:pt x="106" y="88"/>
                  </a:lnTo>
                  <a:lnTo>
                    <a:pt x="106" y="77"/>
                  </a:lnTo>
                  <a:lnTo>
                    <a:pt x="97" y="56"/>
                  </a:lnTo>
                  <a:lnTo>
                    <a:pt x="91" y="56"/>
                  </a:lnTo>
                  <a:lnTo>
                    <a:pt x="98" y="40"/>
                  </a:lnTo>
                  <a:lnTo>
                    <a:pt x="107" y="26"/>
                  </a:lnTo>
                  <a:lnTo>
                    <a:pt x="116" y="11"/>
                  </a:lnTo>
                  <a:lnTo>
                    <a:pt x="126" y="8"/>
                  </a:lnTo>
                  <a:lnTo>
                    <a:pt x="127" y="0"/>
                  </a:lnTo>
                  <a:lnTo>
                    <a:pt x="119" y="0"/>
                  </a:lnTo>
                  <a:lnTo>
                    <a:pt x="103" y="10"/>
                  </a:lnTo>
                  <a:lnTo>
                    <a:pt x="88" y="19"/>
                  </a:lnTo>
                  <a:lnTo>
                    <a:pt x="79" y="1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8" name="Freeform 318">
              <a:extLst>
                <a:ext uri="{FF2B5EF4-FFF2-40B4-BE49-F238E27FC236}">
                  <a16:creationId xmlns:a16="http://schemas.microsoft.com/office/drawing/2014/main" id="{CC131B0E-AA41-955B-0908-3E054B486A29}"/>
                </a:ext>
              </a:extLst>
            </p:cNvPr>
            <p:cNvSpPr>
              <a:spLocks/>
            </p:cNvSpPr>
            <p:nvPr/>
          </p:nvSpPr>
          <p:spPr bwMode="auto">
            <a:xfrm>
              <a:off x="2439455" y="3678316"/>
              <a:ext cx="143925" cy="259683"/>
            </a:xfrm>
            <a:custGeom>
              <a:avLst/>
              <a:gdLst>
                <a:gd name="T0" fmla="*/ 17308 w 75"/>
                <a:gd name="T1" fmla="*/ 6646404 h 129"/>
                <a:gd name="T2" fmla="*/ 15157 w 75"/>
                <a:gd name="T3" fmla="*/ 5922462 h 129"/>
                <a:gd name="T4" fmla="*/ 15655 w 75"/>
                <a:gd name="T5" fmla="*/ 4800032 h 129"/>
                <a:gd name="T6" fmla="*/ 17645 w 75"/>
                <a:gd name="T7" fmla="*/ 4469444 h 129"/>
                <a:gd name="T8" fmla="*/ 18662 w 75"/>
                <a:gd name="T9" fmla="*/ 3843018 h 129"/>
                <a:gd name="T10" fmla="*/ 17956 w 75"/>
                <a:gd name="T11" fmla="*/ 2956189 h 129"/>
                <a:gd name="T12" fmla="*/ 13200 w 75"/>
                <a:gd name="T13" fmla="*/ 2070581 h 129"/>
                <a:gd name="T14" fmla="*/ 12253 w 75"/>
                <a:gd name="T15" fmla="*/ 2611930 h 129"/>
                <a:gd name="T16" fmla="*/ 12960 w 75"/>
                <a:gd name="T17" fmla="*/ 1359116 h 129"/>
                <a:gd name="T18" fmla="*/ 10211 w 75"/>
                <a:gd name="T19" fmla="*/ 702015 h 129"/>
                <a:gd name="T20" fmla="*/ 7310 w 75"/>
                <a:gd name="T21" fmla="*/ 224051 h 129"/>
                <a:gd name="T22" fmla="*/ 8509 w 75"/>
                <a:gd name="T23" fmla="*/ 460798 h 129"/>
                <a:gd name="T24" fmla="*/ 6686 w 75"/>
                <a:gd name="T25" fmla="*/ 0 h 129"/>
                <a:gd name="T26" fmla="*/ 7310 w 75"/>
                <a:gd name="T27" fmla="*/ 224051 h 129"/>
                <a:gd name="T28" fmla="*/ 3224 w 75"/>
                <a:gd name="T29" fmla="*/ 1175299 h 129"/>
                <a:gd name="T30" fmla="*/ 4768 w 75"/>
                <a:gd name="T31" fmla="*/ 1821292 h 129"/>
                <a:gd name="T32" fmla="*/ 1331 w 75"/>
                <a:gd name="T33" fmla="*/ 2303109 h 129"/>
                <a:gd name="T34" fmla="*/ 0 w 75"/>
                <a:gd name="T35" fmla="*/ 3231640 h 129"/>
                <a:gd name="T36" fmla="*/ 2759 w 75"/>
                <a:gd name="T37" fmla="*/ 4258493 h 129"/>
                <a:gd name="T38" fmla="*/ 5077 w 75"/>
                <a:gd name="T39" fmla="*/ 4129719 h 129"/>
                <a:gd name="T40" fmla="*/ 5722 w 75"/>
                <a:gd name="T41" fmla="*/ 4902872 h 129"/>
                <a:gd name="T42" fmla="*/ 7310 w 75"/>
                <a:gd name="T43" fmla="*/ 5595449 h 129"/>
                <a:gd name="T44" fmla="*/ 5909 w 75"/>
                <a:gd name="T45" fmla="*/ 6736449 h 129"/>
                <a:gd name="T46" fmla="*/ 6866 w 75"/>
                <a:gd name="T47" fmla="*/ 8244534 h 129"/>
                <a:gd name="T48" fmla="*/ 9628 w 75"/>
                <a:gd name="T49" fmla="*/ 9210836 h 129"/>
                <a:gd name="T50" fmla="*/ 12960 w 75"/>
                <a:gd name="T51" fmla="*/ 9192158 h 129"/>
                <a:gd name="T52" fmla="*/ 16638 w 75"/>
                <a:gd name="T53" fmla="*/ 8705278 h 129"/>
                <a:gd name="T54" fmla="*/ 21434 w 75"/>
                <a:gd name="T55" fmla="*/ 8415480 h 129"/>
                <a:gd name="T56" fmla="*/ 19512 w 75"/>
                <a:gd name="T57" fmla="*/ 7545252 h 129"/>
                <a:gd name="T58" fmla="*/ 17308 w 75"/>
                <a:gd name="T59" fmla="*/ 6646404 h 1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5"/>
                <a:gd name="T91" fmla="*/ 0 h 129"/>
                <a:gd name="T92" fmla="*/ 75 w 75"/>
                <a:gd name="T93" fmla="*/ 129 h 12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5" h="129">
                  <a:moveTo>
                    <a:pt x="61" y="93"/>
                  </a:moveTo>
                  <a:lnTo>
                    <a:pt x="53" y="83"/>
                  </a:lnTo>
                  <a:lnTo>
                    <a:pt x="55" y="67"/>
                  </a:lnTo>
                  <a:lnTo>
                    <a:pt x="62" y="62"/>
                  </a:lnTo>
                  <a:lnTo>
                    <a:pt x="65" y="54"/>
                  </a:lnTo>
                  <a:lnTo>
                    <a:pt x="63" y="41"/>
                  </a:lnTo>
                  <a:lnTo>
                    <a:pt x="47" y="29"/>
                  </a:lnTo>
                  <a:lnTo>
                    <a:pt x="43" y="36"/>
                  </a:lnTo>
                  <a:lnTo>
                    <a:pt x="45" y="19"/>
                  </a:lnTo>
                  <a:lnTo>
                    <a:pt x="36" y="10"/>
                  </a:lnTo>
                  <a:lnTo>
                    <a:pt x="26" y="3"/>
                  </a:lnTo>
                  <a:lnTo>
                    <a:pt x="30" y="6"/>
                  </a:lnTo>
                  <a:lnTo>
                    <a:pt x="23" y="0"/>
                  </a:lnTo>
                  <a:lnTo>
                    <a:pt x="26" y="3"/>
                  </a:lnTo>
                  <a:lnTo>
                    <a:pt x="11" y="17"/>
                  </a:lnTo>
                  <a:lnTo>
                    <a:pt x="17" y="25"/>
                  </a:lnTo>
                  <a:lnTo>
                    <a:pt x="5" y="32"/>
                  </a:lnTo>
                  <a:lnTo>
                    <a:pt x="0" y="45"/>
                  </a:lnTo>
                  <a:lnTo>
                    <a:pt x="10" y="60"/>
                  </a:lnTo>
                  <a:lnTo>
                    <a:pt x="18" y="58"/>
                  </a:lnTo>
                  <a:lnTo>
                    <a:pt x="20" y="68"/>
                  </a:lnTo>
                  <a:lnTo>
                    <a:pt x="26" y="78"/>
                  </a:lnTo>
                  <a:lnTo>
                    <a:pt x="21" y="94"/>
                  </a:lnTo>
                  <a:lnTo>
                    <a:pt x="24" y="115"/>
                  </a:lnTo>
                  <a:lnTo>
                    <a:pt x="34" y="129"/>
                  </a:lnTo>
                  <a:lnTo>
                    <a:pt x="45" y="128"/>
                  </a:lnTo>
                  <a:lnTo>
                    <a:pt x="59" y="121"/>
                  </a:lnTo>
                  <a:lnTo>
                    <a:pt x="75" y="118"/>
                  </a:lnTo>
                  <a:lnTo>
                    <a:pt x="68" y="105"/>
                  </a:lnTo>
                  <a:lnTo>
                    <a:pt x="61" y="9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59" name="Freeform 319">
              <a:extLst>
                <a:ext uri="{FF2B5EF4-FFF2-40B4-BE49-F238E27FC236}">
                  <a16:creationId xmlns:a16="http://schemas.microsoft.com/office/drawing/2014/main" id="{C8323CE1-F253-6514-089E-C69E8C514A8E}"/>
                </a:ext>
              </a:extLst>
            </p:cNvPr>
            <p:cNvSpPr>
              <a:spLocks/>
            </p:cNvSpPr>
            <p:nvPr/>
          </p:nvSpPr>
          <p:spPr bwMode="auto">
            <a:xfrm>
              <a:off x="2541801" y="3769434"/>
              <a:ext cx="116740" cy="148825"/>
            </a:xfrm>
            <a:custGeom>
              <a:avLst/>
              <a:gdLst>
                <a:gd name="T0" fmla="*/ 2182 w 61"/>
                <a:gd name="T1" fmla="*/ 4935519 h 73"/>
                <a:gd name="T2" fmla="*/ 0 w 61"/>
                <a:gd name="T3" fmla="*/ 3876905 h 73"/>
                <a:gd name="T4" fmla="*/ 2 w 61"/>
                <a:gd name="T5" fmla="*/ 2200956 h 73"/>
                <a:gd name="T6" fmla="*/ 2579 w 61"/>
                <a:gd name="T7" fmla="*/ 1658409 h 73"/>
                <a:gd name="T8" fmla="*/ 3125 w 61"/>
                <a:gd name="T9" fmla="*/ 849160 h 73"/>
                <a:gd name="T10" fmla="*/ 3893 w 61"/>
                <a:gd name="T11" fmla="*/ 0 h 73"/>
                <a:gd name="T12" fmla="*/ 8275 w 61"/>
                <a:gd name="T13" fmla="*/ 218823 h 73"/>
                <a:gd name="T14" fmla="*/ 12239 w 61"/>
                <a:gd name="T15" fmla="*/ 218823 h 73"/>
                <a:gd name="T16" fmla="*/ 12239 w 61"/>
                <a:gd name="T17" fmla="*/ 0 h 73"/>
                <a:gd name="T18" fmla="*/ 15839 w 61"/>
                <a:gd name="T19" fmla="*/ 218823 h 73"/>
                <a:gd name="T20" fmla="*/ 15734 w 61"/>
                <a:gd name="T21" fmla="*/ 1142112 h 73"/>
                <a:gd name="T22" fmla="*/ 14525 w 61"/>
                <a:gd name="T23" fmla="*/ 2599792 h 73"/>
                <a:gd name="T24" fmla="*/ 15839 w 61"/>
                <a:gd name="T25" fmla="*/ 4935519 h 73"/>
                <a:gd name="T26" fmla="*/ 13687 w 61"/>
                <a:gd name="T27" fmla="*/ 6738452 h 73"/>
                <a:gd name="T28" fmla="*/ 10987 w 61"/>
                <a:gd name="T29" fmla="*/ 6431267 h 73"/>
                <a:gd name="T30" fmla="*/ 7672 w 61"/>
                <a:gd name="T31" fmla="*/ 6738452 h 73"/>
                <a:gd name="T32" fmla="*/ 7672 w 61"/>
                <a:gd name="T33" fmla="*/ 7679546 h 73"/>
                <a:gd name="T34" fmla="*/ 5576 w 61"/>
                <a:gd name="T35" fmla="*/ 7586423 h 73"/>
                <a:gd name="T36" fmla="*/ 3893 w 61"/>
                <a:gd name="T37" fmla="*/ 6230500 h 73"/>
                <a:gd name="T38" fmla="*/ 2182 w 61"/>
                <a:gd name="T39" fmla="*/ 4935519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
                <a:gd name="T61" fmla="*/ 0 h 73"/>
                <a:gd name="T62" fmla="*/ 61 w 61"/>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 h="73">
                  <a:moveTo>
                    <a:pt x="8" y="47"/>
                  </a:moveTo>
                  <a:lnTo>
                    <a:pt x="0" y="37"/>
                  </a:lnTo>
                  <a:lnTo>
                    <a:pt x="2" y="21"/>
                  </a:lnTo>
                  <a:lnTo>
                    <a:pt x="9" y="16"/>
                  </a:lnTo>
                  <a:lnTo>
                    <a:pt x="12" y="8"/>
                  </a:lnTo>
                  <a:lnTo>
                    <a:pt x="15" y="0"/>
                  </a:lnTo>
                  <a:lnTo>
                    <a:pt x="32" y="2"/>
                  </a:lnTo>
                  <a:lnTo>
                    <a:pt x="47" y="2"/>
                  </a:lnTo>
                  <a:lnTo>
                    <a:pt x="47" y="0"/>
                  </a:lnTo>
                  <a:lnTo>
                    <a:pt x="61" y="2"/>
                  </a:lnTo>
                  <a:lnTo>
                    <a:pt x="60" y="11"/>
                  </a:lnTo>
                  <a:lnTo>
                    <a:pt x="55" y="25"/>
                  </a:lnTo>
                  <a:lnTo>
                    <a:pt x="61" y="47"/>
                  </a:lnTo>
                  <a:lnTo>
                    <a:pt x="53" y="64"/>
                  </a:lnTo>
                  <a:lnTo>
                    <a:pt x="42" y="61"/>
                  </a:lnTo>
                  <a:lnTo>
                    <a:pt x="29" y="64"/>
                  </a:lnTo>
                  <a:lnTo>
                    <a:pt x="29" y="73"/>
                  </a:lnTo>
                  <a:lnTo>
                    <a:pt x="22" y="72"/>
                  </a:lnTo>
                  <a:lnTo>
                    <a:pt x="15" y="59"/>
                  </a:lnTo>
                  <a:lnTo>
                    <a:pt x="8" y="4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0" name="Freeform 320">
              <a:extLst>
                <a:ext uri="{FF2B5EF4-FFF2-40B4-BE49-F238E27FC236}">
                  <a16:creationId xmlns:a16="http://schemas.microsoft.com/office/drawing/2014/main" id="{35DB3FDF-574B-A4F4-0941-9FC44BA6BDD9}"/>
                </a:ext>
              </a:extLst>
            </p:cNvPr>
            <p:cNvSpPr>
              <a:spLocks/>
            </p:cNvSpPr>
            <p:nvPr/>
          </p:nvSpPr>
          <p:spPr bwMode="auto">
            <a:xfrm>
              <a:off x="2431460" y="3596311"/>
              <a:ext cx="27185" cy="25816"/>
            </a:xfrm>
            <a:custGeom>
              <a:avLst/>
              <a:gdLst>
                <a:gd name="T0" fmla="*/ 239 w 15"/>
                <a:gd name="T1" fmla="*/ 0 h 13"/>
                <a:gd name="T2" fmla="*/ 719 w 15"/>
                <a:gd name="T3" fmla="*/ 0 h 13"/>
                <a:gd name="T4" fmla="*/ 447 w 15"/>
                <a:gd name="T5" fmla="*/ 1702985 h 13"/>
                <a:gd name="T6" fmla="*/ 0 w 15"/>
                <a:gd name="T7" fmla="*/ 1580805 h 13"/>
                <a:gd name="T8" fmla="*/ 271 w 15"/>
                <a:gd name="T9" fmla="*/ 625348 h 13"/>
                <a:gd name="T10" fmla="*/ 239 w 15"/>
                <a:gd name="T11" fmla="*/ 0 h 13"/>
                <a:gd name="T12" fmla="*/ 0 60000 65536"/>
                <a:gd name="T13" fmla="*/ 0 60000 65536"/>
                <a:gd name="T14" fmla="*/ 0 60000 65536"/>
                <a:gd name="T15" fmla="*/ 0 60000 65536"/>
                <a:gd name="T16" fmla="*/ 0 60000 65536"/>
                <a:gd name="T17" fmla="*/ 0 60000 65536"/>
                <a:gd name="T18" fmla="*/ 0 w 15"/>
                <a:gd name="T19" fmla="*/ 0 h 13"/>
                <a:gd name="T20" fmla="*/ 15 w 15"/>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5" h="13">
                  <a:moveTo>
                    <a:pt x="5" y="0"/>
                  </a:moveTo>
                  <a:lnTo>
                    <a:pt x="15" y="0"/>
                  </a:lnTo>
                  <a:lnTo>
                    <a:pt x="10" y="13"/>
                  </a:lnTo>
                  <a:lnTo>
                    <a:pt x="0" y="12"/>
                  </a:lnTo>
                  <a:lnTo>
                    <a:pt x="6" y="5"/>
                  </a:lnTo>
                  <a:lnTo>
                    <a:pt x="5"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1" name="Freeform 321">
              <a:extLst>
                <a:ext uri="{FF2B5EF4-FFF2-40B4-BE49-F238E27FC236}">
                  <a16:creationId xmlns:a16="http://schemas.microsoft.com/office/drawing/2014/main" id="{3C55A033-713C-7951-9F74-5ED1C4AE7C1D}"/>
                </a:ext>
              </a:extLst>
            </p:cNvPr>
            <p:cNvSpPr>
              <a:spLocks/>
            </p:cNvSpPr>
            <p:nvPr/>
          </p:nvSpPr>
          <p:spPr bwMode="auto">
            <a:xfrm>
              <a:off x="2078045" y="3547716"/>
              <a:ext cx="410984" cy="410027"/>
            </a:xfrm>
            <a:custGeom>
              <a:avLst/>
              <a:gdLst>
                <a:gd name="T0" fmla="*/ 51208 w 214"/>
                <a:gd name="T1" fmla="*/ 2678101 h 204"/>
                <a:gd name="T2" fmla="*/ 48698 w 214"/>
                <a:gd name="T3" fmla="*/ 2499481 h 204"/>
                <a:gd name="T4" fmla="*/ 48376 w 214"/>
                <a:gd name="T5" fmla="*/ 2160804 h 204"/>
                <a:gd name="T6" fmla="*/ 48013 w 214"/>
                <a:gd name="T7" fmla="*/ 1851111 h 204"/>
                <a:gd name="T8" fmla="*/ 44640 w 214"/>
                <a:gd name="T9" fmla="*/ 1975815 h 204"/>
                <a:gd name="T10" fmla="*/ 33765 w 214"/>
                <a:gd name="T11" fmla="*/ 1975815 h 204"/>
                <a:gd name="T12" fmla="*/ 25134 w 214"/>
                <a:gd name="T13" fmla="*/ 2045054 h 204"/>
                <a:gd name="T14" fmla="*/ 18542 w 214"/>
                <a:gd name="T15" fmla="*/ 749279 h 204"/>
                <a:gd name="T16" fmla="*/ 15066 w 214"/>
                <a:gd name="T17" fmla="*/ 470691 h 204"/>
                <a:gd name="T18" fmla="*/ 16522 w 214"/>
                <a:gd name="T19" fmla="*/ 749279 h 204"/>
                <a:gd name="T20" fmla="*/ 9254 w 214"/>
                <a:gd name="T21" fmla="*/ 1603431 h 204"/>
                <a:gd name="T22" fmla="*/ 8378 w 214"/>
                <a:gd name="T23" fmla="*/ 3719273 h 204"/>
                <a:gd name="T24" fmla="*/ 8378 w 214"/>
                <a:gd name="T25" fmla="*/ 1851111 h 204"/>
                <a:gd name="T26" fmla="*/ 10061 w 214"/>
                <a:gd name="T27" fmla="*/ 328839 h 204"/>
                <a:gd name="T28" fmla="*/ 4785 w 214"/>
                <a:gd name="T29" fmla="*/ 1535143 h 204"/>
                <a:gd name="T30" fmla="*/ 0 w 214"/>
                <a:gd name="T31" fmla="*/ 3577687 h 204"/>
                <a:gd name="T32" fmla="*/ 4286 w 214"/>
                <a:gd name="T33" fmla="*/ 5012443 h 204"/>
                <a:gd name="T34" fmla="*/ 7243 w 214"/>
                <a:gd name="T35" fmla="*/ 6103167 h 204"/>
                <a:gd name="T36" fmla="*/ 14355 w 214"/>
                <a:gd name="T37" fmla="*/ 6239531 h 204"/>
                <a:gd name="T38" fmla="*/ 23117 w 214"/>
                <a:gd name="T39" fmla="*/ 7187712 h 204"/>
                <a:gd name="T40" fmla="*/ 25158 w 214"/>
                <a:gd name="T41" fmla="*/ 8215523 h 204"/>
                <a:gd name="T42" fmla="*/ 26742 w 214"/>
                <a:gd name="T43" fmla="*/ 10713692 h 204"/>
                <a:gd name="T44" fmla="*/ 27762 w 214"/>
                <a:gd name="T45" fmla="*/ 12200014 h 204"/>
                <a:gd name="T46" fmla="*/ 32793 w 214"/>
                <a:gd name="T47" fmla="*/ 13722948 h 204"/>
                <a:gd name="T48" fmla="*/ 35859 w 214"/>
                <a:gd name="T49" fmla="*/ 13725868 h 204"/>
                <a:gd name="T50" fmla="*/ 44640 w 214"/>
                <a:gd name="T51" fmla="*/ 12127335 h 204"/>
                <a:gd name="T52" fmla="*/ 42206 w 214"/>
                <a:gd name="T53" fmla="*/ 11530215 h 204"/>
                <a:gd name="T54" fmla="*/ 39382 w 214"/>
                <a:gd name="T55" fmla="*/ 9587265 h 204"/>
                <a:gd name="T56" fmla="*/ 48376 w 214"/>
                <a:gd name="T57" fmla="*/ 10269623 h 204"/>
                <a:gd name="T58" fmla="*/ 52331 w 214"/>
                <a:gd name="T59" fmla="*/ 9372032 h 204"/>
                <a:gd name="T60" fmla="*/ 58096 w 214"/>
                <a:gd name="T61" fmla="*/ 8407699 h 204"/>
                <a:gd name="T62" fmla="*/ 54700 w 214"/>
                <a:gd name="T63" fmla="*/ 7404451 h 204"/>
                <a:gd name="T64" fmla="*/ 59526 w 214"/>
                <a:gd name="T65" fmla="*/ 6076968 h 204"/>
                <a:gd name="T66" fmla="*/ 62588 w 214"/>
                <a:gd name="T67" fmla="*/ 4574343 h 204"/>
                <a:gd name="T68" fmla="*/ 56798 w 214"/>
                <a:gd name="T69" fmla="*/ 4345599 h 204"/>
                <a:gd name="T70" fmla="*/ 55311 w 214"/>
                <a:gd name="T71" fmla="*/ 4345599 h 204"/>
                <a:gd name="T72" fmla="*/ 57746 w 214"/>
                <a:gd name="T73" fmla="*/ 3501845 h 204"/>
                <a:gd name="T74" fmla="*/ 53572 w 214"/>
                <a:gd name="T75" fmla="*/ 2927234 h 204"/>
                <a:gd name="T76" fmla="*/ 51717 w 214"/>
                <a:gd name="T77" fmla="*/ 2927234 h 2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4"/>
                <a:gd name="T118" fmla="*/ 0 h 204"/>
                <a:gd name="T119" fmla="*/ 214 w 214"/>
                <a:gd name="T120" fmla="*/ 204 h 20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4" h="204">
                  <a:moveTo>
                    <a:pt x="177" y="43"/>
                  </a:moveTo>
                  <a:lnTo>
                    <a:pt x="176" y="40"/>
                  </a:lnTo>
                  <a:lnTo>
                    <a:pt x="173" y="37"/>
                  </a:lnTo>
                  <a:lnTo>
                    <a:pt x="167" y="37"/>
                  </a:lnTo>
                  <a:lnTo>
                    <a:pt x="170" y="36"/>
                  </a:lnTo>
                  <a:lnTo>
                    <a:pt x="166" y="32"/>
                  </a:lnTo>
                  <a:lnTo>
                    <a:pt x="182" y="26"/>
                  </a:lnTo>
                  <a:lnTo>
                    <a:pt x="164" y="27"/>
                  </a:lnTo>
                  <a:lnTo>
                    <a:pt x="147" y="27"/>
                  </a:lnTo>
                  <a:lnTo>
                    <a:pt x="153" y="29"/>
                  </a:lnTo>
                  <a:lnTo>
                    <a:pt x="137" y="36"/>
                  </a:lnTo>
                  <a:lnTo>
                    <a:pt x="116" y="29"/>
                  </a:lnTo>
                  <a:lnTo>
                    <a:pt x="100" y="29"/>
                  </a:lnTo>
                  <a:lnTo>
                    <a:pt x="86" y="30"/>
                  </a:lnTo>
                  <a:lnTo>
                    <a:pt x="81" y="18"/>
                  </a:lnTo>
                  <a:lnTo>
                    <a:pt x="64" y="11"/>
                  </a:lnTo>
                  <a:lnTo>
                    <a:pt x="57" y="0"/>
                  </a:lnTo>
                  <a:lnTo>
                    <a:pt x="52" y="7"/>
                  </a:lnTo>
                  <a:lnTo>
                    <a:pt x="60" y="11"/>
                  </a:lnTo>
                  <a:lnTo>
                    <a:pt x="57" y="11"/>
                  </a:lnTo>
                  <a:lnTo>
                    <a:pt x="35" y="20"/>
                  </a:lnTo>
                  <a:lnTo>
                    <a:pt x="32" y="24"/>
                  </a:lnTo>
                  <a:lnTo>
                    <a:pt x="36" y="46"/>
                  </a:lnTo>
                  <a:lnTo>
                    <a:pt x="29" y="55"/>
                  </a:lnTo>
                  <a:lnTo>
                    <a:pt x="20" y="43"/>
                  </a:lnTo>
                  <a:lnTo>
                    <a:pt x="29" y="27"/>
                  </a:lnTo>
                  <a:lnTo>
                    <a:pt x="25" y="13"/>
                  </a:lnTo>
                  <a:lnTo>
                    <a:pt x="35" y="5"/>
                  </a:lnTo>
                  <a:lnTo>
                    <a:pt x="25" y="8"/>
                  </a:lnTo>
                  <a:lnTo>
                    <a:pt x="16" y="23"/>
                  </a:lnTo>
                  <a:lnTo>
                    <a:pt x="7" y="37"/>
                  </a:lnTo>
                  <a:lnTo>
                    <a:pt x="0" y="53"/>
                  </a:lnTo>
                  <a:lnTo>
                    <a:pt x="6" y="53"/>
                  </a:lnTo>
                  <a:lnTo>
                    <a:pt x="15" y="74"/>
                  </a:lnTo>
                  <a:lnTo>
                    <a:pt x="15" y="85"/>
                  </a:lnTo>
                  <a:lnTo>
                    <a:pt x="25" y="91"/>
                  </a:lnTo>
                  <a:lnTo>
                    <a:pt x="38" y="91"/>
                  </a:lnTo>
                  <a:lnTo>
                    <a:pt x="49" y="93"/>
                  </a:lnTo>
                  <a:lnTo>
                    <a:pt x="64" y="109"/>
                  </a:lnTo>
                  <a:lnTo>
                    <a:pt x="79" y="107"/>
                  </a:lnTo>
                  <a:lnTo>
                    <a:pt x="92" y="106"/>
                  </a:lnTo>
                  <a:lnTo>
                    <a:pt x="87" y="122"/>
                  </a:lnTo>
                  <a:lnTo>
                    <a:pt x="84" y="136"/>
                  </a:lnTo>
                  <a:lnTo>
                    <a:pt x="92" y="159"/>
                  </a:lnTo>
                  <a:lnTo>
                    <a:pt x="86" y="167"/>
                  </a:lnTo>
                  <a:lnTo>
                    <a:pt x="95" y="181"/>
                  </a:lnTo>
                  <a:lnTo>
                    <a:pt x="99" y="196"/>
                  </a:lnTo>
                  <a:lnTo>
                    <a:pt x="112" y="203"/>
                  </a:lnTo>
                  <a:lnTo>
                    <a:pt x="121" y="203"/>
                  </a:lnTo>
                  <a:lnTo>
                    <a:pt x="122" y="204"/>
                  </a:lnTo>
                  <a:lnTo>
                    <a:pt x="138" y="191"/>
                  </a:lnTo>
                  <a:lnTo>
                    <a:pt x="153" y="180"/>
                  </a:lnTo>
                  <a:lnTo>
                    <a:pt x="154" y="174"/>
                  </a:lnTo>
                  <a:lnTo>
                    <a:pt x="145" y="171"/>
                  </a:lnTo>
                  <a:lnTo>
                    <a:pt x="140" y="151"/>
                  </a:lnTo>
                  <a:lnTo>
                    <a:pt x="135" y="142"/>
                  </a:lnTo>
                  <a:lnTo>
                    <a:pt x="151" y="146"/>
                  </a:lnTo>
                  <a:lnTo>
                    <a:pt x="166" y="152"/>
                  </a:lnTo>
                  <a:lnTo>
                    <a:pt x="167" y="145"/>
                  </a:lnTo>
                  <a:lnTo>
                    <a:pt x="180" y="139"/>
                  </a:lnTo>
                  <a:lnTo>
                    <a:pt x="193" y="135"/>
                  </a:lnTo>
                  <a:lnTo>
                    <a:pt x="199" y="125"/>
                  </a:lnTo>
                  <a:lnTo>
                    <a:pt x="198" y="125"/>
                  </a:lnTo>
                  <a:lnTo>
                    <a:pt x="188" y="110"/>
                  </a:lnTo>
                  <a:lnTo>
                    <a:pt x="193" y="97"/>
                  </a:lnTo>
                  <a:lnTo>
                    <a:pt x="205" y="90"/>
                  </a:lnTo>
                  <a:lnTo>
                    <a:pt x="199" y="82"/>
                  </a:lnTo>
                  <a:lnTo>
                    <a:pt x="214" y="68"/>
                  </a:lnTo>
                  <a:lnTo>
                    <a:pt x="211" y="65"/>
                  </a:lnTo>
                  <a:lnTo>
                    <a:pt x="195" y="64"/>
                  </a:lnTo>
                  <a:lnTo>
                    <a:pt x="185" y="64"/>
                  </a:lnTo>
                  <a:lnTo>
                    <a:pt x="189" y="64"/>
                  </a:lnTo>
                  <a:lnTo>
                    <a:pt x="195" y="55"/>
                  </a:lnTo>
                  <a:lnTo>
                    <a:pt x="198" y="52"/>
                  </a:lnTo>
                  <a:lnTo>
                    <a:pt x="189" y="42"/>
                  </a:lnTo>
                  <a:lnTo>
                    <a:pt x="183" y="43"/>
                  </a:lnTo>
                  <a:lnTo>
                    <a:pt x="177" y="39"/>
                  </a:lnTo>
                  <a:lnTo>
                    <a:pt x="177" y="4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2" name="Freeform 322">
              <a:extLst>
                <a:ext uri="{FF2B5EF4-FFF2-40B4-BE49-F238E27FC236}">
                  <a16:creationId xmlns:a16="http://schemas.microsoft.com/office/drawing/2014/main" id="{5426AE13-7ABA-509D-5452-0F509504BD22}"/>
                </a:ext>
              </a:extLst>
            </p:cNvPr>
            <p:cNvSpPr>
              <a:spLocks/>
            </p:cNvSpPr>
            <p:nvPr/>
          </p:nvSpPr>
          <p:spPr bwMode="auto">
            <a:xfrm>
              <a:off x="2357899" y="3584163"/>
              <a:ext cx="14392" cy="3037"/>
            </a:xfrm>
            <a:custGeom>
              <a:avLst/>
              <a:gdLst>
                <a:gd name="T0" fmla="*/ 286 w 8"/>
                <a:gd name="T1" fmla="*/ 2 h 2"/>
                <a:gd name="T2" fmla="*/ 0 w 8"/>
                <a:gd name="T3" fmla="*/ 0 h 2"/>
                <a:gd name="T4" fmla="*/ 286 w 8"/>
                <a:gd name="T5" fmla="*/ 2 h 2"/>
                <a:gd name="T6" fmla="*/ 0 60000 65536"/>
                <a:gd name="T7" fmla="*/ 0 60000 65536"/>
                <a:gd name="T8" fmla="*/ 0 60000 65536"/>
                <a:gd name="T9" fmla="*/ 0 w 8"/>
                <a:gd name="T10" fmla="*/ 0 h 2"/>
                <a:gd name="T11" fmla="*/ 8 w 8"/>
                <a:gd name="T12" fmla="*/ 2 h 2"/>
              </a:gdLst>
              <a:ahLst/>
              <a:cxnLst>
                <a:cxn ang="T6">
                  <a:pos x="T0" y="T1"/>
                </a:cxn>
                <a:cxn ang="T7">
                  <a:pos x="T2" y="T3"/>
                </a:cxn>
                <a:cxn ang="T8">
                  <a:pos x="T4" y="T5"/>
                </a:cxn>
              </a:cxnLst>
              <a:rect l="T9" t="T10" r="T11" b="T12"/>
              <a:pathLst>
                <a:path w="8" h="2">
                  <a:moveTo>
                    <a:pt x="8" y="2"/>
                  </a:moveTo>
                  <a:lnTo>
                    <a:pt x="0" y="0"/>
                  </a:lnTo>
                  <a:lnTo>
                    <a:pt x="8"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3" name="Freeform 323">
              <a:extLst>
                <a:ext uri="{FF2B5EF4-FFF2-40B4-BE49-F238E27FC236}">
                  <a16:creationId xmlns:a16="http://schemas.microsoft.com/office/drawing/2014/main" id="{D540DE12-00D5-B59F-2BB1-2D1F7243E7C5}"/>
                </a:ext>
              </a:extLst>
            </p:cNvPr>
            <p:cNvSpPr>
              <a:spLocks/>
            </p:cNvSpPr>
            <p:nvPr/>
          </p:nvSpPr>
          <p:spPr bwMode="auto">
            <a:xfrm>
              <a:off x="1777403" y="3148318"/>
              <a:ext cx="310237" cy="116934"/>
            </a:xfrm>
            <a:custGeom>
              <a:avLst/>
              <a:gdLst>
                <a:gd name="T0" fmla="*/ 36797 w 161"/>
                <a:gd name="T1" fmla="*/ 1523993 h 58"/>
                <a:gd name="T2" fmla="*/ 36797 w 161"/>
                <a:gd name="T3" fmla="*/ 1694938 h 58"/>
                <a:gd name="T4" fmla="*/ 31615 w 161"/>
                <a:gd name="T5" fmla="*/ 1114275 h 58"/>
                <a:gd name="T6" fmla="*/ 26285 w 161"/>
                <a:gd name="T7" fmla="*/ 618814 h 58"/>
                <a:gd name="T8" fmla="*/ 22623 w 161"/>
                <a:gd name="T9" fmla="*/ 302176 h 58"/>
                <a:gd name="T10" fmla="*/ 18775 w 161"/>
                <a:gd name="T11" fmla="*/ 1 h 58"/>
                <a:gd name="T12" fmla="*/ 17062 w 161"/>
                <a:gd name="T13" fmla="*/ 0 h 58"/>
                <a:gd name="T14" fmla="*/ 11009 w 161"/>
                <a:gd name="T15" fmla="*/ 302176 h 58"/>
                <a:gd name="T16" fmla="*/ 5222 w 161"/>
                <a:gd name="T17" fmla="*/ 468504 h 58"/>
                <a:gd name="T18" fmla="*/ 2109 w 161"/>
                <a:gd name="T19" fmla="*/ 1267244 h 58"/>
                <a:gd name="T20" fmla="*/ 0 w 161"/>
                <a:gd name="T21" fmla="*/ 1694938 h 58"/>
                <a:gd name="T22" fmla="*/ 1452 w 161"/>
                <a:gd name="T23" fmla="*/ 1438865 h 58"/>
                <a:gd name="T24" fmla="*/ 6134 w 161"/>
                <a:gd name="T25" fmla="*/ 1064959 h 58"/>
                <a:gd name="T26" fmla="*/ 9951 w 161"/>
                <a:gd name="T27" fmla="*/ 670445 h 58"/>
                <a:gd name="T28" fmla="*/ 16397 w 161"/>
                <a:gd name="T29" fmla="*/ 670445 h 58"/>
                <a:gd name="T30" fmla="*/ 13608 w 161"/>
                <a:gd name="T31" fmla="*/ 885544 h 58"/>
                <a:gd name="T32" fmla="*/ 18504 w 161"/>
                <a:gd name="T33" fmla="*/ 1114275 h 58"/>
                <a:gd name="T34" fmla="*/ 21577 w 161"/>
                <a:gd name="T35" fmla="*/ 1372977 h 58"/>
                <a:gd name="T36" fmla="*/ 22623 w 161"/>
                <a:gd name="T37" fmla="*/ 1523993 h 58"/>
                <a:gd name="T38" fmla="*/ 29851 w 161"/>
                <a:gd name="T39" fmla="*/ 1860000 h 58"/>
                <a:gd name="T40" fmla="*/ 31329 w 161"/>
                <a:gd name="T41" fmla="*/ 2507214 h 58"/>
                <a:gd name="T42" fmla="*/ 37225 w 161"/>
                <a:gd name="T43" fmla="*/ 3075858 h 58"/>
                <a:gd name="T44" fmla="*/ 34439 w 161"/>
                <a:gd name="T45" fmla="*/ 3876993 h 58"/>
                <a:gd name="T46" fmla="*/ 39139 w 161"/>
                <a:gd name="T47" fmla="*/ 3876993 h 58"/>
                <a:gd name="T48" fmla="*/ 44339 w 161"/>
                <a:gd name="T49" fmla="*/ 3876993 h 58"/>
                <a:gd name="T50" fmla="*/ 47875 w 161"/>
                <a:gd name="T51" fmla="*/ 3698778 h 58"/>
                <a:gd name="T52" fmla="*/ 52227 w 161"/>
                <a:gd name="T53" fmla="*/ 3587910 h 58"/>
                <a:gd name="T54" fmla="*/ 48696 w 161"/>
                <a:gd name="T55" fmla="*/ 3234803 h 58"/>
                <a:gd name="T56" fmla="*/ 44493 w 161"/>
                <a:gd name="T57" fmla="*/ 2811665 h 58"/>
                <a:gd name="T58" fmla="*/ 44493 w 161"/>
                <a:gd name="T59" fmla="*/ 2425515 h 58"/>
                <a:gd name="T60" fmla="*/ 41179 w 161"/>
                <a:gd name="T61" fmla="*/ 2149395 h 58"/>
                <a:gd name="T62" fmla="*/ 37225 w 161"/>
                <a:gd name="T63" fmla="*/ 1860000 h 58"/>
                <a:gd name="T64" fmla="*/ 36797 w 161"/>
                <a:gd name="T65" fmla="*/ 1523993 h 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1"/>
                <a:gd name="T100" fmla="*/ 0 h 58"/>
                <a:gd name="T101" fmla="*/ 161 w 161"/>
                <a:gd name="T102" fmla="*/ 58 h 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1" h="58">
                  <a:moveTo>
                    <a:pt x="114" y="23"/>
                  </a:moveTo>
                  <a:lnTo>
                    <a:pt x="114" y="25"/>
                  </a:lnTo>
                  <a:lnTo>
                    <a:pt x="98" y="17"/>
                  </a:lnTo>
                  <a:lnTo>
                    <a:pt x="82" y="9"/>
                  </a:lnTo>
                  <a:lnTo>
                    <a:pt x="70" y="4"/>
                  </a:lnTo>
                  <a:lnTo>
                    <a:pt x="58" y="1"/>
                  </a:lnTo>
                  <a:lnTo>
                    <a:pt x="52" y="0"/>
                  </a:lnTo>
                  <a:lnTo>
                    <a:pt x="34" y="4"/>
                  </a:lnTo>
                  <a:lnTo>
                    <a:pt x="16" y="7"/>
                  </a:lnTo>
                  <a:lnTo>
                    <a:pt x="7" y="19"/>
                  </a:lnTo>
                  <a:lnTo>
                    <a:pt x="0" y="25"/>
                  </a:lnTo>
                  <a:lnTo>
                    <a:pt x="5" y="22"/>
                  </a:lnTo>
                  <a:lnTo>
                    <a:pt x="18" y="16"/>
                  </a:lnTo>
                  <a:lnTo>
                    <a:pt x="31" y="10"/>
                  </a:lnTo>
                  <a:lnTo>
                    <a:pt x="51" y="10"/>
                  </a:lnTo>
                  <a:lnTo>
                    <a:pt x="42" y="13"/>
                  </a:lnTo>
                  <a:lnTo>
                    <a:pt x="57" y="17"/>
                  </a:lnTo>
                  <a:lnTo>
                    <a:pt x="66" y="20"/>
                  </a:lnTo>
                  <a:lnTo>
                    <a:pt x="70" y="23"/>
                  </a:lnTo>
                  <a:lnTo>
                    <a:pt x="92" y="28"/>
                  </a:lnTo>
                  <a:lnTo>
                    <a:pt x="96" y="38"/>
                  </a:lnTo>
                  <a:lnTo>
                    <a:pt x="115" y="46"/>
                  </a:lnTo>
                  <a:lnTo>
                    <a:pt x="106" y="58"/>
                  </a:lnTo>
                  <a:lnTo>
                    <a:pt x="121" y="58"/>
                  </a:lnTo>
                  <a:lnTo>
                    <a:pt x="137" y="58"/>
                  </a:lnTo>
                  <a:lnTo>
                    <a:pt x="148" y="55"/>
                  </a:lnTo>
                  <a:lnTo>
                    <a:pt x="161" y="54"/>
                  </a:lnTo>
                  <a:lnTo>
                    <a:pt x="150" y="48"/>
                  </a:lnTo>
                  <a:lnTo>
                    <a:pt x="138" y="42"/>
                  </a:lnTo>
                  <a:lnTo>
                    <a:pt x="138" y="36"/>
                  </a:lnTo>
                  <a:lnTo>
                    <a:pt x="127" y="32"/>
                  </a:lnTo>
                  <a:lnTo>
                    <a:pt x="115" y="28"/>
                  </a:lnTo>
                  <a:lnTo>
                    <a:pt x="114" y="2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4" name="Freeform 324">
              <a:extLst>
                <a:ext uri="{FF2B5EF4-FFF2-40B4-BE49-F238E27FC236}">
                  <a16:creationId xmlns:a16="http://schemas.microsoft.com/office/drawing/2014/main" id="{88381524-5DEF-22AE-11D7-BEAECE8842A0}"/>
                </a:ext>
              </a:extLst>
            </p:cNvPr>
            <p:cNvSpPr>
              <a:spLocks/>
            </p:cNvSpPr>
            <p:nvPr/>
          </p:nvSpPr>
          <p:spPr bwMode="auto">
            <a:xfrm>
              <a:off x="1826977" y="3193877"/>
              <a:ext cx="15991" cy="13668"/>
            </a:xfrm>
            <a:custGeom>
              <a:avLst/>
              <a:gdLst>
                <a:gd name="T0" fmla="*/ 0 w 8"/>
                <a:gd name="T1" fmla="*/ 438027 h 7"/>
                <a:gd name="T2" fmla="*/ 7702 w 8"/>
                <a:gd name="T3" fmla="*/ 438027 h 7"/>
                <a:gd name="T4" fmla="*/ 2171 w 8"/>
                <a:gd name="T5" fmla="*/ 0 h 7"/>
                <a:gd name="T6" fmla="*/ 0 w 8"/>
                <a:gd name="T7" fmla="*/ 438027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7"/>
                  </a:moveTo>
                  <a:lnTo>
                    <a:pt x="8" y="7"/>
                  </a:lnTo>
                  <a:lnTo>
                    <a:pt x="2" y="0"/>
                  </a:lnTo>
                  <a:lnTo>
                    <a:pt x="0"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5" name="Freeform 325">
              <a:extLst>
                <a:ext uri="{FF2B5EF4-FFF2-40B4-BE49-F238E27FC236}">
                  <a16:creationId xmlns:a16="http://schemas.microsoft.com/office/drawing/2014/main" id="{23A0B55B-7EB5-2B4B-843D-435682E75048}"/>
                </a:ext>
              </a:extLst>
            </p:cNvPr>
            <p:cNvSpPr>
              <a:spLocks/>
            </p:cNvSpPr>
            <p:nvPr/>
          </p:nvSpPr>
          <p:spPr bwMode="auto">
            <a:xfrm>
              <a:off x="1868555" y="3284995"/>
              <a:ext cx="6396" cy="4556"/>
            </a:xfrm>
            <a:custGeom>
              <a:avLst/>
              <a:gdLst>
                <a:gd name="T0" fmla="*/ 4 w 4"/>
                <a:gd name="T1" fmla="*/ 1 h 3"/>
                <a:gd name="T2" fmla="*/ 3 w 4"/>
                <a:gd name="T3" fmla="*/ 1 h 3"/>
                <a:gd name="T4" fmla="*/ 1 w 4"/>
                <a:gd name="T5" fmla="*/ 1 h 3"/>
                <a:gd name="T6" fmla="*/ 1 w 4"/>
                <a:gd name="T7" fmla="*/ 20671 h 3"/>
                <a:gd name="T8" fmla="*/ 0 w 4"/>
                <a:gd name="T9" fmla="*/ 20671 h 3"/>
                <a:gd name="T10" fmla="*/ 0 w 4"/>
                <a:gd name="T11" fmla="*/ 1 h 3"/>
                <a:gd name="T12" fmla="*/ 0 w 4"/>
                <a:gd name="T13" fmla="*/ 0 h 3"/>
                <a:gd name="T14" fmla="*/ 0 w 4"/>
                <a:gd name="T15" fmla="*/ 1 h 3"/>
                <a:gd name="T16" fmla="*/ 0 w 4"/>
                <a:gd name="T17" fmla="*/ 20671 h 3"/>
                <a:gd name="T18" fmla="*/ 1 w 4"/>
                <a:gd name="T19" fmla="*/ 20671 h 3"/>
                <a:gd name="T20" fmla="*/ 3 w 4"/>
                <a:gd name="T21" fmla="*/ 20671 h 3"/>
                <a:gd name="T22" fmla="*/ 4 w 4"/>
                <a:gd name="T23" fmla="*/ 20671 h 3"/>
                <a:gd name="T24" fmla="*/ 4 w 4"/>
                <a:gd name="T25" fmla="*/ 1 h 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
                <a:gd name="T40" fmla="*/ 0 h 3"/>
                <a:gd name="T41" fmla="*/ 4 w 4"/>
                <a:gd name="T42" fmla="*/ 3 h 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 h="3">
                  <a:moveTo>
                    <a:pt x="4" y="1"/>
                  </a:moveTo>
                  <a:lnTo>
                    <a:pt x="3" y="1"/>
                  </a:lnTo>
                  <a:lnTo>
                    <a:pt x="1" y="1"/>
                  </a:lnTo>
                  <a:lnTo>
                    <a:pt x="1" y="3"/>
                  </a:lnTo>
                  <a:lnTo>
                    <a:pt x="0" y="3"/>
                  </a:lnTo>
                  <a:lnTo>
                    <a:pt x="0" y="1"/>
                  </a:lnTo>
                  <a:lnTo>
                    <a:pt x="0" y="0"/>
                  </a:lnTo>
                  <a:lnTo>
                    <a:pt x="0" y="1"/>
                  </a:lnTo>
                  <a:lnTo>
                    <a:pt x="0" y="3"/>
                  </a:lnTo>
                  <a:lnTo>
                    <a:pt x="1" y="3"/>
                  </a:lnTo>
                  <a:lnTo>
                    <a:pt x="3" y="3"/>
                  </a:lnTo>
                  <a:lnTo>
                    <a:pt x="4" y="3"/>
                  </a:lnTo>
                  <a:lnTo>
                    <a:pt x="4"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6" name="Freeform 326">
              <a:extLst>
                <a:ext uri="{FF2B5EF4-FFF2-40B4-BE49-F238E27FC236}">
                  <a16:creationId xmlns:a16="http://schemas.microsoft.com/office/drawing/2014/main" id="{8E4F0CBE-A7EF-3845-5F6F-6A2C4A294513}"/>
                </a:ext>
              </a:extLst>
            </p:cNvPr>
            <p:cNvSpPr>
              <a:spLocks/>
            </p:cNvSpPr>
            <p:nvPr/>
          </p:nvSpPr>
          <p:spPr bwMode="auto">
            <a:xfrm>
              <a:off x="1914931" y="3271328"/>
              <a:ext cx="4798" cy="3037"/>
            </a:xfrm>
            <a:custGeom>
              <a:avLst/>
              <a:gdLst>
                <a:gd name="T0" fmla="*/ 3 w 3"/>
                <a:gd name="T1" fmla="*/ 0 h 1"/>
                <a:gd name="T2" fmla="*/ 2 w 3"/>
                <a:gd name="T3" fmla="*/ 0 h 1"/>
                <a:gd name="T4" fmla="*/ 0 w 3"/>
                <a:gd name="T5" fmla="*/ 0 h 1"/>
                <a:gd name="T6" fmla="*/ 0 w 3"/>
                <a:gd name="T7" fmla="*/ 2147483647 h 1"/>
                <a:gd name="T8" fmla="*/ 2 w 3"/>
                <a:gd name="T9" fmla="*/ 2147483647 h 1"/>
                <a:gd name="T10" fmla="*/ 2 w 3"/>
                <a:gd name="T11" fmla="*/ 0 h 1"/>
                <a:gd name="T12" fmla="*/ 3 w 3"/>
                <a:gd name="T13" fmla="*/ 0 h 1"/>
                <a:gd name="T14" fmla="*/ 0 60000 65536"/>
                <a:gd name="T15" fmla="*/ 0 60000 65536"/>
                <a:gd name="T16" fmla="*/ 0 60000 65536"/>
                <a:gd name="T17" fmla="*/ 0 60000 65536"/>
                <a:gd name="T18" fmla="*/ 0 60000 65536"/>
                <a:gd name="T19" fmla="*/ 0 60000 65536"/>
                <a:gd name="T20" fmla="*/ 0 60000 65536"/>
                <a:gd name="T21" fmla="*/ 0 w 3"/>
                <a:gd name="T22" fmla="*/ 0 h 1"/>
                <a:gd name="T23" fmla="*/ 3 w 3"/>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1">
                  <a:moveTo>
                    <a:pt x="3" y="0"/>
                  </a:moveTo>
                  <a:lnTo>
                    <a:pt x="2" y="0"/>
                  </a:lnTo>
                  <a:lnTo>
                    <a:pt x="0" y="0"/>
                  </a:lnTo>
                  <a:lnTo>
                    <a:pt x="0" y="1"/>
                  </a:lnTo>
                  <a:lnTo>
                    <a:pt x="2" y="1"/>
                  </a:lnTo>
                  <a:lnTo>
                    <a:pt x="2" y="0"/>
                  </a:lnTo>
                  <a:lnTo>
                    <a:pt x="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7" name="Freeform 327">
              <a:extLst>
                <a:ext uri="{FF2B5EF4-FFF2-40B4-BE49-F238E27FC236}">
                  <a16:creationId xmlns:a16="http://schemas.microsoft.com/office/drawing/2014/main" id="{2324E620-D174-5251-78B6-603401B92C4B}"/>
                </a:ext>
              </a:extLst>
            </p:cNvPr>
            <p:cNvSpPr>
              <a:spLocks/>
            </p:cNvSpPr>
            <p:nvPr/>
          </p:nvSpPr>
          <p:spPr bwMode="auto">
            <a:xfrm>
              <a:off x="1905335" y="3274365"/>
              <a:ext cx="7997" cy="1518"/>
            </a:xfrm>
            <a:custGeom>
              <a:avLst/>
              <a:gdLst>
                <a:gd name="T0" fmla="*/ 21788986 w 3"/>
                <a:gd name="T1" fmla="*/ 0 h 1"/>
                <a:gd name="T2" fmla="*/ 7844041 w 3"/>
                <a:gd name="T3" fmla="*/ 0 h 1"/>
                <a:gd name="T4" fmla="*/ 0 w 3"/>
                <a:gd name="T5" fmla="*/ 0 h 1"/>
                <a:gd name="T6" fmla="*/ 7844041 w 3"/>
                <a:gd name="T7" fmla="*/ 0 h 1"/>
                <a:gd name="T8" fmla="*/ 21788986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3" y="0"/>
                  </a:moveTo>
                  <a:lnTo>
                    <a:pt x="1" y="0"/>
                  </a:lnTo>
                  <a:lnTo>
                    <a:pt x="0" y="0"/>
                  </a:lnTo>
                  <a:lnTo>
                    <a:pt x="1" y="0"/>
                  </a:lnTo>
                  <a:lnTo>
                    <a:pt x="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8" name="Freeform 328">
              <a:extLst>
                <a:ext uri="{FF2B5EF4-FFF2-40B4-BE49-F238E27FC236}">
                  <a16:creationId xmlns:a16="http://schemas.microsoft.com/office/drawing/2014/main" id="{B14E59E7-041C-C06D-BDB2-E4085A3D8A74}"/>
                </a:ext>
              </a:extLst>
            </p:cNvPr>
            <p:cNvSpPr>
              <a:spLocks/>
            </p:cNvSpPr>
            <p:nvPr/>
          </p:nvSpPr>
          <p:spPr bwMode="auto">
            <a:xfrm>
              <a:off x="2362695" y="3316885"/>
              <a:ext cx="6396" cy="6074"/>
            </a:xfrm>
            <a:custGeom>
              <a:avLst/>
              <a:gdLst>
                <a:gd name="T0" fmla="*/ 20671 w 3"/>
                <a:gd name="T1" fmla="*/ 0 h 2"/>
                <a:gd name="T2" fmla="*/ 15503 w 3"/>
                <a:gd name="T3" fmla="*/ 0 h 2"/>
                <a:gd name="T4" fmla="*/ 15503 w 3"/>
                <a:gd name="T5" fmla="*/ 2147483647 h 2"/>
                <a:gd name="T6" fmla="*/ 0 w 3"/>
                <a:gd name="T7" fmla="*/ 2147483647 h 2"/>
                <a:gd name="T8" fmla="*/ 15503 w 3"/>
                <a:gd name="T9" fmla="*/ 2147483647 h 2"/>
                <a:gd name="T10" fmla="*/ 15503 w 3"/>
                <a:gd name="T11" fmla="*/ 0 h 2"/>
                <a:gd name="T12" fmla="*/ 15503 w 3"/>
                <a:gd name="T13" fmla="*/ 2147483647 h 2"/>
                <a:gd name="T14" fmla="*/ 20671 w 3"/>
                <a:gd name="T15" fmla="*/ 2147483647 h 2"/>
                <a:gd name="T16" fmla="*/ 20671 w 3"/>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2"/>
                <a:gd name="T29" fmla="*/ 3 w 3"/>
                <a:gd name="T30" fmla="*/ 2 h 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2">
                  <a:moveTo>
                    <a:pt x="3" y="0"/>
                  </a:moveTo>
                  <a:lnTo>
                    <a:pt x="2" y="0"/>
                  </a:lnTo>
                  <a:lnTo>
                    <a:pt x="2" y="2"/>
                  </a:lnTo>
                  <a:lnTo>
                    <a:pt x="0" y="2"/>
                  </a:lnTo>
                  <a:lnTo>
                    <a:pt x="2" y="2"/>
                  </a:lnTo>
                  <a:lnTo>
                    <a:pt x="2" y="0"/>
                  </a:lnTo>
                  <a:lnTo>
                    <a:pt x="2" y="2"/>
                  </a:lnTo>
                  <a:lnTo>
                    <a:pt x="3" y="2"/>
                  </a:lnTo>
                  <a:lnTo>
                    <a:pt x="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69" name="Rectangle 329">
              <a:extLst>
                <a:ext uri="{FF2B5EF4-FFF2-40B4-BE49-F238E27FC236}">
                  <a16:creationId xmlns:a16="http://schemas.microsoft.com/office/drawing/2014/main" id="{96B7144C-8A1E-2973-73C7-CD6D6BED7EDF}"/>
                </a:ext>
              </a:extLst>
            </p:cNvPr>
            <p:cNvSpPr>
              <a:spLocks noChangeArrowheads="1"/>
            </p:cNvSpPr>
            <p:nvPr/>
          </p:nvSpPr>
          <p:spPr bwMode="auto">
            <a:xfrm>
              <a:off x="2373890" y="3306255"/>
              <a:ext cx="4797" cy="3037"/>
            </a:xfrm>
            <a:prstGeom prst="rect">
              <a:avLst/>
            </a:prstGeom>
            <a:solidFill>
              <a:srgbClr val="8B8D8D">
                <a:lumMod val="40000"/>
                <a:lumOff val="60000"/>
              </a:srgbClr>
            </a:solidFill>
            <a:ln w="1651" algn="ctr">
              <a:solidFill>
                <a:schemeClr val="bg1"/>
              </a:solidFill>
              <a:miter lim="800000"/>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0" name="Freeform 330">
              <a:extLst>
                <a:ext uri="{FF2B5EF4-FFF2-40B4-BE49-F238E27FC236}">
                  <a16:creationId xmlns:a16="http://schemas.microsoft.com/office/drawing/2014/main" id="{B398E37A-0A78-55C1-AFF3-699E63BA4707}"/>
                </a:ext>
              </a:extLst>
            </p:cNvPr>
            <p:cNvSpPr>
              <a:spLocks/>
            </p:cNvSpPr>
            <p:nvPr/>
          </p:nvSpPr>
          <p:spPr bwMode="auto">
            <a:xfrm>
              <a:off x="2372291" y="3315366"/>
              <a:ext cx="1600" cy="1519"/>
            </a:xfrm>
            <a:custGeom>
              <a:avLst/>
              <a:gdLst>
                <a:gd name="T0" fmla="*/ 1 w 1"/>
                <a:gd name="T1" fmla="*/ 0 h 1"/>
                <a:gd name="T2" fmla="*/ 1 w 1"/>
                <a:gd name="T3" fmla="*/ 1 h 1"/>
                <a:gd name="T4" fmla="*/ 0 w 1"/>
                <a:gd name="T5" fmla="*/ 1 h 1"/>
                <a:gd name="T6" fmla="*/ 0 w 1"/>
                <a:gd name="T7" fmla="*/ 0 h 1"/>
                <a:gd name="T8" fmla="*/ 1 w 1"/>
                <a:gd name="T9" fmla="*/ 0 h 1"/>
                <a:gd name="T10" fmla="*/ 1 w 1"/>
                <a:gd name="T11" fmla="*/ 1 h 1"/>
                <a:gd name="T12" fmla="*/ 1 w 1"/>
                <a:gd name="T13" fmla="*/ 0 h 1"/>
                <a:gd name="T14" fmla="*/ 0 60000 65536"/>
                <a:gd name="T15" fmla="*/ 0 60000 65536"/>
                <a:gd name="T16" fmla="*/ 0 60000 65536"/>
                <a:gd name="T17" fmla="*/ 0 60000 65536"/>
                <a:gd name="T18" fmla="*/ 0 60000 65536"/>
                <a:gd name="T19" fmla="*/ 0 60000 65536"/>
                <a:gd name="T20" fmla="*/ 0 60000 65536"/>
                <a:gd name="T21" fmla="*/ 0 w 1"/>
                <a:gd name="T22" fmla="*/ 0 h 1"/>
                <a:gd name="T23" fmla="*/ 1 w 1"/>
                <a:gd name="T24" fmla="*/ 1 h 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1">
                  <a:moveTo>
                    <a:pt x="1" y="0"/>
                  </a:moveTo>
                  <a:lnTo>
                    <a:pt x="1" y="1"/>
                  </a:lnTo>
                  <a:lnTo>
                    <a:pt x="0" y="1"/>
                  </a:lnTo>
                  <a:lnTo>
                    <a:pt x="0" y="0"/>
                  </a:lnTo>
                  <a:lnTo>
                    <a:pt x="1" y="0"/>
                  </a:lnTo>
                  <a:lnTo>
                    <a:pt x="1" y="1"/>
                  </a:lnTo>
                  <a:lnTo>
                    <a:pt x="1"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1" name="Freeform 331">
              <a:extLst>
                <a:ext uri="{FF2B5EF4-FFF2-40B4-BE49-F238E27FC236}">
                  <a16:creationId xmlns:a16="http://schemas.microsoft.com/office/drawing/2014/main" id="{49E7216D-0A15-0173-632F-72C7A011E4A1}"/>
                </a:ext>
              </a:extLst>
            </p:cNvPr>
            <p:cNvSpPr>
              <a:spLocks/>
            </p:cNvSpPr>
            <p:nvPr/>
          </p:nvSpPr>
          <p:spPr bwMode="auto">
            <a:xfrm>
              <a:off x="2361097" y="3316885"/>
              <a:ext cx="1599" cy="4555"/>
            </a:xfrm>
            <a:custGeom>
              <a:avLst/>
              <a:gdLst>
                <a:gd name="T0" fmla="*/ 1 w 1"/>
                <a:gd name="T1" fmla="*/ 0 h 3"/>
                <a:gd name="T2" fmla="*/ 0 w 1"/>
                <a:gd name="T3" fmla="*/ 0 h 3"/>
                <a:gd name="T4" fmla="*/ 1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1" y="0"/>
                  </a:moveTo>
                  <a:lnTo>
                    <a:pt x="0" y="0"/>
                  </a:lnTo>
                  <a:lnTo>
                    <a:pt x="1"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2" name="Rectangle 332">
              <a:extLst>
                <a:ext uri="{FF2B5EF4-FFF2-40B4-BE49-F238E27FC236}">
                  <a16:creationId xmlns:a16="http://schemas.microsoft.com/office/drawing/2014/main" id="{4116756C-FE7C-52EF-0994-CB780D2AE66D}"/>
                </a:ext>
              </a:extLst>
            </p:cNvPr>
            <p:cNvSpPr>
              <a:spLocks noChangeArrowheads="1"/>
            </p:cNvSpPr>
            <p:nvPr/>
          </p:nvSpPr>
          <p:spPr bwMode="auto">
            <a:xfrm>
              <a:off x="2365893" y="3322960"/>
              <a:ext cx="3198" cy="1518"/>
            </a:xfrm>
            <a:prstGeom prst="rect">
              <a:avLst/>
            </a:prstGeom>
            <a:solidFill>
              <a:srgbClr val="8B8D8D">
                <a:lumMod val="40000"/>
                <a:lumOff val="60000"/>
              </a:srgbClr>
            </a:solidFill>
            <a:ln w="1651" algn="ctr">
              <a:solidFill>
                <a:schemeClr val="bg1"/>
              </a:solidFill>
              <a:miter lim="800000"/>
              <a:headEnd/>
              <a:tailEn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3" name="Freeform 333">
              <a:extLst>
                <a:ext uri="{FF2B5EF4-FFF2-40B4-BE49-F238E27FC236}">
                  <a16:creationId xmlns:a16="http://schemas.microsoft.com/office/drawing/2014/main" id="{66C1B766-74B6-CCAF-779A-6643FE9414BD}"/>
                </a:ext>
              </a:extLst>
            </p:cNvPr>
            <p:cNvSpPr>
              <a:spLocks/>
            </p:cNvSpPr>
            <p:nvPr/>
          </p:nvSpPr>
          <p:spPr bwMode="auto">
            <a:xfrm>
              <a:off x="2148408" y="3269809"/>
              <a:ext cx="107144" cy="80487"/>
            </a:xfrm>
            <a:custGeom>
              <a:avLst/>
              <a:gdLst>
                <a:gd name="T0" fmla="*/ 1263 w 56"/>
                <a:gd name="T1" fmla="*/ 210508 h 40"/>
                <a:gd name="T2" fmla="*/ 2 w 56"/>
                <a:gd name="T3" fmla="*/ 1603464 h 40"/>
                <a:gd name="T4" fmla="*/ 0 w 56"/>
                <a:gd name="T5" fmla="*/ 2044108 h 40"/>
                <a:gd name="T6" fmla="*/ 2 w 56"/>
                <a:gd name="T7" fmla="*/ 3202482 h 40"/>
                <a:gd name="T8" fmla="*/ 1511 w 56"/>
                <a:gd name="T9" fmla="*/ 4035625 h 40"/>
                <a:gd name="T10" fmla="*/ 3681 w 56"/>
                <a:gd name="T11" fmla="*/ 2963956 h 40"/>
                <a:gd name="T12" fmla="*/ 5379 w 56"/>
                <a:gd name="T13" fmla="*/ 2641450 h 40"/>
                <a:gd name="T14" fmla="*/ 7542 w 56"/>
                <a:gd name="T15" fmla="*/ 2720601 h 40"/>
                <a:gd name="T16" fmla="*/ 12308 w 56"/>
                <a:gd name="T17" fmla="*/ 2720601 h 40"/>
                <a:gd name="T18" fmla="*/ 14555 w 56"/>
                <a:gd name="T19" fmla="*/ 2044108 h 40"/>
                <a:gd name="T20" fmla="*/ 9796 w 56"/>
                <a:gd name="T21" fmla="*/ 1349302 h 40"/>
                <a:gd name="T22" fmla="*/ 10795 w 56"/>
                <a:gd name="T23" fmla="*/ 1050468 h 40"/>
                <a:gd name="T24" fmla="*/ 9023 w 56"/>
                <a:gd name="T25" fmla="*/ 499628 h 40"/>
                <a:gd name="T26" fmla="*/ 3096 w 56"/>
                <a:gd name="T27" fmla="*/ 0 h 40"/>
                <a:gd name="T28" fmla="*/ 1263 w 56"/>
                <a:gd name="T29" fmla="*/ 210508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6"/>
                <a:gd name="T46" fmla="*/ 0 h 40"/>
                <a:gd name="T47" fmla="*/ 56 w 56"/>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6" h="40">
                  <a:moveTo>
                    <a:pt x="5" y="2"/>
                  </a:moveTo>
                  <a:lnTo>
                    <a:pt x="2" y="16"/>
                  </a:lnTo>
                  <a:lnTo>
                    <a:pt x="0" y="21"/>
                  </a:lnTo>
                  <a:lnTo>
                    <a:pt x="2" y="32"/>
                  </a:lnTo>
                  <a:lnTo>
                    <a:pt x="6" y="40"/>
                  </a:lnTo>
                  <a:lnTo>
                    <a:pt x="13" y="30"/>
                  </a:lnTo>
                  <a:lnTo>
                    <a:pt x="21" y="26"/>
                  </a:lnTo>
                  <a:lnTo>
                    <a:pt x="28" y="27"/>
                  </a:lnTo>
                  <a:lnTo>
                    <a:pt x="48" y="27"/>
                  </a:lnTo>
                  <a:lnTo>
                    <a:pt x="56" y="21"/>
                  </a:lnTo>
                  <a:lnTo>
                    <a:pt x="38" y="13"/>
                  </a:lnTo>
                  <a:lnTo>
                    <a:pt x="41" y="10"/>
                  </a:lnTo>
                  <a:lnTo>
                    <a:pt x="34" y="5"/>
                  </a:lnTo>
                  <a:lnTo>
                    <a:pt x="12" y="0"/>
                  </a:lnTo>
                  <a:lnTo>
                    <a:pt x="5"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274" name="Freeform 334">
              <a:extLst>
                <a:ext uri="{FF2B5EF4-FFF2-40B4-BE49-F238E27FC236}">
                  <a16:creationId xmlns:a16="http://schemas.microsoft.com/office/drawing/2014/main" id="{84739832-5E29-7D67-3AE4-7B1BB3BC81D7}"/>
                </a:ext>
              </a:extLst>
            </p:cNvPr>
            <p:cNvSpPr>
              <a:spLocks/>
            </p:cNvSpPr>
            <p:nvPr/>
          </p:nvSpPr>
          <p:spPr bwMode="auto">
            <a:xfrm>
              <a:off x="2071649" y="3269809"/>
              <a:ext cx="86354" cy="65301"/>
            </a:xfrm>
            <a:custGeom>
              <a:avLst/>
              <a:gdLst>
                <a:gd name="T0" fmla="*/ 12960 w 45"/>
                <a:gd name="T1" fmla="*/ 281000 h 32"/>
                <a:gd name="T2" fmla="*/ 11864 w 45"/>
                <a:gd name="T3" fmla="*/ 2421437 h 32"/>
                <a:gd name="T4" fmla="*/ 11550 w 45"/>
                <a:gd name="T5" fmla="*/ 3220933 h 32"/>
                <a:gd name="T6" fmla="*/ 11864 w 45"/>
                <a:gd name="T7" fmla="*/ 4764131 h 32"/>
                <a:gd name="T8" fmla="*/ 7310 w 45"/>
                <a:gd name="T9" fmla="*/ 4764131 h 32"/>
                <a:gd name="T10" fmla="*/ 2759 w 45"/>
                <a:gd name="T11" fmla="*/ 4521405 h 32"/>
                <a:gd name="T12" fmla="*/ 0 w 45"/>
                <a:gd name="T13" fmla="*/ 3556484 h 32"/>
                <a:gd name="T14" fmla="*/ 2299 w 45"/>
                <a:gd name="T15" fmla="*/ 3220933 h 32"/>
                <a:gd name="T16" fmla="*/ 6092 w 45"/>
                <a:gd name="T17" fmla="*/ 3441889 h 32"/>
                <a:gd name="T18" fmla="*/ 9625 w 45"/>
                <a:gd name="T19" fmla="*/ 3441889 h 32"/>
                <a:gd name="T20" fmla="*/ 8239 w 45"/>
                <a:gd name="T21" fmla="*/ 1503628 h 32"/>
                <a:gd name="T22" fmla="*/ 6092 w 45"/>
                <a:gd name="T23" fmla="*/ 606181 h 32"/>
                <a:gd name="T24" fmla="*/ 5722 w 45"/>
                <a:gd name="T25" fmla="*/ 0 h 32"/>
                <a:gd name="T26" fmla="*/ 10211 w 45"/>
                <a:gd name="T27" fmla="*/ 1 h 32"/>
                <a:gd name="T28" fmla="*/ 12960 w 45"/>
                <a:gd name="T29" fmla="*/ 28100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
                <a:gd name="T46" fmla="*/ 0 h 32"/>
                <a:gd name="T47" fmla="*/ 45 w 45"/>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 h="32">
                  <a:moveTo>
                    <a:pt x="45" y="2"/>
                  </a:moveTo>
                  <a:lnTo>
                    <a:pt x="42" y="16"/>
                  </a:lnTo>
                  <a:lnTo>
                    <a:pt x="40" y="21"/>
                  </a:lnTo>
                  <a:lnTo>
                    <a:pt x="42" y="32"/>
                  </a:lnTo>
                  <a:lnTo>
                    <a:pt x="26" y="32"/>
                  </a:lnTo>
                  <a:lnTo>
                    <a:pt x="10" y="30"/>
                  </a:lnTo>
                  <a:lnTo>
                    <a:pt x="0" y="24"/>
                  </a:lnTo>
                  <a:lnTo>
                    <a:pt x="8" y="21"/>
                  </a:lnTo>
                  <a:lnTo>
                    <a:pt x="22" y="23"/>
                  </a:lnTo>
                  <a:lnTo>
                    <a:pt x="33" y="23"/>
                  </a:lnTo>
                  <a:lnTo>
                    <a:pt x="29" y="10"/>
                  </a:lnTo>
                  <a:lnTo>
                    <a:pt x="22" y="4"/>
                  </a:lnTo>
                  <a:lnTo>
                    <a:pt x="20" y="0"/>
                  </a:lnTo>
                  <a:lnTo>
                    <a:pt x="36" y="1"/>
                  </a:lnTo>
                  <a:lnTo>
                    <a:pt x="45"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275" name="Freeform 335">
              <a:extLst>
                <a:ext uri="{FF2B5EF4-FFF2-40B4-BE49-F238E27FC236}">
                  <a16:creationId xmlns:a16="http://schemas.microsoft.com/office/drawing/2014/main" id="{39388B45-CAD9-D2CF-677F-80A9255383A5}"/>
                </a:ext>
              </a:extLst>
            </p:cNvPr>
            <p:cNvSpPr>
              <a:spLocks/>
            </p:cNvSpPr>
            <p:nvPr/>
          </p:nvSpPr>
          <p:spPr bwMode="auto">
            <a:xfrm>
              <a:off x="2148408" y="3195396"/>
              <a:ext cx="4798" cy="4555"/>
            </a:xfrm>
            <a:custGeom>
              <a:avLst/>
              <a:gdLst>
                <a:gd name="T0" fmla="*/ 2 w 3"/>
                <a:gd name="T1" fmla="*/ 2147483647 h 2"/>
                <a:gd name="T2" fmla="*/ 0 w 3"/>
                <a:gd name="T3" fmla="*/ 2147483647 h 2"/>
                <a:gd name="T4" fmla="*/ 0 w 3"/>
                <a:gd name="T5" fmla="*/ 0 h 2"/>
                <a:gd name="T6" fmla="*/ 3 w 3"/>
                <a:gd name="T7" fmla="*/ 2147483647 h 2"/>
                <a:gd name="T8" fmla="*/ 2 w 3"/>
                <a:gd name="T9" fmla="*/ 2147483647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2"/>
                  </a:moveTo>
                  <a:lnTo>
                    <a:pt x="0" y="2"/>
                  </a:lnTo>
                  <a:lnTo>
                    <a:pt x="0" y="0"/>
                  </a:lnTo>
                  <a:lnTo>
                    <a:pt x="3" y="2"/>
                  </a:lnTo>
                  <a:lnTo>
                    <a:pt x="2"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6" name="Freeform 336">
              <a:extLst>
                <a:ext uri="{FF2B5EF4-FFF2-40B4-BE49-F238E27FC236}">
                  <a16:creationId xmlns:a16="http://schemas.microsoft.com/office/drawing/2014/main" id="{BB7B9672-BAED-2BB0-63EC-1E7936F768C3}"/>
                </a:ext>
              </a:extLst>
            </p:cNvPr>
            <p:cNvSpPr>
              <a:spLocks/>
            </p:cNvSpPr>
            <p:nvPr/>
          </p:nvSpPr>
          <p:spPr bwMode="auto">
            <a:xfrm>
              <a:off x="2164399" y="3199951"/>
              <a:ext cx="4798" cy="1519"/>
            </a:xfrm>
            <a:custGeom>
              <a:avLst/>
              <a:gdLst>
                <a:gd name="T0" fmla="*/ 3 w 3"/>
                <a:gd name="T1" fmla="*/ 0 h 1"/>
                <a:gd name="T2" fmla="*/ 0 w 3"/>
                <a:gd name="T3" fmla="*/ 0 h 1"/>
                <a:gd name="T4" fmla="*/ 3 w 3"/>
                <a:gd name="T5" fmla="*/ 0 h 1"/>
                <a:gd name="T6" fmla="*/ 0 60000 65536"/>
                <a:gd name="T7" fmla="*/ 0 60000 65536"/>
                <a:gd name="T8" fmla="*/ 0 60000 65536"/>
                <a:gd name="T9" fmla="*/ 0 w 3"/>
                <a:gd name="T10" fmla="*/ 0 h 1"/>
                <a:gd name="T11" fmla="*/ 3 w 3"/>
                <a:gd name="T12" fmla="*/ 1 h 1"/>
              </a:gdLst>
              <a:ahLst/>
              <a:cxnLst>
                <a:cxn ang="T6">
                  <a:pos x="T0" y="T1"/>
                </a:cxn>
                <a:cxn ang="T7">
                  <a:pos x="T2" y="T3"/>
                </a:cxn>
                <a:cxn ang="T8">
                  <a:pos x="T4" y="T5"/>
                </a:cxn>
              </a:cxnLst>
              <a:rect l="T9" t="T10" r="T11" b="T12"/>
              <a:pathLst>
                <a:path w="3" h="1">
                  <a:moveTo>
                    <a:pt x="3" y="0"/>
                  </a:moveTo>
                  <a:lnTo>
                    <a:pt x="0" y="0"/>
                  </a:lnTo>
                  <a:lnTo>
                    <a:pt x="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7" name="Freeform 337">
              <a:extLst>
                <a:ext uri="{FF2B5EF4-FFF2-40B4-BE49-F238E27FC236}">
                  <a16:creationId xmlns:a16="http://schemas.microsoft.com/office/drawing/2014/main" id="{47F74939-8016-A92C-2BF0-ED231EB3C473}"/>
                </a:ext>
              </a:extLst>
            </p:cNvPr>
            <p:cNvSpPr>
              <a:spLocks/>
            </p:cNvSpPr>
            <p:nvPr/>
          </p:nvSpPr>
          <p:spPr bwMode="auto">
            <a:xfrm>
              <a:off x="2460245" y="3477859"/>
              <a:ext cx="6396" cy="12149"/>
            </a:xfrm>
            <a:custGeom>
              <a:avLst/>
              <a:gdLst>
                <a:gd name="T0" fmla="*/ 15503 w 3"/>
                <a:gd name="T1" fmla="*/ 16552 h 7"/>
                <a:gd name="T2" fmla="*/ 0 w 3"/>
                <a:gd name="T3" fmla="*/ 8999 h 7"/>
                <a:gd name="T4" fmla="*/ 20671 w 3"/>
                <a:gd name="T5" fmla="*/ 0 h 7"/>
                <a:gd name="T6" fmla="*/ 15503 w 3"/>
                <a:gd name="T7" fmla="*/ 16552 h 7"/>
                <a:gd name="T8" fmla="*/ 0 60000 65536"/>
                <a:gd name="T9" fmla="*/ 0 60000 65536"/>
                <a:gd name="T10" fmla="*/ 0 60000 65536"/>
                <a:gd name="T11" fmla="*/ 0 60000 65536"/>
                <a:gd name="T12" fmla="*/ 0 w 3"/>
                <a:gd name="T13" fmla="*/ 0 h 7"/>
                <a:gd name="T14" fmla="*/ 3 w 3"/>
                <a:gd name="T15" fmla="*/ 7 h 7"/>
              </a:gdLst>
              <a:ahLst/>
              <a:cxnLst>
                <a:cxn ang="T8">
                  <a:pos x="T0" y="T1"/>
                </a:cxn>
                <a:cxn ang="T9">
                  <a:pos x="T2" y="T3"/>
                </a:cxn>
                <a:cxn ang="T10">
                  <a:pos x="T4" y="T5"/>
                </a:cxn>
                <a:cxn ang="T11">
                  <a:pos x="T6" y="T7"/>
                </a:cxn>
              </a:cxnLst>
              <a:rect l="T12" t="T13" r="T14" b="T15"/>
              <a:pathLst>
                <a:path w="3" h="7">
                  <a:moveTo>
                    <a:pt x="2" y="7"/>
                  </a:moveTo>
                  <a:lnTo>
                    <a:pt x="0" y="4"/>
                  </a:lnTo>
                  <a:lnTo>
                    <a:pt x="3" y="0"/>
                  </a:lnTo>
                  <a:lnTo>
                    <a:pt x="2"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8" name="Freeform 338">
              <a:extLst>
                <a:ext uri="{FF2B5EF4-FFF2-40B4-BE49-F238E27FC236}">
                  <a16:creationId xmlns:a16="http://schemas.microsoft.com/office/drawing/2014/main" id="{A2A4C303-3580-399E-9005-3BF59ED8A07D}"/>
                </a:ext>
              </a:extLst>
            </p:cNvPr>
            <p:cNvSpPr>
              <a:spLocks/>
            </p:cNvSpPr>
            <p:nvPr/>
          </p:nvSpPr>
          <p:spPr bwMode="auto">
            <a:xfrm>
              <a:off x="1702243" y="3584163"/>
              <a:ext cx="99148" cy="112378"/>
            </a:xfrm>
            <a:custGeom>
              <a:avLst/>
              <a:gdLst>
                <a:gd name="T0" fmla="*/ 5356 w 51"/>
                <a:gd name="T1" fmla="*/ 1766529 h 56"/>
                <a:gd name="T2" fmla="*/ 0 w 51"/>
                <a:gd name="T3" fmla="*/ 893933 h 56"/>
                <a:gd name="T4" fmla="*/ 1390 w 51"/>
                <a:gd name="T5" fmla="*/ 417287 h 56"/>
                <a:gd name="T6" fmla="*/ 1390 w 51"/>
                <a:gd name="T7" fmla="*/ 204471 h 56"/>
                <a:gd name="T8" fmla="*/ 1690 w 51"/>
                <a:gd name="T9" fmla="*/ 0 h 56"/>
                <a:gd name="T10" fmla="*/ 11119 w 51"/>
                <a:gd name="T11" fmla="*/ 306619 h 56"/>
                <a:gd name="T12" fmla="*/ 15191 w 51"/>
                <a:gd name="T13" fmla="*/ 204471 h 56"/>
                <a:gd name="T14" fmla="*/ 18467 w 51"/>
                <a:gd name="T15" fmla="*/ 1023102 h 56"/>
                <a:gd name="T16" fmla="*/ 21548 w 51"/>
                <a:gd name="T17" fmla="*/ 1766529 h 56"/>
                <a:gd name="T18" fmla="*/ 19117 w 51"/>
                <a:gd name="T19" fmla="*/ 1885353 h 56"/>
                <a:gd name="T20" fmla="*/ 19774 w 51"/>
                <a:gd name="T21" fmla="*/ 2606219 h 56"/>
                <a:gd name="T22" fmla="*/ 19117 w 51"/>
                <a:gd name="T23" fmla="*/ 3546880 h 56"/>
                <a:gd name="T24" fmla="*/ 16266 w 51"/>
                <a:gd name="T25" fmla="*/ 2804246 h 56"/>
                <a:gd name="T26" fmla="*/ 16266 w 51"/>
                <a:gd name="T27" fmla="*/ 3059021 h 56"/>
                <a:gd name="T28" fmla="*/ 14220 w 51"/>
                <a:gd name="T29" fmla="*/ 2693361 h 56"/>
                <a:gd name="T30" fmla="*/ 12348 w 51"/>
                <a:gd name="T31" fmla="*/ 2034919 h 56"/>
                <a:gd name="T32" fmla="*/ 8064 w 51"/>
                <a:gd name="T33" fmla="*/ 1520592 h 56"/>
                <a:gd name="T34" fmla="*/ 4406 w 51"/>
                <a:gd name="T35" fmla="*/ 1023102 h 56"/>
                <a:gd name="T36" fmla="*/ 5456 w 51"/>
                <a:gd name="T37" fmla="*/ 1586645 h 56"/>
                <a:gd name="T38" fmla="*/ 5356 w 51"/>
                <a:gd name="T39" fmla="*/ 1766529 h 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1"/>
                <a:gd name="T61" fmla="*/ 0 h 56"/>
                <a:gd name="T62" fmla="*/ 51 w 51"/>
                <a:gd name="T63" fmla="*/ 56 h 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1" h="56">
                  <a:moveTo>
                    <a:pt x="12" y="28"/>
                  </a:moveTo>
                  <a:lnTo>
                    <a:pt x="0" y="14"/>
                  </a:lnTo>
                  <a:lnTo>
                    <a:pt x="3" y="6"/>
                  </a:lnTo>
                  <a:lnTo>
                    <a:pt x="3" y="3"/>
                  </a:lnTo>
                  <a:lnTo>
                    <a:pt x="4" y="0"/>
                  </a:lnTo>
                  <a:lnTo>
                    <a:pt x="26" y="5"/>
                  </a:lnTo>
                  <a:lnTo>
                    <a:pt x="36" y="3"/>
                  </a:lnTo>
                  <a:lnTo>
                    <a:pt x="44" y="16"/>
                  </a:lnTo>
                  <a:lnTo>
                    <a:pt x="51" y="28"/>
                  </a:lnTo>
                  <a:lnTo>
                    <a:pt x="45" y="30"/>
                  </a:lnTo>
                  <a:lnTo>
                    <a:pt x="46" y="41"/>
                  </a:lnTo>
                  <a:lnTo>
                    <a:pt x="45" y="56"/>
                  </a:lnTo>
                  <a:lnTo>
                    <a:pt x="38" y="44"/>
                  </a:lnTo>
                  <a:lnTo>
                    <a:pt x="38" y="48"/>
                  </a:lnTo>
                  <a:lnTo>
                    <a:pt x="33" y="43"/>
                  </a:lnTo>
                  <a:lnTo>
                    <a:pt x="29" y="32"/>
                  </a:lnTo>
                  <a:lnTo>
                    <a:pt x="19" y="24"/>
                  </a:lnTo>
                  <a:lnTo>
                    <a:pt x="10" y="16"/>
                  </a:lnTo>
                  <a:lnTo>
                    <a:pt x="13" y="25"/>
                  </a:lnTo>
                  <a:lnTo>
                    <a:pt x="12" y="2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79" name="Freeform 339">
              <a:extLst>
                <a:ext uri="{FF2B5EF4-FFF2-40B4-BE49-F238E27FC236}">
                  <a16:creationId xmlns:a16="http://schemas.microsoft.com/office/drawing/2014/main" id="{411E7619-488E-77DB-F525-76AA8A755DA6}"/>
                </a:ext>
              </a:extLst>
            </p:cNvPr>
            <p:cNvSpPr>
              <a:spLocks/>
            </p:cNvSpPr>
            <p:nvPr/>
          </p:nvSpPr>
          <p:spPr bwMode="auto">
            <a:xfrm>
              <a:off x="2188387" y="3527973"/>
              <a:ext cx="1599" cy="10631"/>
            </a:xfrm>
            <a:custGeom>
              <a:avLst/>
              <a:gdLst>
                <a:gd name="T0" fmla="*/ 0 w 1"/>
                <a:gd name="T1" fmla="*/ 0 h 4"/>
                <a:gd name="T2" fmla="*/ 0 w 1"/>
                <a:gd name="T3" fmla="*/ 44198021 h 4"/>
                <a:gd name="T4" fmla="*/ 1 w 1"/>
                <a:gd name="T5" fmla="*/ 135356359 h 4"/>
                <a:gd name="T6" fmla="*/ 0 w 1"/>
                <a:gd name="T7" fmla="*/ 0 h 4"/>
                <a:gd name="T8" fmla="*/ 0 60000 65536"/>
                <a:gd name="T9" fmla="*/ 0 60000 65536"/>
                <a:gd name="T10" fmla="*/ 0 60000 65536"/>
                <a:gd name="T11" fmla="*/ 0 60000 65536"/>
                <a:gd name="T12" fmla="*/ 0 w 1"/>
                <a:gd name="T13" fmla="*/ 0 h 4"/>
                <a:gd name="T14" fmla="*/ 1 w 1"/>
                <a:gd name="T15" fmla="*/ 4 h 4"/>
              </a:gdLst>
              <a:ahLst/>
              <a:cxnLst>
                <a:cxn ang="T8">
                  <a:pos x="T0" y="T1"/>
                </a:cxn>
                <a:cxn ang="T9">
                  <a:pos x="T2" y="T3"/>
                </a:cxn>
                <a:cxn ang="T10">
                  <a:pos x="T4" y="T5"/>
                </a:cxn>
                <a:cxn ang="T11">
                  <a:pos x="T6" y="T7"/>
                </a:cxn>
              </a:cxnLst>
              <a:rect l="T12" t="T13" r="T14" b="T15"/>
              <a:pathLst>
                <a:path w="1" h="4">
                  <a:moveTo>
                    <a:pt x="0" y="0"/>
                  </a:moveTo>
                  <a:lnTo>
                    <a:pt x="0" y="1"/>
                  </a:lnTo>
                  <a:lnTo>
                    <a:pt x="1" y="4"/>
                  </a:lnTo>
                  <a:lnTo>
                    <a:pt x="0"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0" name="Freeform 340">
              <a:extLst>
                <a:ext uri="{FF2B5EF4-FFF2-40B4-BE49-F238E27FC236}">
                  <a16:creationId xmlns:a16="http://schemas.microsoft.com/office/drawing/2014/main" id="{00164DE6-AED2-2B65-41F0-99190328EA6D}"/>
                </a:ext>
              </a:extLst>
            </p:cNvPr>
            <p:cNvSpPr>
              <a:spLocks/>
            </p:cNvSpPr>
            <p:nvPr/>
          </p:nvSpPr>
          <p:spPr bwMode="auto">
            <a:xfrm>
              <a:off x="2503421" y="3503675"/>
              <a:ext cx="6396" cy="7593"/>
            </a:xfrm>
            <a:custGeom>
              <a:avLst/>
              <a:gdLst>
                <a:gd name="T0" fmla="*/ 20671 w 3"/>
                <a:gd name="T1" fmla="*/ 1049869 h 4"/>
                <a:gd name="T2" fmla="*/ 0 w 3"/>
                <a:gd name="T3" fmla="*/ 1049869 h 4"/>
                <a:gd name="T4" fmla="*/ 0 w 3"/>
                <a:gd name="T5" fmla="*/ 0 h 4"/>
                <a:gd name="T6" fmla="*/ 20671 w 3"/>
                <a:gd name="T7" fmla="*/ 104986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3" y="4"/>
                  </a:moveTo>
                  <a:lnTo>
                    <a:pt x="0" y="4"/>
                  </a:lnTo>
                  <a:lnTo>
                    <a:pt x="0" y="0"/>
                  </a:lnTo>
                  <a:lnTo>
                    <a:pt x="3"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1" name="Freeform 341">
              <a:extLst>
                <a:ext uri="{FF2B5EF4-FFF2-40B4-BE49-F238E27FC236}">
                  <a16:creationId xmlns:a16="http://schemas.microsoft.com/office/drawing/2014/main" id="{0400BF35-1EFA-8FB4-C9DB-5F20EDCFD691}"/>
                </a:ext>
              </a:extLst>
            </p:cNvPr>
            <p:cNvSpPr>
              <a:spLocks/>
            </p:cNvSpPr>
            <p:nvPr/>
          </p:nvSpPr>
          <p:spPr bwMode="auto">
            <a:xfrm>
              <a:off x="2453848" y="3423189"/>
              <a:ext cx="4797" cy="12149"/>
            </a:xfrm>
            <a:custGeom>
              <a:avLst/>
              <a:gdLst>
                <a:gd name="T0" fmla="*/ 3 w 3"/>
                <a:gd name="T1" fmla="*/ 8476282 h 5"/>
                <a:gd name="T2" fmla="*/ 1 w 3"/>
                <a:gd name="T3" fmla="*/ 10955007 h 5"/>
                <a:gd name="T4" fmla="*/ 0 w 3"/>
                <a:gd name="T5" fmla="*/ 0 h 5"/>
                <a:gd name="T6" fmla="*/ 3 w 3"/>
                <a:gd name="T7" fmla="*/ 0 h 5"/>
                <a:gd name="T8" fmla="*/ 3 w 3"/>
                <a:gd name="T9" fmla="*/ 8476282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4"/>
                  </a:moveTo>
                  <a:lnTo>
                    <a:pt x="1" y="5"/>
                  </a:lnTo>
                  <a:lnTo>
                    <a:pt x="0" y="0"/>
                  </a:lnTo>
                  <a:lnTo>
                    <a:pt x="3" y="0"/>
                  </a:lnTo>
                  <a:lnTo>
                    <a:pt x="3"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2" name="Freeform 342">
              <a:extLst>
                <a:ext uri="{FF2B5EF4-FFF2-40B4-BE49-F238E27FC236}">
                  <a16:creationId xmlns:a16="http://schemas.microsoft.com/office/drawing/2014/main" id="{3F77D73C-66F9-3D26-AD5F-8801C1125D1B}"/>
                </a:ext>
              </a:extLst>
            </p:cNvPr>
            <p:cNvSpPr>
              <a:spLocks/>
            </p:cNvSpPr>
            <p:nvPr/>
          </p:nvSpPr>
          <p:spPr bwMode="auto">
            <a:xfrm>
              <a:off x="1585504" y="3465711"/>
              <a:ext cx="67165" cy="42522"/>
            </a:xfrm>
            <a:custGeom>
              <a:avLst/>
              <a:gdLst>
                <a:gd name="T0" fmla="*/ 9887 w 35"/>
                <a:gd name="T1" fmla="*/ 715222 h 22"/>
                <a:gd name="T2" fmla="*/ 8509 w 35"/>
                <a:gd name="T3" fmla="*/ 916600 h 22"/>
                <a:gd name="T4" fmla="*/ 6686 w 35"/>
                <a:gd name="T5" fmla="*/ 814519 h 22"/>
                <a:gd name="T6" fmla="*/ 3311 w 35"/>
                <a:gd name="T7" fmla="*/ 660407 h 22"/>
                <a:gd name="T8" fmla="*/ 0 w 35"/>
                <a:gd name="T9" fmla="*/ 507577 h 22"/>
                <a:gd name="T10" fmla="*/ 3869 w 35"/>
                <a:gd name="T11" fmla="*/ 0 h 22"/>
                <a:gd name="T12" fmla="*/ 6092 w 35"/>
                <a:gd name="T13" fmla="*/ 291128 h 22"/>
                <a:gd name="T14" fmla="*/ 9887 w 35"/>
                <a:gd name="T15" fmla="*/ 364986 h 22"/>
                <a:gd name="T16" fmla="*/ 9887 w 35"/>
                <a:gd name="T17" fmla="*/ 715222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22"/>
                <a:gd name="T29" fmla="*/ 35 w 35"/>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22">
                  <a:moveTo>
                    <a:pt x="35" y="17"/>
                  </a:moveTo>
                  <a:lnTo>
                    <a:pt x="30" y="22"/>
                  </a:lnTo>
                  <a:lnTo>
                    <a:pt x="23" y="20"/>
                  </a:lnTo>
                  <a:lnTo>
                    <a:pt x="12" y="16"/>
                  </a:lnTo>
                  <a:lnTo>
                    <a:pt x="0" y="12"/>
                  </a:lnTo>
                  <a:lnTo>
                    <a:pt x="13" y="0"/>
                  </a:lnTo>
                  <a:lnTo>
                    <a:pt x="22" y="7"/>
                  </a:lnTo>
                  <a:lnTo>
                    <a:pt x="35" y="9"/>
                  </a:lnTo>
                  <a:lnTo>
                    <a:pt x="35" y="1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3" name="Freeform 343">
              <a:extLst>
                <a:ext uri="{FF2B5EF4-FFF2-40B4-BE49-F238E27FC236}">
                  <a16:creationId xmlns:a16="http://schemas.microsoft.com/office/drawing/2014/main" id="{6E3889B7-709C-29F5-89A9-299728CDAFEE}"/>
                </a:ext>
              </a:extLst>
            </p:cNvPr>
            <p:cNvSpPr>
              <a:spLocks/>
            </p:cNvSpPr>
            <p:nvPr/>
          </p:nvSpPr>
          <p:spPr bwMode="auto">
            <a:xfrm>
              <a:off x="2436256" y="3543159"/>
              <a:ext cx="4798" cy="7593"/>
            </a:xfrm>
            <a:custGeom>
              <a:avLst/>
              <a:gdLst>
                <a:gd name="T0" fmla="*/ 3 w 3"/>
                <a:gd name="T1" fmla="*/ 466609 h 4"/>
                <a:gd name="T2" fmla="*/ 3 w 3"/>
                <a:gd name="T3" fmla="*/ 0 h 4"/>
                <a:gd name="T4" fmla="*/ 2 w 3"/>
                <a:gd name="T5" fmla="*/ 0 h 4"/>
                <a:gd name="T6" fmla="*/ 2 w 3"/>
                <a:gd name="T7" fmla="*/ 466609 h 4"/>
                <a:gd name="T8" fmla="*/ 0 w 3"/>
                <a:gd name="T9" fmla="*/ 466609 h 4"/>
                <a:gd name="T10" fmla="*/ 0 w 3"/>
                <a:gd name="T11" fmla="*/ 699913 h 4"/>
                <a:gd name="T12" fmla="*/ 0 w 3"/>
                <a:gd name="T13" fmla="*/ 1049869 h 4"/>
                <a:gd name="T14" fmla="*/ 2 w 3"/>
                <a:gd name="T15" fmla="*/ 1049869 h 4"/>
                <a:gd name="T16" fmla="*/ 2 w 3"/>
                <a:gd name="T17" fmla="*/ 699913 h 4"/>
                <a:gd name="T18" fmla="*/ 3 w 3"/>
                <a:gd name="T19" fmla="*/ 699913 h 4"/>
                <a:gd name="T20" fmla="*/ 3 w 3"/>
                <a:gd name="T21" fmla="*/ 466609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
                <a:gd name="T34" fmla="*/ 0 h 4"/>
                <a:gd name="T35" fmla="*/ 3 w 3"/>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 h="4">
                  <a:moveTo>
                    <a:pt x="3" y="2"/>
                  </a:moveTo>
                  <a:lnTo>
                    <a:pt x="3" y="0"/>
                  </a:lnTo>
                  <a:lnTo>
                    <a:pt x="2" y="0"/>
                  </a:lnTo>
                  <a:lnTo>
                    <a:pt x="2" y="2"/>
                  </a:lnTo>
                  <a:lnTo>
                    <a:pt x="0" y="2"/>
                  </a:lnTo>
                  <a:lnTo>
                    <a:pt x="0" y="3"/>
                  </a:lnTo>
                  <a:lnTo>
                    <a:pt x="0" y="4"/>
                  </a:lnTo>
                  <a:lnTo>
                    <a:pt x="2" y="4"/>
                  </a:lnTo>
                  <a:lnTo>
                    <a:pt x="2" y="3"/>
                  </a:lnTo>
                  <a:lnTo>
                    <a:pt x="3" y="3"/>
                  </a:lnTo>
                  <a:lnTo>
                    <a:pt x="3"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4" name="Freeform 344">
              <a:extLst>
                <a:ext uri="{FF2B5EF4-FFF2-40B4-BE49-F238E27FC236}">
                  <a16:creationId xmlns:a16="http://schemas.microsoft.com/office/drawing/2014/main" id="{9FD2D8FC-6830-78D6-8B56-9E50AF7F00C0}"/>
                </a:ext>
              </a:extLst>
            </p:cNvPr>
            <p:cNvSpPr>
              <a:spLocks/>
            </p:cNvSpPr>
            <p:nvPr/>
          </p:nvSpPr>
          <p:spPr bwMode="auto">
            <a:xfrm>
              <a:off x="1609491" y="3412558"/>
              <a:ext cx="187101" cy="104785"/>
            </a:xfrm>
            <a:custGeom>
              <a:avLst/>
              <a:gdLst>
                <a:gd name="T0" fmla="*/ 17462 w 97"/>
                <a:gd name="T1" fmla="*/ 2954371 h 52"/>
                <a:gd name="T2" fmla="*/ 15861 w 97"/>
                <a:gd name="T3" fmla="*/ 3235619 h 52"/>
                <a:gd name="T4" fmla="*/ 13150 w 97"/>
                <a:gd name="T5" fmla="*/ 3440628 h 52"/>
                <a:gd name="T6" fmla="*/ 10911 w 97"/>
                <a:gd name="T7" fmla="*/ 4439094 h 52"/>
                <a:gd name="T8" fmla="*/ 9759 w 97"/>
                <a:gd name="T9" fmla="*/ 4439094 h 52"/>
                <a:gd name="T10" fmla="*/ 9364 w 97"/>
                <a:gd name="T11" fmla="*/ 3860617 h 52"/>
                <a:gd name="T12" fmla="*/ 7500 w 97"/>
                <a:gd name="T13" fmla="*/ 3642447 h 52"/>
                <a:gd name="T14" fmla="*/ 7500 w 97"/>
                <a:gd name="T15" fmla="*/ 2954371 h 52"/>
                <a:gd name="T16" fmla="*/ 3041 w 97"/>
                <a:gd name="T17" fmla="*/ 2844992 h 52"/>
                <a:gd name="T18" fmla="*/ 0 w 97"/>
                <a:gd name="T19" fmla="*/ 2243363 h 52"/>
                <a:gd name="T20" fmla="*/ 3041 w 97"/>
                <a:gd name="T21" fmla="*/ 948216 h 52"/>
                <a:gd name="T22" fmla="*/ 6708 w 97"/>
                <a:gd name="T23" fmla="*/ 257091 h 52"/>
                <a:gd name="T24" fmla="*/ 7500 w 97"/>
                <a:gd name="T25" fmla="*/ 257091 h 52"/>
                <a:gd name="T26" fmla="*/ 12002 w 97"/>
                <a:gd name="T27" fmla="*/ 1 h 52"/>
                <a:gd name="T28" fmla="*/ 17462 w 97"/>
                <a:gd name="T29" fmla="*/ 0 h 52"/>
                <a:gd name="T30" fmla="*/ 21397 w 97"/>
                <a:gd name="T31" fmla="*/ 0 h 52"/>
                <a:gd name="T32" fmla="*/ 25809 w 97"/>
                <a:gd name="T33" fmla="*/ 0 h 52"/>
                <a:gd name="T34" fmla="*/ 29126 w 97"/>
                <a:gd name="T35" fmla="*/ 578730 h 52"/>
                <a:gd name="T36" fmla="*/ 27858 w 97"/>
                <a:gd name="T37" fmla="*/ 534813 h 52"/>
                <a:gd name="T38" fmla="*/ 29126 w 97"/>
                <a:gd name="T39" fmla="*/ 834707 h 52"/>
                <a:gd name="T40" fmla="*/ 30643 w 97"/>
                <a:gd name="T41" fmla="*/ 834707 h 52"/>
                <a:gd name="T42" fmla="*/ 32297 w 97"/>
                <a:gd name="T43" fmla="*/ 1367619 h 52"/>
                <a:gd name="T44" fmla="*/ 28837 w 97"/>
                <a:gd name="T45" fmla="*/ 1479519 h 52"/>
                <a:gd name="T46" fmla="*/ 24300 w 97"/>
                <a:gd name="T47" fmla="*/ 1736400 h 52"/>
                <a:gd name="T48" fmla="*/ 17462 w 97"/>
                <a:gd name="T49" fmla="*/ 2954371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7"/>
                <a:gd name="T76" fmla="*/ 0 h 52"/>
                <a:gd name="T77" fmla="*/ 97 w 97"/>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7" h="52">
                  <a:moveTo>
                    <a:pt x="52" y="35"/>
                  </a:moveTo>
                  <a:lnTo>
                    <a:pt x="47" y="38"/>
                  </a:lnTo>
                  <a:lnTo>
                    <a:pt x="39" y="40"/>
                  </a:lnTo>
                  <a:lnTo>
                    <a:pt x="33" y="52"/>
                  </a:lnTo>
                  <a:lnTo>
                    <a:pt x="29" y="52"/>
                  </a:lnTo>
                  <a:lnTo>
                    <a:pt x="28" y="45"/>
                  </a:lnTo>
                  <a:lnTo>
                    <a:pt x="22" y="43"/>
                  </a:lnTo>
                  <a:lnTo>
                    <a:pt x="22" y="35"/>
                  </a:lnTo>
                  <a:lnTo>
                    <a:pt x="9" y="33"/>
                  </a:lnTo>
                  <a:lnTo>
                    <a:pt x="0" y="26"/>
                  </a:lnTo>
                  <a:lnTo>
                    <a:pt x="9" y="11"/>
                  </a:lnTo>
                  <a:lnTo>
                    <a:pt x="20" y="3"/>
                  </a:lnTo>
                  <a:lnTo>
                    <a:pt x="22" y="3"/>
                  </a:lnTo>
                  <a:lnTo>
                    <a:pt x="36" y="1"/>
                  </a:lnTo>
                  <a:lnTo>
                    <a:pt x="52" y="0"/>
                  </a:lnTo>
                  <a:lnTo>
                    <a:pt x="64" y="0"/>
                  </a:lnTo>
                  <a:lnTo>
                    <a:pt x="77" y="0"/>
                  </a:lnTo>
                  <a:lnTo>
                    <a:pt x="87" y="7"/>
                  </a:lnTo>
                  <a:lnTo>
                    <a:pt x="84" y="6"/>
                  </a:lnTo>
                  <a:lnTo>
                    <a:pt x="87" y="10"/>
                  </a:lnTo>
                  <a:lnTo>
                    <a:pt x="92" y="10"/>
                  </a:lnTo>
                  <a:lnTo>
                    <a:pt x="97" y="16"/>
                  </a:lnTo>
                  <a:lnTo>
                    <a:pt x="86" y="17"/>
                  </a:lnTo>
                  <a:lnTo>
                    <a:pt x="73" y="20"/>
                  </a:lnTo>
                  <a:lnTo>
                    <a:pt x="52" y="3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5" name="Freeform 345">
              <a:extLst>
                <a:ext uri="{FF2B5EF4-FFF2-40B4-BE49-F238E27FC236}">
                  <a16:creationId xmlns:a16="http://schemas.microsoft.com/office/drawing/2014/main" id="{C03A2B89-897E-0F05-6798-A4E0971EBBDA}"/>
                </a:ext>
              </a:extLst>
            </p:cNvPr>
            <p:cNvSpPr>
              <a:spLocks/>
            </p:cNvSpPr>
            <p:nvPr/>
          </p:nvSpPr>
          <p:spPr bwMode="auto">
            <a:xfrm>
              <a:off x="2458645" y="3452043"/>
              <a:ext cx="9595" cy="7593"/>
            </a:xfrm>
            <a:custGeom>
              <a:avLst/>
              <a:gdLst>
                <a:gd name="T0" fmla="*/ 1331 w 5"/>
                <a:gd name="T1" fmla="*/ 1331 h 5"/>
                <a:gd name="T2" fmla="*/ 0 w 5"/>
                <a:gd name="T3" fmla="*/ 0 h 5"/>
                <a:gd name="T4" fmla="*/ 1331 w 5"/>
                <a:gd name="T5" fmla="*/ 1331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5" y="5"/>
                  </a:moveTo>
                  <a:lnTo>
                    <a:pt x="0" y="0"/>
                  </a:lnTo>
                  <a:lnTo>
                    <a:pt x="5" y="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6" name="Freeform 346">
              <a:extLst>
                <a:ext uri="{FF2B5EF4-FFF2-40B4-BE49-F238E27FC236}">
                  <a16:creationId xmlns:a16="http://schemas.microsoft.com/office/drawing/2014/main" id="{2A81B4AF-B6EF-C195-F041-628D4C8D453C}"/>
                </a:ext>
              </a:extLst>
            </p:cNvPr>
            <p:cNvSpPr>
              <a:spLocks/>
            </p:cNvSpPr>
            <p:nvPr/>
          </p:nvSpPr>
          <p:spPr bwMode="auto">
            <a:xfrm>
              <a:off x="1654268" y="3444449"/>
              <a:ext cx="142325" cy="150343"/>
            </a:xfrm>
            <a:custGeom>
              <a:avLst/>
              <a:gdLst>
                <a:gd name="T0" fmla="*/ 8875 w 74"/>
                <a:gd name="T1" fmla="*/ 1701076 h 74"/>
                <a:gd name="T2" fmla="*/ 7379 w 74"/>
                <a:gd name="T3" fmla="*/ 2035217 h 74"/>
                <a:gd name="T4" fmla="*/ 4926 w 74"/>
                <a:gd name="T5" fmla="*/ 2259788 h 74"/>
                <a:gd name="T6" fmla="*/ 2932 w 74"/>
                <a:gd name="T7" fmla="*/ 3300421 h 74"/>
                <a:gd name="T8" fmla="*/ 1685 w 74"/>
                <a:gd name="T9" fmla="*/ 3300421 h 74"/>
                <a:gd name="T10" fmla="*/ 0 w 74"/>
                <a:gd name="T11" fmla="*/ 3546772 h 74"/>
                <a:gd name="T12" fmla="*/ 4555 w 74"/>
                <a:gd name="T13" fmla="*/ 4870263 h 74"/>
                <a:gd name="T14" fmla="*/ 8875 w 74"/>
                <a:gd name="T15" fmla="*/ 6417559 h 74"/>
                <a:gd name="T16" fmla="*/ 15440 w 74"/>
                <a:gd name="T17" fmla="*/ 6831615 h 74"/>
                <a:gd name="T18" fmla="*/ 18570 w 74"/>
                <a:gd name="T19" fmla="*/ 6621108 h 74"/>
                <a:gd name="T20" fmla="*/ 18570 w 74"/>
                <a:gd name="T21" fmla="*/ 5616397 h 74"/>
                <a:gd name="T22" fmla="*/ 18570 w 74"/>
                <a:gd name="T23" fmla="*/ 4772228 h 74"/>
                <a:gd name="T24" fmla="*/ 19739 w 74"/>
                <a:gd name="T25" fmla="*/ 3884239 h 74"/>
                <a:gd name="T26" fmla="*/ 19960 w 74"/>
                <a:gd name="T27" fmla="*/ 4159110 h 74"/>
                <a:gd name="T28" fmla="*/ 20967 w 74"/>
                <a:gd name="T29" fmla="*/ 2738396 h 74"/>
                <a:gd name="T30" fmla="*/ 21378 w 74"/>
                <a:gd name="T31" fmla="*/ 1468122 h 74"/>
                <a:gd name="T32" fmla="*/ 21378 w 74"/>
                <a:gd name="T33" fmla="*/ 269131 h 74"/>
                <a:gd name="T34" fmla="*/ 22593 w 74"/>
                <a:gd name="T35" fmla="*/ 0 h 74"/>
                <a:gd name="T36" fmla="*/ 19201 w 74"/>
                <a:gd name="T37" fmla="*/ 1 h 74"/>
                <a:gd name="T38" fmla="*/ 15422 w 74"/>
                <a:gd name="T39" fmla="*/ 389149 h 74"/>
                <a:gd name="T40" fmla="*/ 8875 w 74"/>
                <a:gd name="T41" fmla="*/ 1701076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4"/>
                <a:gd name="T64" fmla="*/ 0 h 74"/>
                <a:gd name="T65" fmla="*/ 74 w 74"/>
                <a:gd name="T66" fmla="*/ 74 h 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4" h="74">
                  <a:moveTo>
                    <a:pt x="29" y="19"/>
                  </a:moveTo>
                  <a:lnTo>
                    <a:pt x="24" y="22"/>
                  </a:lnTo>
                  <a:lnTo>
                    <a:pt x="16" y="24"/>
                  </a:lnTo>
                  <a:lnTo>
                    <a:pt x="10" y="36"/>
                  </a:lnTo>
                  <a:lnTo>
                    <a:pt x="6" y="36"/>
                  </a:lnTo>
                  <a:lnTo>
                    <a:pt x="0" y="38"/>
                  </a:lnTo>
                  <a:lnTo>
                    <a:pt x="15" y="53"/>
                  </a:lnTo>
                  <a:lnTo>
                    <a:pt x="29" y="69"/>
                  </a:lnTo>
                  <a:lnTo>
                    <a:pt x="51" y="74"/>
                  </a:lnTo>
                  <a:lnTo>
                    <a:pt x="61" y="72"/>
                  </a:lnTo>
                  <a:lnTo>
                    <a:pt x="61" y="61"/>
                  </a:lnTo>
                  <a:lnTo>
                    <a:pt x="61" y="52"/>
                  </a:lnTo>
                  <a:lnTo>
                    <a:pt x="64" y="42"/>
                  </a:lnTo>
                  <a:lnTo>
                    <a:pt x="66" y="45"/>
                  </a:lnTo>
                  <a:lnTo>
                    <a:pt x="69" y="30"/>
                  </a:lnTo>
                  <a:lnTo>
                    <a:pt x="70" y="16"/>
                  </a:lnTo>
                  <a:lnTo>
                    <a:pt x="70" y="3"/>
                  </a:lnTo>
                  <a:lnTo>
                    <a:pt x="74" y="0"/>
                  </a:lnTo>
                  <a:lnTo>
                    <a:pt x="63" y="1"/>
                  </a:lnTo>
                  <a:lnTo>
                    <a:pt x="50" y="4"/>
                  </a:lnTo>
                  <a:lnTo>
                    <a:pt x="29" y="1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7" name="Freeform 347">
              <a:extLst>
                <a:ext uri="{FF2B5EF4-FFF2-40B4-BE49-F238E27FC236}">
                  <a16:creationId xmlns:a16="http://schemas.microsoft.com/office/drawing/2014/main" id="{FDC2E708-DA50-E072-FFF2-3F2BF53C38A7}"/>
                </a:ext>
              </a:extLst>
            </p:cNvPr>
            <p:cNvSpPr>
              <a:spLocks/>
            </p:cNvSpPr>
            <p:nvPr/>
          </p:nvSpPr>
          <p:spPr bwMode="auto">
            <a:xfrm>
              <a:off x="2453848" y="3503675"/>
              <a:ext cx="4797" cy="7593"/>
            </a:xfrm>
            <a:custGeom>
              <a:avLst/>
              <a:gdLst>
                <a:gd name="T0" fmla="*/ 1 w 3"/>
                <a:gd name="T1" fmla="*/ 1049869 h 4"/>
                <a:gd name="T2" fmla="*/ 3 w 3"/>
                <a:gd name="T3" fmla="*/ 0 h 4"/>
                <a:gd name="T4" fmla="*/ 0 w 3"/>
                <a:gd name="T5" fmla="*/ 311073 h 4"/>
                <a:gd name="T6" fmla="*/ 1 w 3"/>
                <a:gd name="T7" fmla="*/ 104986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4"/>
                  </a:moveTo>
                  <a:lnTo>
                    <a:pt x="3" y="0"/>
                  </a:lnTo>
                  <a:lnTo>
                    <a:pt x="0" y="1"/>
                  </a:lnTo>
                  <a:lnTo>
                    <a:pt x="1"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8" name="Freeform 348">
              <a:extLst>
                <a:ext uri="{FF2B5EF4-FFF2-40B4-BE49-F238E27FC236}">
                  <a16:creationId xmlns:a16="http://schemas.microsoft.com/office/drawing/2014/main" id="{94B0A407-DFBE-31E8-13EA-648A452BE183}"/>
                </a:ext>
              </a:extLst>
            </p:cNvPr>
            <p:cNvSpPr>
              <a:spLocks/>
            </p:cNvSpPr>
            <p:nvPr/>
          </p:nvSpPr>
          <p:spPr bwMode="auto">
            <a:xfrm>
              <a:off x="2421864" y="3365481"/>
              <a:ext cx="1599" cy="3037"/>
            </a:xfrm>
            <a:custGeom>
              <a:avLst/>
              <a:gdLst>
                <a:gd name="T0" fmla="*/ 1 w 1"/>
                <a:gd name="T1" fmla="*/ 2147483647 h 1"/>
                <a:gd name="T2" fmla="*/ 0 w 1"/>
                <a:gd name="T3" fmla="*/ 0 h 1"/>
                <a:gd name="T4" fmla="*/ 1 w 1"/>
                <a:gd name="T5" fmla="*/ 0 h 1"/>
                <a:gd name="T6" fmla="*/ 1 w 1"/>
                <a:gd name="T7" fmla="*/ 2147483647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lnTo>
                    <a:pt x="0" y="0"/>
                  </a:lnTo>
                  <a:lnTo>
                    <a:pt x="1" y="0"/>
                  </a:lnTo>
                  <a:lnTo>
                    <a:pt x="1"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89" name="Freeform 349">
              <a:extLst>
                <a:ext uri="{FF2B5EF4-FFF2-40B4-BE49-F238E27FC236}">
                  <a16:creationId xmlns:a16="http://schemas.microsoft.com/office/drawing/2014/main" id="{6068C8B3-86CE-E571-9BB3-9D4A453EC71F}"/>
                </a:ext>
              </a:extLst>
            </p:cNvPr>
            <p:cNvSpPr>
              <a:spLocks/>
            </p:cNvSpPr>
            <p:nvPr/>
          </p:nvSpPr>
          <p:spPr bwMode="auto">
            <a:xfrm>
              <a:off x="2417067" y="3357888"/>
              <a:ext cx="4798" cy="4556"/>
            </a:xfrm>
            <a:custGeom>
              <a:avLst/>
              <a:gdLst>
                <a:gd name="T0" fmla="*/ 3 w 3"/>
                <a:gd name="T1" fmla="*/ 3 h 3"/>
                <a:gd name="T2" fmla="*/ 0 w 3"/>
                <a:gd name="T3" fmla="*/ 0 h 3"/>
                <a:gd name="T4" fmla="*/ 3 w 3"/>
                <a:gd name="T5" fmla="*/ 3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3" y="3"/>
                  </a:moveTo>
                  <a:lnTo>
                    <a:pt x="0" y="0"/>
                  </a:lnTo>
                  <a:lnTo>
                    <a:pt x="3"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0" name="Freeform 350">
              <a:extLst>
                <a:ext uri="{FF2B5EF4-FFF2-40B4-BE49-F238E27FC236}">
                  <a16:creationId xmlns:a16="http://schemas.microsoft.com/office/drawing/2014/main" id="{AF1BB4D8-0348-59DF-1FBE-6AA78D78E0B7}"/>
                </a:ext>
              </a:extLst>
            </p:cNvPr>
            <p:cNvSpPr>
              <a:spLocks/>
            </p:cNvSpPr>
            <p:nvPr/>
          </p:nvSpPr>
          <p:spPr bwMode="auto">
            <a:xfrm>
              <a:off x="2442654" y="3397372"/>
              <a:ext cx="11195" cy="9112"/>
            </a:xfrm>
            <a:custGeom>
              <a:avLst/>
              <a:gdLst>
                <a:gd name="T0" fmla="*/ 93850 w 5"/>
                <a:gd name="T1" fmla="*/ 0 h 5"/>
                <a:gd name="T2" fmla="*/ 176176 w 5"/>
                <a:gd name="T3" fmla="*/ 67036 h 5"/>
                <a:gd name="T4" fmla="*/ 0 w 5"/>
                <a:gd name="T5" fmla="*/ 176176 h 5"/>
                <a:gd name="T6" fmla="*/ 93850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3" y="0"/>
                  </a:moveTo>
                  <a:lnTo>
                    <a:pt x="5" y="2"/>
                  </a:lnTo>
                  <a:lnTo>
                    <a:pt x="0" y="5"/>
                  </a:lnTo>
                  <a:lnTo>
                    <a:pt x="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1" name="Freeform 351">
              <a:extLst>
                <a:ext uri="{FF2B5EF4-FFF2-40B4-BE49-F238E27FC236}">
                  <a16:creationId xmlns:a16="http://schemas.microsoft.com/office/drawing/2014/main" id="{5CD0B92B-B743-16FE-D1CE-A8B95D4ECA28}"/>
                </a:ext>
              </a:extLst>
            </p:cNvPr>
            <p:cNvSpPr>
              <a:spLocks/>
            </p:cNvSpPr>
            <p:nvPr/>
          </p:nvSpPr>
          <p:spPr bwMode="auto">
            <a:xfrm>
              <a:off x="2409071" y="3324478"/>
              <a:ext cx="7996" cy="4556"/>
            </a:xfrm>
            <a:custGeom>
              <a:avLst/>
              <a:gdLst>
                <a:gd name="T0" fmla="*/ 3392 w 4"/>
                <a:gd name="T1" fmla="*/ 0 h 3"/>
                <a:gd name="T2" fmla="*/ 2171 w 4"/>
                <a:gd name="T3" fmla="*/ 0 h 3"/>
                <a:gd name="T4" fmla="*/ 2171 w 4"/>
                <a:gd name="T5" fmla="*/ 15503 h 3"/>
                <a:gd name="T6" fmla="*/ 1 w 4"/>
                <a:gd name="T7" fmla="*/ 15503 h 3"/>
                <a:gd name="T8" fmla="*/ 0 w 4"/>
                <a:gd name="T9" fmla="*/ 20671 h 3"/>
                <a:gd name="T10" fmla="*/ 1 w 4"/>
                <a:gd name="T11" fmla="*/ 20671 h 3"/>
                <a:gd name="T12" fmla="*/ 1 w 4"/>
                <a:gd name="T13" fmla="*/ 15503 h 3"/>
                <a:gd name="T14" fmla="*/ 1 w 4"/>
                <a:gd name="T15" fmla="*/ 20671 h 3"/>
                <a:gd name="T16" fmla="*/ 1 w 4"/>
                <a:gd name="T17" fmla="*/ 15503 h 3"/>
                <a:gd name="T18" fmla="*/ 2171 w 4"/>
                <a:gd name="T19" fmla="*/ 15503 h 3"/>
                <a:gd name="T20" fmla="*/ 3392 w 4"/>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
                <a:gd name="T34" fmla="*/ 0 h 3"/>
                <a:gd name="T35" fmla="*/ 4 w 4"/>
                <a:gd name="T36" fmla="*/ 3 h 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 h="3">
                  <a:moveTo>
                    <a:pt x="4" y="0"/>
                  </a:moveTo>
                  <a:lnTo>
                    <a:pt x="2" y="0"/>
                  </a:lnTo>
                  <a:lnTo>
                    <a:pt x="2" y="2"/>
                  </a:lnTo>
                  <a:lnTo>
                    <a:pt x="1" y="2"/>
                  </a:lnTo>
                  <a:lnTo>
                    <a:pt x="0" y="3"/>
                  </a:lnTo>
                  <a:lnTo>
                    <a:pt x="1" y="3"/>
                  </a:lnTo>
                  <a:lnTo>
                    <a:pt x="1" y="2"/>
                  </a:lnTo>
                  <a:lnTo>
                    <a:pt x="1" y="3"/>
                  </a:lnTo>
                  <a:lnTo>
                    <a:pt x="1" y="2"/>
                  </a:lnTo>
                  <a:lnTo>
                    <a:pt x="2" y="2"/>
                  </a:lnTo>
                  <a:lnTo>
                    <a:pt x="4"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2" name="Freeform 352">
              <a:extLst>
                <a:ext uri="{FF2B5EF4-FFF2-40B4-BE49-F238E27FC236}">
                  <a16:creationId xmlns:a16="http://schemas.microsoft.com/office/drawing/2014/main" id="{31EE9BCA-4AA7-03BD-0EDA-E9EEA5AC99B6}"/>
                </a:ext>
              </a:extLst>
            </p:cNvPr>
            <p:cNvSpPr>
              <a:spLocks/>
            </p:cNvSpPr>
            <p:nvPr/>
          </p:nvSpPr>
          <p:spPr bwMode="auto">
            <a:xfrm>
              <a:off x="2442654" y="3365481"/>
              <a:ext cx="7997" cy="4555"/>
            </a:xfrm>
            <a:custGeom>
              <a:avLst/>
              <a:gdLst>
                <a:gd name="T0" fmla="*/ 13073399 w 3"/>
                <a:gd name="T1" fmla="*/ 0 h 2"/>
                <a:gd name="T2" fmla="*/ 0 w 3"/>
                <a:gd name="T3" fmla="*/ 311073 h 2"/>
                <a:gd name="T4" fmla="*/ 0 w 3"/>
                <a:gd name="T5" fmla="*/ 466609 h 2"/>
                <a:gd name="T6" fmla="*/ 21788986 w 3"/>
                <a:gd name="T7" fmla="*/ 311073 h 2"/>
                <a:gd name="T8" fmla="*/ 13073399 w 3"/>
                <a:gd name="T9" fmla="*/ 0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2" y="0"/>
                  </a:moveTo>
                  <a:lnTo>
                    <a:pt x="0" y="1"/>
                  </a:lnTo>
                  <a:lnTo>
                    <a:pt x="0" y="2"/>
                  </a:lnTo>
                  <a:lnTo>
                    <a:pt x="3" y="1"/>
                  </a:lnTo>
                  <a:lnTo>
                    <a:pt x="2"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3" name="Freeform 353">
              <a:extLst>
                <a:ext uri="{FF2B5EF4-FFF2-40B4-BE49-F238E27FC236}">
                  <a16:creationId xmlns:a16="http://schemas.microsoft.com/office/drawing/2014/main" id="{B7BF8A4B-42CA-9278-4E4B-C30AE924EC06}"/>
                </a:ext>
              </a:extLst>
            </p:cNvPr>
            <p:cNvSpPr>
              <a:spLocks/>
            </p:cNvSpPr>
            <p:nvPr/>
          </p:nvSpPr>
          <p:spPr bwMode="auto">
            <a:xfrm>
              <a:off x="2447451" y="3344221"/>
              <a:ext cx="3198" cy="6074"/>
            </a:xfrm>
            <a:custGeom>
              <a:avLst/>
              <a:gdLst>
                <a:gd name="T0" fmla="*/ 2147483647 w 1"/>
                <a:gd name="T1" fmla="*/ 20671 h 3"/>
                <a:gd name="T2" fmla="*/ 0 w 1"/>
                <a:gd name="T3" fmla="*/ 15503 h 3"/>
                <a:gd name="T4" fmla="*/ 0 w 1"/>
                <a:gd name="T5" fmla="*/ 0 h 3"/>
                <a:gd name="T6" fmla="*/ 2147483647 w 1"/>
                <a:gd name="T7" fmla="*/ 20671 h 3"/>
                <a:gd name="T8" fmla="*/ 0 60000 65536"/>
                <a:gd name="T9" fmla="*/ 0 60000 65536"/>
                <a:gd name="T10" fmla="*/ 0 60000 65536"/>
                <a:gd name="T11" fmla="*/ 0 60000 65536"/>
                <a:gd name="T12" fmla="*/ 0 w 1"/>
                <a:gd name="T13" fmla="*/ 0 h 3"/>
                <a:gd name="T14" fmla="*/ 1 w 1"/>
                <a:gd name="T15" fmla="*/ 3 h 3"/>
              </a:gdLst>
              <a:ahLst/>
              <a:cxnLst>
                <a:cxn ang="T8">
                  <a:pos x="T0" y="T1"/>
                </a:cxn>
                <a:cxn ang="T9">
                  <a:pos x="T2" y="T3"/>
                </a:cxn>
                <a:cxn ang="T10">
                  <a:pos x="T4" y="T5"/>
                </a:cxn>
                <a:cxn ang="T11">
                  <a:pos x="T6" y="T7"/>
                </a:cxn>
              </a:cxnLst>
              <a:rect l="T12" t="T13" r="T14" b="T15"/>
              <a:pathLst>
                <a:path w="1" h="3">
                  <a:moveTo>
                    <a:pt x="1" y="3"/>
                  </a:moveTo>
                  <a:lnTo>
                    <a:pt x="0" y="2"/>
                  </a:lnTo>
                  <a:lnTo>
                    <a:pt x="0" y="0"/>
                  </a:lnTo>
                  <a:lnTo>
                    <a:pt x="1"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4" name="Freeform 354">
              <a:extLst>
                <a:ext uri="{FF2B5EF4-FFF2-40B4-BE49-F238E27FC236}">
                  <a16:creationId xmlns:a16="http://schemas.microsoft.com/office/drawing/2014/main" id="{345A1F3E-2057-F577-319E-A6200857C3FC}"/>
                </a:ext>
              </a:extLst>
            </p:cNvPr>
            <p:cNvSpPr>
              <a:spLocks/>
            </p:cNvSpPr>
            <p:nvPr/>
          </p:nvSpPr>
          <p:spPr bwMode="auto">
            <a:xfrm>
              <a:off x="1619086" y="3316885"/>
              <a:ext cx="41578" cy="95673"/>
            </a:xfrm>
            <a:custGeom>
              <a:avLst/>
              <a:gdLst>
                <a:gd name="T0" fmla="*/ 2232 w 22"/>
                <a:gd name="T1" fmla="*/ 3601037 h 47"/>
                <a:gd name="T2" fmla="*/ 819 w 22"/>
                <a:gd name="T3" fmla="*/ 4402294 h 47"/>
                <a:gd name="T4" fmla="*/ 0 w 22"/>
                <a:gd name="T5" fmla="*/ 4402294 h 47"/>
                <a:gd name="T6" fmla="*/ 586 w 22"/>
                <a:gd name="T7" fmla="*/ 2725072 h 47"/>
                <a:gd name="T8" fmla="*/ 968 w 22"/>
                <a:gd name="T9" fmla="*/ 1119386 h 47"/>
                <a:gd name="T10" fmla="*/ 3685 w 22"/>
                <a:gd name="T11" fmla="*/ 0 h 47"/>
                <a:gd name="T12" fmla="*/ 3915 w 22"/>
                <a:gd name="T13" fmla="*/ 273168 h 47"/>
                <a:gd name="T14" fmla="*/ 3118 w 22"/>
                <a:gd name="T15" fmla="*/ 1928592 h 47"/>
                <a:gd name="T16" fmla="*/ 2232 w 22"/>
                <a:gd name="T17" fmla="*/ 360103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47"/>
                <a:gd name="T29" fmla="*/ 22 w 22"/>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47">
                  <a:moveTo>
                    <a:pt x="13" y="38"/>
                  </a:moveTo>
                  <a:lnTo>
                    <a:pt x="5" y="47"/>
                  </a:lnTo>
                  <a:lnTo>
                    <a:pt x="0" y="47"/>
                  </a:lnTo>
                  <a:lnTo>
                    <a:pt x="3" y="29"/>
                  </a:lnTo>
                  <a:lnTo>
                    <a:pt x="6" y="12"/>
                  </a:lnTo>
                  <a:lnTo>
                    <a:pt x="21" y="0"/>
                  </a:lnTo>
                  <a:lnTo>
                    <a:pt x="22" y="3"/>
                  </a:lnTo>
                  <a:lnTo>
                    <a:pt x="18" y="21"/>
                  </a:lnTo>
                  <a:lnTo>
                    <a:pt x="13" y="3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5" name="Freeform 355">
              <a:extLst>
                <a:ext uri="{FF2B5EF4-FFF2-40B4-BE49-F238E27FC236}">
                  <a16:creationId xmlns:a16="http://schemas.microsoft.com/office/drawing/2014/main" id="{5CBE1468-643E-444C-56AC-D2744856ADE3}"/>
                </a:ext>
              </a:extLst>
            </p:cNvPr>
            <p:cNvSpPr>
              <a:spLocks/>
            </p:cNvSpPr>
            <p:nvPr/>
          </p:nvSpPr>
          <p:spPr bwMode="auto">
            <a:xfrm>
              <a:off x="1523137" y="3342702"/>
              <a:ext cx="126333" cy="147306"/>
            </a:xfrm>
            <a:custGeom>
              <a:avLst/>
              <a:gdLst>
                <a:gd name="T0" fmla="*/ 1825 w 66"/>
                <a:gd name="T1" fmla="*/ 4996665 h 73"/>
                <a:gd name="T2" fmla="*/ 0 w 66"/>
                <a:gd name="T3" fmla="*/ 4502184 h 73"/>
                <a:gd name="T4" fmla="*/ 2 w 66"/>
                <a:gd name="T5" fmla="*/ 3536573 h 73"/>
                <a:gd name="T6" fmla="*/ 3097 w 66"/>
                <a:gd name="T7" fmla="*/ 2499870 h 73"/>
                <a:gd name="T8" fmla="*/ 8001 w 66"/>
                <a:gd name="T9" fmla="*/ 2262343 h 73"/>
                <a:gd name="T10" fmla="*/ 5402 w 66"/>
                <a:gd name="T11" fmla="*/ 923632 h 73"/>
                <a:gd name="T12" fmla="*/ 6684 w 66"/>
                <a:gd name="T13" fmla="*/ 760255 h 73"/>
                <a:gd name="T14" fmla="*/ 6932 w 66"/>
                <a:gd name="T15" fmla="*/ 0 h 73"/>
                <a:gd name="T16" fmla="*/ 11015 w 66"/>
                <a:gd name="T17" fmla="*/ 0 h 73"/>
                <a:gd name="T18" fmla="*/ 14778 w 66"/>
                <a:gd name="T19" fmla="*/ 0 h 73"/>
                <a:gd name="T20" fmla="*/ 13721 w 66"/>
                <a:gd name="T21" fmla="*/ 1328512 h 73"/>
                <a:gd name="T22" fmla="*/ 13185 w 66"/>
                <a:gd name="T23" fmla="*/ 2748516 h 73"/>
                <a:gd name="T24" fmla="*/ 14591 w 66"/>
                <a:gd name="T25" fmla="*/ 2748516 h 73"/>
                <a:gd name="T26" fmla="*/ 15889 w 66"/>
                <a:gd name="T27" fmla="*/ 2748516 h 73"/>
                <a:gd name="T28" fmla="*/ 17465 w 66"/>
                <a:gd name="T29" fmla="*/ 3002198 h 73"/>
                <a:gd name="T30" fmla="*/ 14591 w 66"/>
                <a:gd name="T31" fmla="*/ 3595703 h 73"/>
                <a:gd name="T32" fmla="*/ 12190 w 66"/>
                <a:gd name="T33" fmla="*/ 4807863 h 73"/>
                <a:gd name="T34" fmla="*/ 8664 w 66"/>
                <a:gd name="T35" fmla="*/ 5712318 h 73"/>
                <a:gd name="T36" fmla="*/ 5366 w 66"/>
                <a:gd name="T37" fmla="*/ 5344502 h 73"/>
                <a:gd name="T38" fmla="*/ 1825 w 66"/>
                <a:gd name="T39" fmla="*/ 4996665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6"/>
                <a:gd name="T61" fmla="*/ 0 h 73"/>
                <a:gd name="T62" fmla="*/ 66 w 66"/>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6" h="73">
                  <a:moveTo>
                    <a:pt x="7" y="64"/>
                  </a:moveTo>
                  <a:lnTo>
                    <a:pt x="0" y="58"/>
                  </a:lnTo>
                  <a:lnTo>
                    <a:pt x="2" y="45"/>
                  </a:lnTo>
                  <a:lnTo>
                    <a:pt x="11" y="32"/>
                  </a:lnTo>
                  <a:lnTo>
                    <a:pt x="31" y="29"/>
                  </a:lnTo>
                  <a:lnTo>
                    <a:pt x="21" y="12"/>
                  </a:lnTo>
                  <a:lnTo>
                    <a:pt x="26" y="10"/>
                  </a:lnTo>
                  <a:lnTo>
                    <a:pt x="27" y="0"/>
                  </a:lnTo>
                  <a:lnTo>
                    <a:pt x="42" y="0"/>
                  </a:lnTo>
                  <a:lnTo>
                    <a:pt x="56" y="0"/>
                  </a:lnTo>
                  <a:lnTo>
                    <a:pt x="53" y="17"/>
                  </a:lnTo>
                  <a:lnTo>
                    <a:pt x="50" y="35"/>
                  </a:lnTo>
                  <a:lnTo>
                    <a:pt x="55" y="35"/>
                  </a:lnTo>
                  <a:lnTo>
                    <a:pt x="61" y="35"/>
                  </a:lnTo>
                  <a:lnTo>
                    <a:pt x="66" y="38"/>
                  </a:lnTo>
                  <a:lnTo>
                    <a:pt x="55" y="46"/>
                  </a:lnTo>
                  <a:lnTo>
                    <a:pt x="46" y="61"/>
                  </a:lnTo>
                  <a:lnTo>
                    <a:pt x="33" y="73"/>
                  </a:lnTo>
                  <a:lnTo>
                    <a:pt x="20" y="68"/>
                  </a:lnTo>
                  <a:lnTo>
                    <a:pt x="7" y="6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6" name="Freeform 356">
              <a:extLst>
                <a:ext uri="{FF2B5EF4-FFF2-40B4-BE49-F238E27FC236}">
                  <a16:creationId xmlns:a16="http://schemas.microsoft.com/office/drawing/2014/main" id="{C3B95F18-4EBB-266E-9B9D-7626B8B6A7CF}"/>
                </a:ext>
              </a:extLst>
            </p:cNvPr>
            <p:cNvSpPr>
              <a:spLocks/>
            </p:cNvSpPr>
            <p:nvPr/>
          </p:nvSpPr>
          <p:spPr bwMode="auto">
            <a:xfrm>
              <a:off x="1953311" y="3316885"/>
              <a:ext cx="63967" cy="25816"/>
            </a:xfrm>
            <a:custGeom>
              <a:avLst/>
              <a:gdLst>
                <a:gd name="T0" fmla="*/ 5098 w 33"/>
                <a:gd name="T1" fmla="*/ 0 h 12"/>
                <a:gd name="T2" fmla="*/ 0 w 33"/>
                <a:gd name="T3" fmla="*/ 1516126 h 12"/>
                <a:gd name="T4" fmla="*/ 7490 w 33"/>
                <a:gd name="T5" fmla="*/ 3411282 h 12"/>
                <a:gd name="T6" fmla="*/ 12629 w 33"/>
                <a:gd name="T7" fmla="*/ 2853315 h 12"/>
                <a:gd name="T8" fmla="*/ 5098 w 33"/>
                <a:gd name="T9" fmla="*/ 0 h 12"/>
                <a:gd name="T10" fmla="*/ 0 60000 65536"/>
                <a:gd name="T11" fmla="*/ 0 60000 65536"/>
                <a:gd name="T12" fmla="*/ 0 60000 65536"/>
                <a:gd name="T13" fmla="*/ 0 60000 65536"/>
                <a:gd name="T14" fmla="*/ 0 60000 65536"/>
                <a:gd name="T15" fmla="*/ 0 w 33"/>
                <a:gd name="T16" fmla="*/ 0 h 12"/>
                <a:gd name="T17" fmla="*/ 33 w 33"/>
                <a:gd name="T18" fmla="*/ 12 h 12"/>
              </a:gdLst>
              <a:ahLst/>
              <a:cxnLst>
                <a:cxn ang="T10">
                  <a:pos x="T0" y="T1"/>
                </a:cxn>
                <a:cxn ang="T11">
                  <a:pos x="T2" y="T3"/>
                </a:cxn>
                <a:cxn ang="T12">
                  <a:pos x="T4" y="T5"/>
                </a:cxn>
                <a:cxn ang="T13">
                  <a:pos x="T6" y="T7"/>
                </a:cxn>
                <a:cxn ang="T14">
                  <a:pos x="T8" y="T9"/>
                </a:cxn>
              </a:cxnLst>
              <a:rect l="T15" t="T16" r="T17" b="T18"/>
              <a:pathLst>
                <a:path w="33" h="12">
                  <a:moveTo>
                    <a:pt x="13" y="0"/>
                  </a:moveTo>
                  <a:lnTo>
                    <a:pt x="0" y="5"/>
                  </a:lnTo>
                  <a:lnTo>
                    <a:pt x="19" y="12"/>
                  </a:lnTo>
                  <a:lnTo>
                    <a:pt x="33" y="10"/>
                  </a:lnTo>
                  <a:lnTo>
                    <a:pt x="13"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7" name="Freeform 357">
              <a:extLst>
                <a:ext uri="{FF2B5EF4-FFF2-40B4-BE49-F238E27FC236}">
                  <a16:creationId xmlns:a16="http://schemas.microsoft.com/office/drawing/2014/main" id="{6FC8902F-FFEF-D725-CBDF-1D63703B1012}"/>
                </a:ext>
              </a:extLst>
            </p:cNvPr>
            <p:cNvSpPr>
              <a:spLocks/>
            </p:cNvSpPr>
            <p:nvPr/>
          </p:nvSpPr>
          <p:spPr bwMode="auto">
            <a:xfrm>
              <a:off x="2289135" y="3315366"/>
              <a:ext cx="47975" cy="21260"/>
            </a:xfrm>
            <a:custGeom>
              <a:avLst/>
              <a:gdLst>
                <a:gd name="T0" fmla="*/ 7091 w 25"/>
                <a:gd name="T1" fmla="*/ 1748277 h 10"/>
                <a:gd name="T2" fmla="*/ 6686 w 25"/>
                <a:gd name="T3" fmla="*/ 1748277 h 10"/>
                <a:gd name="T4" fmla="*/ 1916 w 25"/>
                <a:gd name="T5" fmla="*/ 2832165 h 10"/>
                <a:gd name="T6" fmla="*/ 0 w 25"/>
                <a:gd name="T7" fmla="*/ 1888110 h 10"/>
                <a:gd name="T8" fmla="*/ 924 w 25"/>
                <a:gd name="T9" fmla="*/ 0 h 10"/>
                <a:gd name="T10" fmla="*/ 7091 w 25"/>
                <a:gd name="T11" fmla="*/ 1748277 h 10"/>
                <a:gd name="T12" fmla="*/ 0 60000 65536"/>
                <a:gd name="T13" fmla="*/ 0 60000 65536"/>
                <a:gd name="T14" fmla="*/ 0 60000 65536"/>
                <a:gd name="T15" fmla="*/ 0 60000 65536"/>
                <a:gd name="T16" fmla="*/ 0 60000 65536"/>
                <a:gd name="T17" fmla="*/ 0 60000 65536"/>
                <a:gd name="T18" fmla="*/ 0 w 25"/>
                <a:gd name="T19" fmla="*/ 0 h 10"/>
                <a:gd name="T20" fmla="*/ 25 w 2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5" h="10">
                  <a:moveTo>
                    <a:pt x="25" y="6"/>
                  </a:moveTo>
                  <a:lnTo>
                    <a:pt x="23" y="6"/>
                  </a:lnTo>
                  <a:lnTo>
                    <a:pt x="7" y="10"/>
                  </a:lnTo>
                  <a:lnTo>
                    <a:pt x="0" y="7"/>
                  </a:lnTo>
                  <a:lnTo>
                    <a:pt x="3" y="0"/>
                  </a:lnTo>
                  <a:lnTo>
                    <a:pt x="25" y="6"/>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298" name="Freeform 358">
              <a:extLst>
                <a:ext uri="{FF2B5EF4-FFF2-40B4-BE49-F238E27FC236}">
                  <a16:creationId xmlns:a16="http://schemas.microsoft.com/office/drawing/2014/main" id="{60F83689-646F-1F07-142D-A8F00045D50E}"/>
                </a:ext>
              </a:extLst>
            </p:cNvPr>
            <p:cNvSpPr>
              <a:spLocks/>
            </p:cNvSpPr>
            <p:nvPr/>
          </p:nvSpPr>
          <p:spPr bwMode="auto">
            <a:xfrm>
              <a:off x="2356299" y="3342702"/>
              <a:ext cx="9595" cy="1519"/>
            </a:xfrm>
            <a:custGeom>
              <a:avLst/>
              <a:gdLst>
                <a:gd name="T0" fmla="*/ 6 w 6"/>
                <a:gd name="T1" fmla="*/ 2147483647 h 1"/>
                <a:gd name="T2" fmla="*/ 3 w 6"/>
                <a:gd name="T3" fmla="*/ 0 h 1"/>
                <a:gd name="T4" fmla="*/ 0 w 6"/>
                <a:gd name="T5" fmla="*/ 2147483647 h 1"/>
                <a:gd name="T6" fmla="*/ 6 w 6"/>
                <a:gd name="T7" fmla="*/ 2147483647 h 1"/>
                <a:gd name="T8" fmla="*/ 0 60000 65536"/>
                <a:gd name="T9" fmla="*/ 0 60000 65536"/>
                <a:gd name="T10" fmla="*/ 0 60000 65536"/>
                <a:gd name="T11" fmla="*/ 0 60000 65536"/>
                <a:gd name="T12" fmla="*/ 0 w 6"/>
                <a:gd name="T13" fmla="*/ 0 h 1"/>
                <a:gd name="T14" fmla="*/ 6 w 6"/>
                <a:gd name="T15" fmla="*/ 1 h 1"/>
              </a:gdLst>
              <a:ahLst/>
              <a:cxnLst>
                <a:cxn ang="T8">
                  <a:pos x="T0" y="T1"/>
                </a:cxn>
                <a:cxn ang="T9">
                  <a:pos x="T2" y="T3"/>
                </a:cxn>
                <a:cxn ang="T10">
                  <a:pos x="T4" y="T5"/>
                </a:cxn>
                <a:cxn ang="T11">
                  <a:pos x="T6" y="T7"/>
                </a:cxn>
              </a:cxnLst>
              <a:rect l="T12" t="T13" r="T14" b="T15"/>
              <a:pathLst>
                <a:path w="6" h="1">
                  <a:moveTo>
                    <a:pt x="6" y="1"/>
                  </a:moveTo>
                  <a:lnTo>
                    <a:pt x="3" y="0"/>
                  </a:lnTo>
                  <a:lnTo>
                    <a:pt x="0" y="1"/>
                  </a:lnTo>
                  <a:lnTo>
                    <a:pt x="6"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299" name="Freeform 359">
              <a:extLst>
                <a:ext uri="{FF2B5EF4-FFF2-40B4-BE49-F238E27FC236}">
                  <a16:creationId xmlns:a16="http://schemas.microsoft.com/office/drawing/2014/main" id="{D6CD2823-AC12-E577-E869-A09274ACDEAF}"/>
                </a:ext>
              </a:extLst>
            </p:cNvPr>
            <p:cNvSpPr>
              <a:spLocks/>
            </p:cNvSpPr>
            <p:nvPr/>
          </p:nvSpPr>
          <p:spPr bwMode="auto">
            <a:xfrm>
              <a:off x="1985294" y="3075425"/>
              <a:ext cx="12793" cy="30373"/>
            </a:xfrm>
            <a:custGeom>
              <a:avLst/>
              <a:gdLst>
                <a:gd name="T0" fmla="*/ 415 w 7"/>
                <a:gd name="T1" fmla="*/ 3877995 h 14"/>
                <a:gd name="T2" fmla="*/ 278 w 7"/>
                <a:gd name="T3" fmla="*/ 0 h 14"/>
                <a:gd name="T4" fmla="*/ 0 w 7"/>
                <a:gd name="T5" fmla="*/ 3339619 h 14"/>
                <a:gd name="T6" fmla="*/ 1 w 7"/>
                <a:gd name="T7" fmla="*/ 4088202 h 14"/>
                <a:gd name="T8" fmla="*/ 415 w 7"/>
                <a:gd name="T9" fmla="*/ 3877995 h 14"/>
                <a:gd name="T10" fmla="*/ 0 60000 65536"/>
                <a:gd name="T11" fmla="*/ 0 60000 65536"/>
                <a:gd name="T12" fmla="*/ 0 60000 65536"/>
                <a:gd name="T13" fmla="*/ 0 60000 65536"/>
                <a:gd name="T14" fmla="*/ 0 60000 65536"/>
                <a:gd name="T15" fmla="*/ 0 w 7"/>
                <a:gd name="T16" fmla="*/ 0 h 14"/>
                <a:gd name="T17" fmla="*/ 7 w 7"/>
                <a:gd name="T18" fmla="*/ 14 h 14"/>
              </a:gdLst>
              <a:ahLst/>
              <a:cxnLst>
                <a:cxn ang="T10">
                  <a:pos x="T0" y="T1"/>
                </a:cxn>
                <a:cxn ang="T11">
                  <a:pos x="T2" y="T3"/>
                </a:cxn>
                <a:cxn ang="T12">
                  <a:pos x="T4" y="T5"/>
                </a:cxn>
                <a:cxn ang="T13">
                  <a:pos x="T6" y="T7"/>
                </a:cxn>
                <a:cxn ang="T14">
                  <a:pos x="T8" y="T9"/>
                </a:cxn>
              </a:cxnLst>
              <a:rect l="T15" t="T16" r="T17" b="T18"/>
              <a:pathLst>
                <a:path w="7" h="14">
                  <a:moveTo>
                    <a:pt x="7" y="13"/>
                  </a:moveTo>
                  <a:lnTo>
                    <a:pt x="4" y="0"/>
                  </a:lnTo>
                  <a:lnTo>
                    <a:pt x="0" y="11"/>
                  </a:lnTo>
                  <a:lnTo>
                    <a:pt x="1" y="14"/>
                  </a:lnTo>
                  <a:lnTo>
                    <a:pt x="7" y="1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0" name="Freeform 360">
              <a:extLst>
                <a:ext uri="{FF2B5EF4-FFF2-40B4-BE49-F238E27FC236}">
                  <a16:creationId xmlns:a16="http://schemas.microsoft.com/office/drawing/2014/main" id="{01DB7BCB-F07A-4D8B-2DB7-6BE5D3E14075}"/>
                </a:ext>
              </a:extLst>
            </p:cNvPr>
            <p:cNvSpPr>
              <a:spLocks/>
            </p:cNvSpPr>
            <p:nvPr/>
          </p:nvSpPr>
          <p:spPr bwMode="auto">
            <a:xfrm>
              <a:off x="2034868" y="3064795"/>
              <a:ext cx="12793" cy="24297"/>
            </a:xfrm>
            <a:custGeom>
              <a:avLst/>
              <a:gdLst>
                <a:gd name="T0" fmla="*/ 363 w 7"/>
                <a:gd name="T1" fmla="*/ 310085 h 13"/>
                <a:gd name="T2" fmla="*/ 415 w 7"/>
                <a:gd name="T3" fmla="*/ 218202 h 13"/>
                <a:gd name="T4" fmla="*/ 1 w 7"/>
                <a:gd name="T5" fmla="*/ 0 h 13"/>
                <a:gd name="T6" fmla="*/ 0 w 7"/>
                <a:gd name="T7" fmla="*/ 1 h 13"/>
                <a:gd name="T8" fmla="*/ 278 w 7"/>
                <a:gd name="T9" fmla="*/ 134659 h 13"/>
                <a:gd name="T10" fmla="*/ 415 w 7"/>
                <a:gd name="T11" fmla="*/ 218202 h 13"/>
                <a:gd name="T12" fmla="*/ 278 w 7"/>
                <a:gd name="T13" fmla="*/ 310085 h 13"/>
                <a:gd name="T14" fmla="*/ 363 w 7"/>
                <a:gd name="T15" fmla="*/ 310085 h 13"/>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3"/>
                <a:gd name="T26" fmla="*/ 7 w 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3">
                  <a:moveTo>
                    <a:pt x="6" y="13"/>
                  </a:moveTo>
                  <a:lnTo>
                    <a:pt x="7" y="9"/>
                  </a:lnTo>
                  <a:lnTo>
                    <a:pt x="1" y="0"/>
                  </a:lnTo>
                  <a:lnTo>
                    <a:pt x="0" y="1"/>
                  </a:lnTo>
                  <a:lnTo>
                    <a:pt x="4" y="6"/>
                  </a:lnTo>
                  <a:lnTo>
                    <a:pt x="7" y="9"/>
                  </a:lnTo>
                  <a:lnTo>
                    <a:pt x="4" y="13"/>
                  </a:lnTo>
                  <a:lnTo>
                    <a:pt x="6" y="1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1" name="Freeform 361">
              <a:extLst>
                <a:ext uri="{FF2B5EF4-FFF2-40B4-BE49-F238E27FC236}">
                  <a16:creationId xmlns:a16="http://schemas.microsoft.com/office/drawing/2014/main" id="{7C0F8A92-06F2-EBDD-AD74-2336F1E7F90D}"/>
                </a:ext>
              </a:extLst>
            </p:cNvPr>
            <p:cNvSpPr>
              <a:spLocks/>
            </p:cNvSpPr>
            <p:nvPr/>
          </p:nvSpPr>
          <p:spPr bwMode="auto">
            <a:xfrm>
              <a:off x="2108429" y="3215138"/>
              <a:ext cx="17590" cy="12149"/>
            </a:xfrm>
            <a:custGeom>
              <a:avLst/>
              <a:gdLst>
                <a:gd name="T0" fmla="*/ 178 w 10"/>
                <a:gd name="T1" fmla="*/ 0 h 6"/>
                <a:gd name="T2" fmla="*/ 178 w 10"/>
                <a:gd name="T3" fmla="*/ 20671 h 6"/>
                <a:gd name="T4" fmla="*/ 0 w 10"/>
                <a:gd name="T5" fmla="*/ 47519 h 6"/>
                <a:gd name="T6" fmla="*/ 178 w 10"/>
                <a:gd name="T7" fmla="*/ 0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10" y="0"/>
                  </a:moveTo>
                  <a:lnTo>
                    <a:pt x="10" y="3"/>
                  </a:lnTo>
                  <a:lnTo>
                    <a:pt x="0" y="6"/>
                  </a:lnTo>
                  <a:lnTo>
                    <a:pt x="10"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2" name="Freeform 362">
              <a:extLst>
                <a:ext uri="{FF2B5EF4-FFF2-40B4-BE49-F238E27FC236}">
                  <a16:creationId xmlns:a16="http://schemas.microsoft.com/office/drawing/2014/main" id="{5E5C9652-8335-1116-5400-9AA2BED9B3F9}"/>
                </a:ext>
              </a:extLst>
            </p:cNvPr>
            <p:cNvSpPr>
              <a:spLocks/>
            </p:cNvSpPr>
            <p:nvPr/>
          </p:nvSpPr>
          <p:spPr bwMode="auto">
            <a:xfrm>
              <a:off x="2095636" y="3169580"/>
              <a:ext cx="12793" cy="10631"/>
            </a:xfrm>
            <a:custGeom>
              <a:avLst/>
              <a:gdLst>
                <a:gd name="T0" fmla="*/ 47519 w 6"/>
                <a:gd name="T1" fmla="*/ 15503 h 6"/>
                <a:gd name="T2" fmla="*/ 20671 w 6"/>
                <a:gd name="T3" fmla="*/ 0 h 6"/>
                <a:gd name="T4" fmla="*/ 0 w 6"/>
                <a:gd name="T5" fmla="*/ 47519 h 6"/>
                <a:gd name="T6" fmla="*/ 47519 w 6"/>
                <a:gd name="T7" fmla="*/ 15503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2"/>
                  </a:moveTo>
                  <a:lnTo>
                    <a:pt x="3" y="0"/>
                  </a:lnTo>
                  <a:lnTo>
                    <a:pt x="0" y="6"/>
                  </a:lnTo>
                  <a:lnTo>
                    <a:pt x="6" y="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3" name="Freeform 363">
              <a:extLst>
                <a:ext uri="{FF2B5EF4-FFF2-40B4-BE49-F238E27FC236}">
                  <a16:creationId xmlns:a16="http://schemas.microsoft.com/office/drawing/2014/main" id="{D452FB9C-683D-2743-9C25-9FB0288F78CF}"/>
                </a:ext>
              </a:extLst>
            </p:cNvPr>
            <p:cNvSpPr>
              <a:spLocks/>
            </p:cNvSpPr>
            <p:nvPr/>
          </p:nvSpPr>
          <p:spPr bwMode="auto">
            <a:xfrm>
              <a:off x="1975698" y="3020754"/>
              <a:ext cx="30384" cy="3037"/>
            </a:xfrm>
            <a:custGeom>
              <a:avLst/>
              <a:gdLst>
                <a:gd name="T0" fmla="*/ 1196 w 16"/>
                <a:gd name="T1" fmla="*/ 0 h 2"/>
                <a:gd name="T2" fmla="*/ 3305 w 16"/>
                <a:gd name="T3" fmla="*/ 2 h 2"/>
                <a:gd name="T4" fmla="*/ 2231 w 16"/>
                <a:gd name="T5" fmla="*/ 2 h 2"/>
                <a:gd name="T6" fmla="*/ 0 w 16"/>
                <a:gd name="T7" fmla="*/ 0 h 2"/>
                <a:gd name="T8" fmla="*/ 1196 w 16"/>
                <a:gd name="T9" fmla="*/ 0 h 2"/>
                <a:gd name="T10" fmla="*/ 0 60000 65536"/>
                <a:gd name="T11" fmla="*/ 0 60000 65536"/>
                <a:gd name="T12" fmla="*/ 0 60000 65536"/>
                <a:gd name="T13" fmla="*/ 0 60000 65536"/>
                <a:gd name="T14" fmla="*/ 0 60000 65536"/>
                <a:gd name="T15" fmla="*/ 0 w 16"/>
                <a:gd name="T16" fmla="*/ 0 h 2"/>
                <a:gd name="T17" fmla="*/ 16 w 16"/>
                <a:gd name="T18" fmla="*/ 2 h 2"/>
              </a:gdLst>
              <a:ahLst/>
              <a:cxnLst>
                <a:cxn ang="T10">
                  <a:pos x="T0" y="T1"/>
                </a:cxn>
                <a:cxn ang="T11">
                  <a:pos x="T2" y="T3"/>
                </a:cxn>
                <a:cxn ang="T12">
                  <a:pos x="T4" y="T5"/>
                </a:cxn>
                <a:cxn ang="T13">
                  <a:pos x="T6" y="T7"/>
                </a:cxn>
                <a:cxn ang="T14">
                  <a:pos x="T8" y="T9"/>
                </a:cxn>
              </a:cxnLst>
              <a:rect l="T15" t="T16" r="T17" b="T18"/>
              <a:pathLst>
                <a:path w="16" h="2">
                  <a:moveTo>
                    <a:pt x="6" y="0"/>
                  </a:moveTo>
                  <a:lnTo>
                    <a:pt x="16" y="2"/>
                  </a:lnTo>
                  <a:lnTo>
                    <a:pt x="11" y="2"/>
                  </a:lnTo>
                  <a:lnTo>
                    <a:pt x="0" y="0"/>
                  </a:lnTo>
                  <a:lnTo>
                    <a:pt x="6"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4" name="Freeform 364">
              <a:extLst>
                <a:ext uri="{FF2B5EF4-FFF2-40B4-BE49-F238E27FC236}">
                  <a16:creationId xmlns:a16="http://schemas.microsoft.com/office/drawing/2014/main" id="{94F7B43E-4898-CB6C-9788-9BE0E7212E6E}"/>
                </a:ext>
              </a:extLst>
            </p:cNvPr>
            <p:cNvSpPr>
              <a:spLocks/>
            </p:cNvSpPr>
            <p:nvPr/>
          </p:nvSpPr>
          <p:spPr bwMode="auto">
            <a:xfrm>
              <a:off x="1996488" y="3110354"/>
              <a:ext cx="6396" cy="13667"/>
            </a:xfrm>
            <a:custGeom>
              <a:avLst/>
              <a:gdLst>
                <a:gd name="T0" fmla="*/ 4 w 4"/>
                <a:gd name="T1" fmla="*/ 417287 h 7"/>
                <a:gd name="T2" fmla="*/ 1 w 4"/>
                <a:gd name="T3" fmla="*/ 143130 h 7"/>
                <a:gd name="T4" fmla="*/ 0 w 4"/>
                <a:gd name="T5" fmla="*/ 0 h 7"/>
                <a:gd name="T6" fmla="*/ 2 w 4"/>
                <a:gd name="T7" fmla="*/ 438027 h 7"/>
                <a:gd name="T8" fmla="*/ 4 w 4"/>
                <a:gd name="T9" fmla="*/ 417287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6"/>
                  </a:moveTo>
                  <a:lnTo>
                    <a:pt x="1" y="2"/>
                  </a:lnTo>
                  <a:lnTo>
                    <a:pt x="0" y="0"/>
                  </a:lnTo>
                  <a:lnTo>
                    <a:pt x="2" y="7"/>
                  </a:lnTo>
                  <a:lnTo>
                    <a:pt x="4" y="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5" name="Freeform 365">
              <a:extLst>
                <a:ext uri="{FF2B5EF4-FFF2-40B4-BE49-F238E27FC236}">
                  <a16:creationId xmlns:a16="http://schemas.microsoft.com/office/drawing/2014/main" id="{FA982E87-2E7C-1836-0D87-97A31DFD1E40}"/>
                </a:ext>
              </a:extLst>
            </p:cNvPr>
            <p:cNvSpPr>
              <a:spLocks/>
            </p:cNvSpPr>
            <p:nvPr/>
          </p:nvSpPr>
          <p:spPr bwMode="auto">
            <a:xfrm>
              <a:off x="2751292" y="5830199"/>
              <a:ext cx="47975" cy="31892"/>
            </a:xfrm>
            <a:custGeom>
              <a:avLst/>
              <a:gdLst>
                <a:gd name="T0" fmla="*/ 7091 w 25"/>
                <a:gd name="T1" fmla="*/ 77601 h 17"/>
                <a:gd name="T2" fmla="*/ 5572 w 25"/>
                <a:gd name="T3" fmla="*/ 42394 h 17"/>
                <a:gd name="T4" fmla="*/ 4231 w 25"/>
                <a:gd name="T5" fmla="*/ 42394 h 17"/>
                <a:gd name="T6" fmla="*/ 3311 w 25"/>
                <a:gd name="T7" fmla="*/ 31335 h 17"/>
                <a:gd name="T8" fmla="*/ 1597 w 25"/>
                <a:gd name="T9" fmla="*/ 0 h 17"/>
                <a:gd name="T10" fmla="*/ 1597 w 25"/>
                <a:gd name="T11" fmla="*/ 70670 h 17"/>
                <a:gd name="T12" fmla="*/ 0 w 25"/>
                <a:gd name="T13" fmla="*/ 149210 h 17"/>
                <a:gd name="T14" fmla="*/ 1597 w 25"/>
                <a:gd name="T15" fmla="*/ 199530 h 17"/>
                <a:gd name="T16" fmla="*/ 2687 w 25"/>
                <a:gd name="T17" fmla="*/ 166640 h 17"/>
                <a:gd name="T18" fmla="*/ 3311 w 25"/>
                <a:gd name="T19" fmla="*/ 166640 h 17"/>
                <a:gd name="T20" fmla="*/ 3311 w 25"/>
                <a:gd name="T21" fmla="*/ 129357 h 17"/>
                <a:gd name="T22" fmla="*/ 7091 w 25"/>
                <a:gd name="T23" fmla="*/ 7760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7"/>
                <a:gd name="T38" fmla="*/ 25 w 25"/>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7">
                  <a:moveTo>
                    <a:pt x="25" y="7"/>
                  </a:moveTo>
                  <a:lnTo>
                    <a:pt x="19" y="4"/>
                  </a:lnTo>
                  <a:lnTo>
                    <a:pt x="15" y="4"/>
                  </a:lnTo>
                  <a:lnTo>
                    <a:pt x="12" y="3"/>
                  </a:lnTo>
                  <a:lnTo>
                    <a:pt x="6" y="0"/>
                  </a:lnTo>
                  <a:lnTo>
                    <a:pt x="6" y="6"/>
                  </a:lnTo>
                  <a:lnTo>
                    <a:pt x="0" y="13"/>
                  </a:lnTo>
                  <a:lnTo>
                    <a:pt x="6" y="17"/>
                  </a:lnTo>
                  <a:lnTo>
                    <a:pt x="9" y="14"/>
                  </a:lnTo>
                  <a:lnTo>
                    <a:pt x="12" y="14"/>
                  </a:lnTo>
                  <a:lnTo>
                    <a:pt x="12" y="11"/>
                  </a:lnTo>
                  <a:lnTo>
                    <a:pt x="25"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6" name="Freeform 366">
              <a:extLst>
                <a:ext uri="{FF2B5EF4-FFF2-40B4-BE49-F238E27FC236}">
                  <a16:creationId xmlns:a16="http://schemas.microsoft.com/office/drawing/2014/main" id="{EA57A559-C4D3-697C-A7C1-C4F66F9B8388}"/>
                </a:ext>
              </a:extLst>
            </p:cNvPr>
            <p:cNvSpPr>
              <a:spLocks/>
            </p:cNvSpPr>
            <p:nvPr/>
          </p:nvSpPr>
          <p:spPr bwMode="auto">
            <a:xfrm>
              <a:off x="2719308" y="5834755"/>
              <a:ext cx="35182" cy="21260"/>
            </a:xfrm>
            <a:custGeom>
              <a:avLst/>
              <a:gdLst>
                <a:gd name="T0" fmla="*/ 2936 w 18"/>
                <a:gd name="T1" fmla="*/ 483360 h 11"/>
                <a:gd name="T2" fmla="*/ 2 w 18"/>
                <a:gd name="T3" fmla="*/ 0 h 11"/>
                <a:gd name="T4" fmla="*/ 9014 w 18"/>
                <a:gd name="T5" fmla="*/ 0 h 11"/>
                <a:gd name="T6" fmla="*/ 4937 w 18"/>
                <a:gd name="T7" fmla="*/ 889308 h 11"/>
                <a:gd name="T8" fmla="*/ 0 w 18"/>
                <a:gd name="T9" fmla="*/ 1189809 h 11"/>
                <a:gd name="T10" fmla="*/ 2936 w 18"/>
                <a:gd name="T11" fmla="*/ 794111 h 11"/>
                <a:gd name="T12" fmla="*/ 1608 w 18"/>
                <a:gd name="T13" fmla="*/ 545951 h 11"/>
                <a:gd name="T14" fmla="*/ 2936 w 18"/>
                <a:gd name="T15" fmla="*/ 483360 h 1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1"/>
                <a:gd name="T26" fmla="*/ 18 w 18"/>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1">
                  <a:moveTo>
                    <a:pt x="6" y="4"/>
                  </a:moveTo>
                  <a:lnTo>
                    <a:pt x="2" y="0"/>
                  </a:lnTo>
                  <a:lnTo>
                    <a:pt x="18" y="0"/>
                  </a:lnTo>
                  <a:lnTo>
                    <a:pt x="10" y="8"/>
                  </a:lnTo>
                  <a:lnTo>
                    <a:pt x="0" y="11"/>
                  </a:lnTo>
                  <a:lnTo>
                    <a:pt x="6" y="7"/>
                  </a:lnTo>
                  <a:lnTo>
                    <a:pt x="3" y="5"/>
                  </a:lnTo>
                  <a:lnTo>
                    <a:pt x="6" y="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7" name="Freeform 367">
              <a:extLst>
                <a:ext uri="{FF2B5EF4-FFF2-40B4-BE49-F238E27FC236}">
                  <a16:creationId xmlns:a16="http://schemas.microsoft.com/office/drawing/2014/main" id="{6CA58B92-0FC0-6FE0-973E-A9E3A748BE2F}"/>
                </a:ext>
              </a:extLst>
            </p:cNvPr>
            <p:cNvSpPr>
              <a:spLocks/>
            </p:cNvSpPr>
            <p:nvPr/>
          </p:nvSpPr>
          <p:spPr bwMode="auto">
            <a:xfrm>
              <a:off x="2199581" y="4338916"/>
              <a:ext cx="379001" cy="469254"/>
            </a:xfrm>
            <a:custGeom>
              <a:avLst/>
              <a:gdLst>
                <a:gd name="T0" fmla="*/ 40758 w 197"/>
                <a:gd name="T1" fmla="*/ 12520046 h 234"/>
                <a:gd name="T2" fmla="*/ 39121 w 197"/>
                <a:gd name="T3" fmla="*/ 13798372 h 234"/>
                <a:gd name="T4" fmla="*/ 38447 w 197"/>
                <a:gd name="T5" fmla="*/ 15201958 h 234"/>
                <a:gd name="T6" fmla="*/ 37731 w 197"/>
                <a:gd name="T7" fmla="*/ 14905143 h 234"/>
                <a:gd name="T8" fmla="*/ 31694 w 197"/>
                <a:gd name="T9" fmla="*/ 15086867 h 234"/>
                <a:gd name="T10" fmla="*/ 30342 w 197"/>
                <a:gd name="T11" fmla="*/ 15782029 h 234"/>
                <a:gd name="T12" fmla="*/ 27611 w 197"/>
                <a:gd name="T13" fmla="*/ 14928827 h 234"/>
                <a:gd name="T14" fmla="*/ 21728 w 197"/>
                <a:gd name="T15" fmla="*/ 14762793 h 234"/>
                <a:gd name="T16" fmla="*/ 21077 w 197"/>
                <a:gd name="T17" fmla="*/ 14562584 h 234"/>
                <a:gd name="T18" fmla="*/ 16773 w 197"/>
                <a:gd name="T19" fmla="*/ 15868740 h 234"/>
                <a:gd name="T20" fmla="*/ 13851 w 197"/>
                <a:gd name="T21" fmla="*/ 15782029 h 234"/>
                <a:gd name="T22" fmla="*/ 11513 w 197"/>
                <a:gd name="T23" fmla="*/ 14706181 h 234"/>
                <a:gd name="T24" fmla="*/ 9225 w 197"/>
                <a:gd name="T25" fmla="*/ 13622866 h 234"/>
                <a:gd name="T26" fmla="*/ 8007 w 197"/>
                <a:gd name="T27" fmla="*/ 12520046 h 234"/>
                <a:gd name="T28" fmla="*/ 8007 w 197"/>
                <a:gd name="T29" fmla="*/ 11644245 h 234"/>
                <a:gd name="T30" fmla="*/ 5496 w 197"/>
                <a:gd name="T31" fmla="*/ 10783971 h 234"/>
                <a:gd name="T32" fmla="*/ 4285 w 197"/>
                <a:gd name="T33" fmla="*/ 9942417 h 234"/>
                <a:gd name="T34" fmla="*/ 2961 w 197"/>
                <a:gd name="T35" fmla="*/ 9345092 h 234"/>
                <a:gd name="T36" fmla="*/ 2961 w 197"/>
                <a:gd name="T37" fmla="*/ 8888467 h 234"/>
                <a:gd name="T38" fmla="*/ 5155 w 197"/>
                <a:gd name="T39" fmla="*/ 7957236 h 234"/>
                <a:gd name="T40" fmla="*/ 3421 w 197"/>
                <a:gd name="T41" fmla="*/ 7800204 h 234"/>
                <a:gd name="T42" fmla="*/ 2961 w 197"/>
                <a:gd name="T43" fmla="*/ 6724213 h 234"/>
                <a:gd name="T44" fmla="*/ 2961 w 197"/>
                <a:gd name="T45" fmla="*/ 5790526 h 234"/>
                <a:gd name="T46" fmla="*/ 4116 w 197"/>
                <a:gd name="T47" fmla="*/ 5141769 h 234"/>
                <a:gd name="T48" fmla="*/ 4116 w 197"/>
                <a:gd name="T49" fmla="*/ 3591564 h 234"/>
                <a:gd name="T50" fmla="*/ 4952 w 197"/>
                <a:gd name="T51" fmla="*/ 3280830 h 234"/>
                <a:gd name="T52" fmla="*/ 2046 w 197"/>
                <a:gd name="T53" fmla="*/ 2366882 h 234"/>
                <a:gd name="T54" fmla="*/ 0 w 197"/>
                <a:gd name="T55" fmla="*/ 1434313 h 234"/>
                <a:gd name="T56" fmla="*/ 5496 w 197"/>
                <a:gd name="T57" fmla="*/ 1454229 h 234"/>
                <a:gd name="T58" fmla="*/ 7955 w 197"/>
                <a:gd name="T59" fmla="*/ 1079191 h 234"/>
                <a:gd name="T60" fmla="*/ 12163 w 197"/>
                <a:gd name="T61" fmla="*/ 526551 h 234"/>
                <a:gd name="T62" fmla="*/ 16062 w 197"/>
                <a:gd name="T63" fmla="*/ 0 h 234"/>
                <a:gd name="T64" fmla="*/ 20046 w 197"/>
                <a:gd name="T65" fmla="*/ 150656 h 234"/>
                <a:gd name="T66" fmla="*/ 20179 w 197"/>
                <a:gd name="T67" fmla="*/ 1079191 h 234"/>
                <a:gd name="T68" fmla="*/ 21077 w 197"/>
                <a:gd name="T69" fmla="*/ 2081909 h 234"/>
                <a:gd name="T70" fmla="*/ 24276 w 197"/>
                <a:gd name="T71" fmla="*/ 2980511 h 234"/>
                <a:gd name="T72" fmla="*/ 27966 w 197"/>
                <a:gd name="T73" fmla="*/ 3280830 h 234"/>
                <a:gd name="T74" fmla="*/ 32741 w 197"/>
                <a:gd name="T75" fmla="*/ 3738208 h 234"/>
                <a:gd name="T76" fmla="*/ 37833 w 197"/>
                <a:gd name="T77" fmla="*/ 4533295 h 234"/>
                <a:gd name="T78" fmla="*/ 42871 w 197"/>
                <a:gd name="T79" fmla="*/ 4720537 h 234"/>
                <a:gd name="T80" fmla="*/ 44479 w 197"/>
                <a:gd name="T81" fmla="*/ 5192552 h 234"/>
                <a:gd name="T82" fmla="*/ 45515 w 197"/>
                <a:gd name="T83" fmla="*/ 6427987 h 234"/>
                <a:gd name="T84" fmla="*/ 44479 w 197"/>
                <a:gd name="T85" fmla="*/ 6427987 h 234"/>
                <a:gd name="T86" fmla="*/ 46513 w 197"/>
                <a:gd name="T87" fmla="*/ 6906584 h 234"/>
                <a:gd name="T88" fmla="*/ 47387 w 197"/>
                <a:gd name="T89" fmla="*/ 7957236 h 234"/>
                <a:gd name="T90" fmla="*/ 51576 w 197"/>
                <a:gd name="T91" fmla="*/ 7981946 h 234"/>
                <a:gd name="T92" fmla="*/ 55760 w 197"/>
                <a:gd name="T93" fmla="*/ 8030512 h 234"/>
                <a:gd name="T94" fmla="*/ 56620 w 197"/>
                <a:gd name="T95" fmla="*/ 9111686 h 234"/>
                <a:gd name="T96" fmla="*/ 59562 w 197"/>
                <a:gd name="T97" fmla="*/ 9736366 h 234"/>
                <a:gd name="T98" fmla="*/ 60774 w 197"/>
                <a:gd name="T99" fmla="*/ 10204564 h 234"/>
                <a:gd name="T100" fmla="*/ 59453 w 197"/>
                <a:gd name="T101" fmla="*/ 11103830 h 234"/>
                <a:gd name="T102" fmla="*/ 58580 w 197"/>
                <a:gd name="T103" fmla="*/ 12094178 h 234"/>
                <a:gd name="T104" fmla="*/ 59453 w 197"/>
                <a:gd name="T105" fmla="*/ 12520046 h 234"/>
                <a:gd name="T106" fmla="*/ 58580 w 197"/>
                <a:gd name="T107" fmla="*/ 12575467 h 234"/>
                <a:gd name="T108" fmla="*/ 58580 w 197"/>
                <a:gd name="T109" fmla="*/ 12395484 h 234"/>
                <a:gd name="T110" fmla="*/ 53510 w 197"/>
                <a:gd name="T111" fmla="*/ 11644245 h 234"/>
                <a:gd name="T112" fmla="*/ 47387 w 197"/>
                <a:gd name="T113" fmla="*/ 11867950 h 234"/>
                <a:gd name="T114" fmla="*/ 40881 w 197"/>
                <a:gd name="T115" fmla="*/ 12075647 h 234"/>
                <a:gd name="T116" fmla="*/ 40758 w 197"/>
                <a:gd name="T117" fmla="*/ 12520046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7"/>
                <a:gd name="T178" fmla="*/ 0 h 234"/>
                <a:gd name="T179" fmla="*/ 197 w 197"/>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7" h="234">
                  <a:moveTo>
                    <a:pt x="132" y="185"/>
                  </a:moveTo>
                  <a:lnTo>
                    <a:pt x="127" y="204"/>
                  </a:lnTo>
                  <a:lnTo>
                    <a:pt x="125" y="224"/>
                  </a:lnTo>
                  <a:lnTo>
                    <a:pt x="122" y="220"/>
                  </a:lnTo>
                  <a:lnTo>
                    <a:pt x="103" y="223"/>
                  </a:lnTo>
                  <a:lnTo>
                    <a:pt x="98" y="233"/>
                  </a:lnTo>
                  <a:lnTo>
                    <a:pt x="90" y="221"/>
                  </a:lnTo>
                  <a:lnTo>
                    <a:pt x="71" y="218"/>
                  </a:lnTo>
                  <a:lnTo>
                    <a:pt x="68" y="215"/>
                  </a:lnTo>
                  <a:lnTo>
                    <a:pt x="55" y="234"/>
                  </a:lnTo>
                  <a:lnTo>
                    <a:pt x="45" y="233"/>
                  </a:lnTo>
                  <a:lnTo>
                    <a:pt x="37" y="217"/>
                  </a:lnTo>
                  <a:lnTo>
                    <a:pt x="30" y="201"/>
                  </a:lnTo>
                  <a:lnTo>
                    <a:pt x="27" y="185"/>
                  </a:lnTo>
                  <a:lnTo>
                    <a:pt x="27" y="172"/>
                  </a:lnTo>
                  <a:lnTo>
                    <a:pt x="18" y="159"/>
                  </a:lnTo>
                  <a:lnTo>
                    <a:pt x="14" y="147"/>
                  </a:lnTo>
                  <a:lnTo>
                    <a:pt x="10" y="138"/>
                  </a:lnTo>
                  <a:lnTo>
                    <a:pt x="10" y="131"/>
                  </a:lnTo>
                  <a:lnTo>
                    <a:pt x="17" y="117"/>
                  </a:lnTo>
                  <a:lnTo>
                    <a:pt x="11" y="115"/>
                  </a:lnTo>
                  <a:lnTo>
                    <a:pt x="10" y="99"/>
                  </a:lnTo>
                  <a:lnTo>
                    <a:pt x="10" y="85"/>
                  </a:lnTo>
                  <a:lnTo>
                    <a:pt x="13" y="76"/>
                  </a:lnTo>
                  <a:lnTo>
                    <a:pt x="13" y="53"/>
                  </a:lnTo>
                  <a:lnTo>
                    <a:pt x="16" y="48"/>
                  </a:lnTo>
                  <a:lnTo>
                    <a:pt x="7" y="35"/>
                  </a:lnTo>
                  <a:lnTo>
                    <a:pt x="0" y="21"/>
                  </a:lnTo>
                  <a:lnTo>
                    <a:pt x="18" y="22"/>
                  </a:lnTo>
                  <a:lnTo>
                    <a:pt x="26" y="16"/>
                  </a:lnTo>
                  <a:lnTo>
                    <a:pt x="39" y="8"/>
                  </a:lnTo>
                  <a:lnTo>
                    <a:pt x="52" y="0"/>
                  </a:lnTo>
                  <a:lnTo>
                    <a:pt x="65" y="2"/>
                  </a:lnTo>
                  <a:lnTo>
                    <a:pt x="66" y="16"/>
                  </a:lnTo>
                  <a:lnTo>
                    <a:pt x="68" y="31"/>
                  </a:lnTo>
                  <a:lnTo>
                    <a:pt x="79" y="44"/>
                  </a:lnTo>
                  <a:lnTo>
                    <a:pt x="91" y="48"/>
                  </a:lnTo>
                  <a:lnTo>
                    <a:pt x="106" y="55"/>
                  </a:lnTo>
                  <a:lnTo>
                    <a:pt x="123" y="67"/>
                  </a:lnTo>
                  <a:lnTo>
                    <a:pt x="140" y="70"/>
                  </a:lnTo>
                  <a:lnTo>
                    <a:pt x="145" y="77"/>
                  </a:lnTo>
                  <a:lnTo>
                    <a:pt x="148" y="95"/>
                  </a:lnTo>
                  <a:lnTo>
                    <a:pt x="145" y="95"/>
                  </a:lnTo>
                  <a:lnTo>
                    <a:pt x="151" y="102"/>
                  </a:lnTo>
                  <a:lnTo>
                    <a:pt x="154" y="117"/>
                  </a:lnTo>
                  <a:lnTo>
                    <a:pt x="168" y="118"/>
                  </a:lnTo>
                  <a:lnTo>
                    <a:pt x="181" y="119"/>
                  </a:lnTo>
                  <a:lnTo>
                    <a:pt x="184" y="135"/>
                  </a:lnTo>
                  <a:lnTo>
                    <a:pt x="194" y="144"/>
                  </a:lnTo>
                  <a:lnTo>
                    <a:pt x="197" y="151"/>
                  </a:lnTo>
                  <a:lnTo>
                    <a:pt x="193" y="164"/>
                  </a:lnTo>
                  <a:lnTo>
                    <a:pt x="190" y="179"/>
                  </a:lnTo>
                  <a:lnTo>
                    <a:pt x="193" y="185"/>
                  </a:lnTo>
                  <a:lnTo>
                    <a:pt x="190" y="186"/>
                  </a:lnTo>
                  <a:lnTo>
                    <a:pt x="190" y="183"/>
                  </a:lnTo>
                  <a:lnTo>
                    <a:pt x="174" y="172"/>
                  </a:lnTo>
                  <a:lnTo>
                    <a:pt x="154" y="175"/>
                  </a:lnTo>
                  <a:lnTo>
                    <a:pt x="133" y="178"/>
                  </a:lnTo>
                  <a:lnTo>
                    <a:pt x="132" y="18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8" name="Freeform 368">
              <a:extLst>
                <a:ext uri="{FF2B5EF4-FFF2-40B4-BE49-F238E27FC236}">
                  <a16:creationId xmlns:a16="http://schemas.microsoft.com/office/drawing/2014/main" id="{03C69EAA-3960-9C37-D6D6-0CBD4F97702C}"/>
                </a:ext>
              </a:extLst>
            </p:cNvPr>
            <p:cNvSpPr>
              <a:spLocks/>
            </p:cNvSpPr>
            <p:nvPr/>
          </p:nvSpPr>
          <p:spPr bwMode="auto">
            <a:xfrm>
              <a:off x="2060455" y="3795250"/>
              <a:ext cx="1186577" cy="1409278"/>
            </a:xfrm>
            <a:custGeom>
              <a:avLst/>
              <a:gdLst>
                <a:gd name="T0" fmla="*/ 128156 w 619"/>
                <a:gd name="T1" fmla="*/ 10194530 h 700"/>
                <a:gd name="T2" fmla="*/ 125590 w 619"/>
                <a:gd name="T3" fmla="*/ 8993641 h 700"/>
                <a:gd name="T4" fmla="*/ 120228 w 619"/>
                <a:gd name="T5" fmla="*/ 8377456 h 700"/>
                <a:gd name="T6" fmla="*/ 114218 w 619"/>
                <a:gd name="T7" fmla="*/ 7992811 h 700"/>
                <a:gd name="T8" fmla="*/ 108531 w 619"/>
                <a:gd name="T9" fmla="*/ 9330546 h 700"/>
                <a:gd name="T10" fmla="*/ 102855 w 619"/>
                <a:gd name="T11" fmla="*/ 9544818 h 700"/>
                <a:gd name="T12" fmla="*/ 93983 w 619"/>
                <a:gd name="T13" fmla="*/ 9190426 h 700"/>
                <a:gd name="T14" fmla="*/ 101213 w 619"/>
                <a:gd name="T15" fmla="*/ 6242366 h 700"/>
                <a:gd name="T16" fmla="*/ 99617 w 619"/>
                <a:gd name="T17" fmla="*/ 3039006 h 700"/>
                <a:gd name="T18" fmla="*/ 97327 w 619"/>
                <a:gd name="T19" fmla="*/ 1646355 h 700"/>
                <a:gd name="T20" fmla="*/ 91163 w 619"/>
                <a:gd name="T21" fmla="*/ 4064211 h 700"/>
                <a:gd name="T22" fmla="*/ 77206 w 619"/>
                <a:gd name="T23" fmla="*/ 3877606 h 700"/>
                <a:gd name="T24" fmla="*/ 66780 w 619"/>
                <a:gd name="T25" fmla="*/ 5201641 h 700"/>
                <a:gd name="T26" fmla="*/ 61743 w 619"/>
                <a:gd name="T27" fmla="*/ 1495797 h 700"/>
                <a:gd name="T28" fmla="*/ 57791 w 619"/>
                <a:gd name="T29" fmla="*/ 159015 h 700"/>
                <a:gd name="T30" fmla="*/ 48375 w 619"/>
                <a:gd name="T31" fmla="*/ 2147537 h 700"/>
                <a:gd name="T32" fmla="*/ 42636 w 619"/>
                <a:gd name="T33" fmla="*/ 3552638 h 700"/>
                <a:gd name="T34" fmla="*/ 36383 w 619"/>
                <a:gd name="T35" fmla="*/ 6008435 h 700"/>
                <a:gd name="T36" fmla="*/ 29043 w 619"/>
                <a:gd name="T37" fmla="*/ 5237399 h 700"/>
                <a:gd name="T38" fmla="*/ 24425 w 619"/>
                <a:gd name="T39" fmla="*/ 4750626 h 700"/>
                <a:gd name="T40" fmla="*/ 20154 w 619"/>
                <a:gd name="T41" fmla="*/ 5917233 h 700"/>
                <a:gd name="T42" fmla="*/ 18647 w 619"/>
                <a:gd name="T43" fmla="*/ 8829333 h 700"/>
                <a:gd name="T44" fmla="*/ 11347 w 619"/>
                <a:gd name="T45" fmla="*/ 12779225 h 700"/>
                <a:gd name="T46" fmla="*/ 2655 w 619"/>
                <a:gd name="T47" fmla="*/ 15662563 h 700"/>
                <a:gd name="T48" fmla="*/ 3825 w 619"/>
                <a:gd name="T49" fmla="*/ 19377157 h 700"/>
                <a:gd name="T50" fmla="*/ 14883 w 619"/>
                <a:gd name="T51" fmla="*/ 19674488 h 700"/>
                <a:gd name="T52" fmla="*/ 25079 w 619"/>
                <a:gd name="T53" fmla="*/ 21591395 h 700"/>
                <a:gd name="T54" fmla="*/ 37822 w 619"/>
                <a:gd name="T55" fmla="*/ 20129551 h 700"/>
                <a:gd name="T56" fmla="*/ 45254 w 619"/>
                <a:gd name="T57" fmla="*/ 23538602 h 700"/>
                <a:gd name="T58" fmla="*/ 59964 w 619"/>
                <a:gd name="T59" fmla="*/ 25665773 h 700"/>
                <a:gd name="T60" fmla="*/ 62667 w 619"/>
                <a:gd name="T61" fmla="*/ 28645924 h 700"/>
                <a:gd name="T62" fmla="*/ 73438 w 619"/>
                <a:gd name="T63" fmla="*/ 30613886 h 700"/>
                <a:gd name="T64" fmla="*/ 73265 w 619"/>
                <a:gd name="T65" fmla="*/ 33677469 h 700"/>
                <a:gd name="T66" fmla="*/ 79926 w 619"/>
                <a:gd name="T67" fmla="*/ 36483382 h 700"/>
                <a:gd name="T68" fmla="*/ 88031 w 619"/>
                <a:gd name="T69" fmla="*/ 38688777 h 700"/>
                <a:gd name="T70" fmla="*/ 92763 w 619"/>
                <a:gd name="T71" fmla="*/ 40949854 h 700"/>
                <a:gd name="T72" fmla="*/ 87403 w 619"/>
                <a:gd name="T73" fmla="*/ 44671086 h 700"/>
                <a:gd name="T74" fmla="*/ 83040 w 619"/>
                <a:gd name="T75" fmla="*/ 46977899 h 700"/>
                <a:gd name="T76" fmla="*/ 95957 w 619"/>
                <a:gd name="T77" fmla="*/ 49341578 h 700"/>
                <a:gd name="T78" fmla="*/ 102855 w 619"/>
                <a:gd name="T79" fmla="*/ 50963865 h 700"/>
                <a:gd name="T80" fmla="*/ 107939 w 619"/>
                <a:gd name="T81" fmla="*/ 47867789 h 700"/>
                <a:gd name="T82" fmla="*/ 108531 w 619"/>
                <a:gd name="T83" fmla="*/ 48238168 h 700"/>
                <a:gd name="T84" fmla="*/ 108531 w 619"/>
                <a:gd name="T85" fmla="*/ 48434666 h 700"/>
                <a:gd name="T86" fmla="*/ 115904 w 619"/>
                <a:gd name="T87" fmla="*/ 44671086 h 700"/>
                <a:gd name="T88" fmla="*/ 115519 w 619"/>
                <a:gd name="T89" fmla="*/ 41775883 h 700"/>
                <a:gd name="T90" fmla="*/ 117644 w 619"/>
                <a:gd name="T91" fmla="*/ 40602893 h 700"/>
                <a:gd name="T92" fmla="*/ 131780 w 619"/>
                <a:gd name="T93" fmla="*/ 37818849 h 700"/>
                <a:gd name="T94" fmla="*/ 137167 w 619"/>
                <a:gd name="T95" fmla="*/ 37294457 h 700"/>
                <a:gd name="T96" fmla="*/ 146807 w 619"/>
                <a:gd name="T97" fmla="*/ 36095900 h 700"/>
                <a:gd name="T98" fmla="*/ 152289 w 619"/>
                <a:gd name="T99" fmla="*/ 30878792 h 700"/>
                <a:gd name="T100" fmla="*/ 152960 w 619"/>
                <a:gd name="T101" fmla="*/ 26615779 h 700"/>
                <a:gd name="T102" fmla="*/ 155097 w 619"/>
                <a:gd name="T103" fmla="*/ 23904376 h 700"/>
                <a:gd name="T104" fmla="*/ 159777 w 619"/>
                <a:gd name="T105" fmla="*/ 22046356 h 700"/>
                <a:gd name="T106" fmla="*/ 169754 w 619"/>
                <a:gd name="T107" fmla="*/ 18347314 h 700"/>
                <a:gd name="T108" fmla="*/ 162726 w 619"/>
                <a:gd name="T109" fmla="*/ 13703630 h 700"/>
                <a:gd name="T110" fmla="*/ 144118 w 619"/>
                <a:gd name="T111" fmla="*/ 10722011 h 700"/>
                <a:gd name="T112" fmla="*/ 128887 w 619"/>
                <a:gd name="T113" fmla="*/ 10662877 h 7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9"/>
                <a:gd name="T172" fmla="*/ 0 h 700"/>
                <a:gd name="T173" fmla="*/ 619 w 619"/>
                <a:gd name="T174" fmla="*/ 700 h 7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9" h="700">
                  <a:moveTo>
                    <a:pt x="469" y="138"/>
                  </a:moveTo>
                  <a:lnTo>
                    <a:pt x="466" y="140"/>
                  </a:lnTo>
                  <a:lnTo>
                    <a:pt x="460" y="151"/>
                  </a:lnTo>
                  <a:lnTo>
                    <a:pt x="465" y="138"/>
                  </a:lnTo>
                  <a:lnTo>
                    <a:pt x="462" y="134"/>
                  </a:lnTo>
                  <a:lnTo>
                    <a:pt x="460" y="135"/>
                  </a:lnTo>
                  <a:lnTo>
                    <a:pt x="462" y="128"/>
                  </a:lnTo>
                  <a:lnTo>
                    <a:pt x="456" y="122"/>
                  </a:lnTo>
                  <a:lnTo>
                    <a:pt x="450" y="122"/>
                  </a:lnTo>
                  <a:lnTo>
                    <a:pt x="449" y="121"/>
                  </a:lnTo>
                  <a:lnTo>
                    <a:pt x="443" y="118"/>
                  </a:lnTo>
                  <a:lnTo>
                    <a:pt x="436" y="113"/>
                  </a:lnTo>
                  <a:lnTo>
                    <a:pt x="430" y="112"/>
                  </a:lnTo>
                  <a:lnTo>
                    <a:pt x="424" y="110"/>
                  </a:lnTo>
                  <a:lnTo>
                    <a:pt x="415" y="106"/>
                  </a:lnTo>
                  <a:lnTo>
                    <a:pt x="415" y="108"/>
                  </a:lnTo>
                  <a:lnTo>
                    <a:pt x="405" y="109"/>
                  </a:lnTo>
                  <a:lnTo>
                    <a:pt x="399" y="121"/>
                  </a:lnTo>
                  <a:lnTo>
                    <a:pt x="399" y="124"/>
                  </a:lnTo>
                  <a:lnTo>
                    <a:pt x="394" y="126"/>
                  </a:lnTo>
                  <a:lnTo>
                    <a:pt x="382" y="141"/>
                  </a:lnTo>
                  <a:lnTo>
                    <a:pt x="383" y="128"/>
                  </a:lnTo>
                  <a:lnTo>
                    <a:pt x="379" y="132"/>
                  </a:lnTo>
                  <a:lnTo>
                    <a:pt x="373" y="129"/>
                  </a:lnTo>
                  <a:lnTo>
                    <a:pt x="367" y="129"/>
                  </a:lnTo>
                  <a:lnTo>
                    <a:pt x="363" y="112"/>
                  </a:lnTo>
                  <a:lnTo>
                    <a:pt x="352" y="118"/>
                  </a:lnTo>
                  <a:lnTo>
                    <a:pt x="341" y="124"/>
                  </a:lnTo>
                  <a:lnTo>
                    <a:pt x="336" y="122"/>
                  </a:lnTo>
                  <a:lnTo>
                    <a:pt x="347" y="115"/>
                  </a:lnTo>
                  <a:lnTo>
                    <a:pt x="357" y="96"/>
                  </a:lnTo>
                  <a:lnTo>
                    <a:pt x="367" y="84"/>
                  </a:lnTo>
                  <a:lnTo>
                    <a:pt x="378" y="73"/>
                  </a:lnTo>
                  <a:lnTo>
                    <a:pt x="373" y="63"/>
                  </a:lnTo>
                  <a:lnTo>
                    <a:pt x="366" y="55"/>
                  </a:lnTo>
                  <a:lnTo>
                    <a:pt x="362" y="41"/>
                  </a:lnTo>
                  <a:lnTo>
                    <a:pt x="359" y="25"/>
                  </a:lnTo>
                  <a:lnTo>
                    <a:pt x="359" y="26"/>
                  </a:lnTo>
                  <a:lnTo>
                    <a:pt x="352" y="18"/>
                  </a:lnTo>
                  <a:lnTo>
                    <a:pt x="353" y="22"/>
                  </a:lnTo>
                  <a:lnTo>
                    <a:pt x="352" y="22"/>
                  </a:lnTo>
                  <a:lnTo>
                    <a:pt x="350" y="22"/>
                  </a:lnTo>
                  <a:lnTo>
                    <a:pt x="340" y="39"/>
                  </a:lnTo>
                  <a:lnTo>
                    <a:pt x="330" y="55"/>
                  </a:lnTo>
                  <a:lnTo>
                    <a:pt x="314" y="55"/>
                  </a:lnTo>
                  <a:lnTo>
                    <a:pt x="304" y="52"/>
                  </a:lnTo>
                  <a:lnTo>
                    <a:pt x="293" y="49"/>
                  </a:lnTo>
                  <a:lnTo>
                    <a:pt x="280" y="52"/>
                  </a:lnTo>
                  <a:lnTo>
                    <a:pt x="280" y="61"/>
                  </a:lnTo>
                  <a:lnTo>
                    <a:pt x="273" y="60"/>
                  </a:lnTo>
                  <a:lnTo>
                    <a:pt x="257" y="63"/>
                  </a:lnTo>
                  <a:lnTo>
                    <a:pt x="243" y="70"/>
                  </a:lnTo>
                  <a:lnTo>
                    <a:pt x="232" y="71"/>
                  </a:lnTo>
                  <a:lnTo>
                    <a:pt x="222" y="57"/>
                  </a:lnTo>
                  <a:lnTo>
                    <a:pt x="219" y="36"/>
                  </a:lnTo>
                  <a:lnTo>
                    <a:pt x="224" y="20"/>
                  </a:lnTo>
                  <a:lnTo>
                    <a:pt x="218" y="10"/>
                  </a:lnTo>
                  <a:lnTo>
                    <a:pt x="216" y="0"/>
                  </a:lnTo>
                  <a:lnTo>
                    <a:pt x="208" y="2"/>
                  </a:lnTo>
                  <a:lnTo>
                    <a:pt x="209" y="2"/>
                  </a:lnTo>
                  <a:lnTo>
                    <a:pt x="203" y="12"/>
                  </a:lnTo>
                  <a:lnTo>
                    <a:pt x="190" y="16"/>
                  </a:lnTo>
                  <a:lnTo>
                    <a:pt x="177" y="22"/>
                  </a:lnTo>
                  <a:lnTo>
                    <a:pt x="176" y="29"/>
                  </a:lnTo>
                  <a:lnTo>
                    <a:pt x="161" y="23"/>
                  </a:lnTo>
                  <a:lnTo>
                    <a:pt x="145" y="19"/>
                  </a:lnTo>
                  <a:lnTo>
                    <a:pt x="150" y="28"/>
                  </a:lnTo>
                  <a:lnTo>
                    <a:pt x="155" y="48"/>
                  </a:lnTo>
                  <a:lnTo>
                    <a:pt x="164" y="51"/>
                  </a:lnTo>
                  <a:lnTo>
                    <a:pt x="163" y="57"/>
                  </a:lnTo>
                  <a:lnTo>
                    <a:pt x="148" y="68"/>
                  </a:lnTo>
                  <a:lnTo>
                    <a:pt x="132" y="81"/>
                  </a:lnTo>
                  <a:lnTo>
                    <a:pt x="131" y="80"/>
                  </a:lnTo>
                  <a:lnTo>
                    <a:pt x="122" y="80"/>
                  </a:lnTo>
                  <a:lnTo>
                    <a:pt x="109" y="73"/>
                  </a:lnTo>
                  <a:lnTo>
                    <a:pt x="106" y="71"/>
                  </a:lnTo>
                  <a:lnTo>
                    <a:pt x="100" y="57"/>
                  </a:lnTo>
                  <a:lnTo>
                    <a:pt x="91" y="63"/>
                  </a:lnTo>
                  <a:lnTo>
                    <a:pt x="87" y="61"/>
                  </a:lnTo>
                  <a:lnTo>
                    <a:pt x="89" y="64"/>
                  </a:lnTo>
                  <a:lnTo>
                    <a:pt x="75" y="64"/>
                  </a:lnTo>
                  <a:lnTo>
                    <a:pt x="62" y="64"/>
                  </a:lnTo>
                  <a:lnTo>
                    <a:pt x="64" y="76"/>
                  </a:lnTo>
                  <a:lnTo>
                    <a:pt x="73" y="80"/>
                  </a:lnTo>
                  <a:lnTo>
                    <a:pt x="70" y="83"/>
                  </a:lnTo>
                  <a:lnTo>
                    <a:pt x="58" y="84"/>
                  </a:lnTo>
                  <a:lnTo>
                    <a:pt x="61" y="102"/>
                  </a:lnTo>
                  <a:lnTo>
                    <a:pt x="68" y="119"/>
                  </a:lnTo>
                  <a:lnTo>
                    <a:pt x="65" y="145"/>
                  </a:lnTo>
                  <a:lnTo>
                    <a:pt x="61" y="170"/>
                  </a:lnTo>
                  <a:lnTo>
                    <a:pt x="55" y="170"/>
                  </a:lnTo>
                  <a:lnTo>
                    <a:pt x="42" y="173"/>
                  </a:lnTo>
                  <a:lnTo>
                    <a:pt x="29" y="179"/>
                  </a:lnTo>
                  <a:lnTo>
                    <a:pt x="17" y="185"/>
                  </a:lnTo>
                  <a:lnTo>
                    <a:pt x="13" y="199"/>
                  </a:lnTo>
                  <a:lnTo>
                    <a:pt x="9" y="212"/>
                  </a:lnTo>
                  <a:lnTo>
                    <a:pt x="0" y="227"/>
                  </a:lnTo>
                  <a:lnTo>
                    <a:pt x="7" y="241"/>
                  </a:lnTo>
                  <a:lnTo>
                    <a:pt x="14" y="254"/>
                  </a:lnTo>
                  <a:lnTo>
                    <a:pt x="14" y="262"/>
                  </a:lnTo>
                  <a:lnTo>
                    <a:pt x="20" y="263"/>
                  </a:lnTo>
                  <a:lnTo>
                    <a:pt x="29" y="270"/>
                  </a:lnTo>
                  <a:lnTo>
                    <a:pt x="42" y="275"/>
                  </a:lnTo>
                  <a:lnTo>
                    <a:pt x="54" y="266"/>
                  </a:lnTo>
                  <a:lnTo>
                    <a:pt x="54" y="279"/>
                  </a:lnTo>
                  <a:lnTo>
                    <a:pt x="55" y="292"/>
                  </a:lnTo>
                  <a:lnTo>
                    <a:pt x="73" y="291"/>
                  </a:lnTo>
                  <a:lnTo>
                    <a:pt x="91" y="292"/>
                  </a:lnTo>
                  <a:lnTo>
                    <a:pt x="99" y="286"/>
                  </a:lnTo>
                  <a:lnTo>
                    <a:pt x="112" y="278"/>
                  </a:lnTo>
                  <a:lnTo>
                    <a:pt x="125" y="270"/>
                  </a:lnTo>
                  <a:lnTo>
                    <a:pt x="138" y="272"/>
                  </a:lnTo>
                  <a:lnTo>
                    <a:pt x="139" y="286"/>
                  </a:lnTo>
                  <a:lnTo>
                    <a:pt x="141" y="301"/>
                  </a:lnTo>
                  <a:lnTo>
                    <a:pt x="152" y="314"/>
                  </a:lnTo>
                  <a:lnTo>
                    <a:pt x="164" y="318"/>
                  </a:lnTo>
                  <a:lnTo>
                    <a:pt x="179" y="325"/>
                  </a:lnTo>
                  <a:lnTo>
                    <a:pt x="196" y="337"/>
                  </a:lnTo>
                  <a:lnTo>
                    <a:pt x="213" y="340"/>
                  </a:lnTo>
                  <a:lnTo>
                    <a:pt x="218" y="347"/>
                  </a:lnTo>
                  <a:lnTo>
                    <a:pt x="221" y="365"/>
                  </a:lnTo>
                  <a:lnTo>
                    <a:pt x="218" y="365"/>
                  </a:lnTo>
                  <a:lnTo>
                    <a:pt x="224" y="372"/>
                  </a:lnTo>
                  <a:lnTo>
                    <a:pt x="227" y="387"/>
                  </a:lnTo>
                  <a:lnTo>
                    <a:pt x="241" y="388"/>
                  </a:lnTo>
                  <a:lnTo>
                    <a:pt x="254" y="389"/>
                  </a:lnTo>
                  <a:lnTo>
                    <a:pt x="257" y="405"/>
                  </a:lnTo>
                  <a:lnTo>
                    <a:pt x="267" y="414"/>
                  </a:lnTo>
                  <a:lnTo>
                    <a:pt x="270" y="421"/>
                  </a:lnTo>
                  <a:lnTo>
                    <a:pt x="266" y="434"/>
                  </a:lnTo>
                  <a:lnTo>
                    <a:pt x="263" y="449"/>
                  </a:lnTo>
                  <a:lnTo>
                    <a:pt x="266" y="455"/>
                  </a:lnTo>
                  <a:lnTo>
                    <a:pt x="263" y="456"/>
                  </a:lnTo>
                  <a:lnTo>
                    <a:pt x="266" y="465"/>
                  </a:lnTo>
                  <a:lnTo>
                    <a:pt x="269" y="490"/>
                  </a:lnTo>
                  <a:lnTo>
                    <a:pt x="290" y="493"/>
                  </a:lnTo>
                  <a:lnTo>
                    <a:pt x="302" y="494"/>
                  </a:lnTo>
                  <a:lnTo>
                    <a:pt x="308" y="509"/>
                  </a:lnTo>
                  <a:lnTo>
                    <a:pt x="312" y="525"/>
                  </a:lnTo>
                  <a:lnTo>
                    <a:pt x="320" y="523"/>
                  </a:lnTo>
                  <a:lnTo>
                    <a:pt x="328" y="525"/>
                  </a:lnTo>
                  <a:lnTo>
                    <a:pt x="328" y="539"/>
                  </a:lnTo>
                  <a:lnTo>
                    <a:pt x="327" y="554"/>
                  </a:lnTo>
                  <a:lnTo>
                    <a:pt x="337" y="554"/>
                  </a:lnTo>
                  <a:lnTo>
                    <a:pt x="344" y="577"/>
                  </a:lnTo>
                  <a:lnTo>
                    <a:pt x="334" y="586"/>
                  </a:lnTo>
                  <a:lnTo>
                    <a:pt x="325" y="594"/>
                  </a:lnTo>
                  <a:lnTo>
                    <a:pt x="317" y="604"/>
                  </a:lnTo>
                  <a:lnTo>
                    <a:pt x="308" y="615"/>
                  </a:lnTo>
                  <a:lnTo>
                    <a:pt x="301" y="626"/>
                  </a:lnTo>
                  <a:lnTo>
                    <a:pt x="292" y="636"/>
                  </a:lnTo>
                  <a:lnTo>
                    <a:pt x="301" y="635"/>
                  </a:lnTo>
                  <a:lnTo>
                    <a:pt x="320" y="649"/>
                  </a:lnTo>
                  <a:lnTo>
                    <a:pt x="324" y="649"/>
                  </a:lnTo>
                  <a:lnTo>
                    <a:pt x="333" y="655"/>
                  </a:lnTo>
                  <a:lnTo>
                    <a:pt x="349" y="667"/>
                  </a:lnTo>
                  <a:lnTo>
                    <a:pt x="366" y="680"/>
                  </a:lnTo>
                  <a:lnTo>
                    <a:pt x="363" y="687"/>
                  </a:lnTo>
                  <a:lnTo>
                    <a:pt x="367" y="700"/>
                  </a:lnTo>
                  <a:lnTo>
                    <a:pt x="373" y="689"/>
                  </a:lnTo>
                  <a:lnTo>
                    <a:pt x="379" y="677"/>
                  </a:lnTo>
                  <a:lnTo>
                    <a:pt x="379" y="667"/>
                  </a:lnTo>
                  <a:lnTo>
                    <a:pt x="383" y="655"/>
                  </a:lnTo>
                  <a:lnTo>
                    <a:pt x="391" y="647"/>
                  </a:lnTo>
                  <a:lnTo>
                    <a:pt x="389" y="636"/>
                  </a:lnTo>
                  <a:lnTo>
                    <a:pt x="397" y="638"/>
                  </a:lnTo>
                  <a:lnTo>
                    <a:pt x="399" y="639"/>
                  </a:lnTo>
                  <a:lnTo>
                    <a:pt x="394" y="652"/>
                  </a:lnTo>
                  <a:lnTo>
                    <a:pt x="386" y="665"/>
                  </a:lnTo>
                  <a:lnTo>
                    <a:pt x="382" y="668"/>
                  </a:lnTo>
                  <a:lnTo>
                    <a:pt x="383" y="670"/>
                  </a:lnTo>
                  <a:lnTo>
                    <a:pt x="394" y="655"/>
                  </a:lnTo>
                  <a:lnTo>
                    <a:pt x="404" y="641"/>
                  </a:lnTo>
                  <a:lnTo>
                    <a:pt x="410" y="626"/>
                  </a:lnTo>
                  <a:lnTo>
                    <a:pt x="417" y="612"/>
                  </a:lnTo>
                  <a:lnTo>
                    <a:pt x="421" y="604"/>
                  </a:lnTo>
                  <a:lnTo>
                    <a:pt x="423" y="604"/>
                  </a:lnTo>
                  <a:lnTo>
                    <a:pt x="423" y="590"/>
                  </a:lnTo>
                  <a:lnTo>
                    <a:pt x="423" y="575"/>
                  </a:lnTo>
                  <a:lnTo>
                    <a:pt x="420" y="565"/>
                  </a:lnTo>
                  <a:lnTo>
                    <a:pt x="418" y="558"/>
                  </a:lnTo>
                  <a:lnTo>
                    <a:pt x="421" y="552"/>
                  </a:lnTo>
                  <a:lnTo>
                    <a:pt x="420" y="551"/>
                  </a:lnTo>
                  <a:lnTo>
                    <a:pt x="426" y="549"/>
                  </a:lnTo>
                  <a:lnTo>
                    <a:pt x="439" y="536"/>
                  </a:lnTo>
                  <a:lnTo>
                    <a:pt x="453" y="523"/>
                  </a:lnTo>
                  <a:lnTo>
                    <a:pt x="466" y="520"/>
                  </a:lnTo>
                  <a:lnTo>
                    <a:pt x="478" y="511"/>
                  </a:lnTo>
                  <a:lnTo>
                    <a:pt x="482" y="507"/>
                  </a:lnTo>
                  <a:lnTo>
                    <a:pt x="494" y="507"/>
                  </a:lnTo>
                  <a:lnTo>
                    <a:pt x="488" y="509"/>
                  </a:lnTo>
                  <a:lnTo>
                    <a:pt x="498" y="504"/>
                  </a:lnTo>
                  <a:lnTo>
                    <a:pt x="501" y="504"/>
                  </a:lnTo>
                  <a:lnTo>
                    <a:pt x="519" y="504"/>
                  </a:lnTo>
                  <a:lnTo>
                    <a:pt x="523" y="494"/>
                  </a:lnTo>
                  <a:lnTo>
                    <a:pt x="533" y="488"/>
                  </a:lnTo>
                  <a:lnTo>
                    <a:pt x="535" y="469"/>
                  </a:lnTo>
                  <a:lnTo>
                    <a:pt x="542" y="455"/>
                  </a:lnTo>
                  <a:lnTo>
                    <a:pt x="549" y="440"/>
                  </a:lnTo>
                  <a:lnTo>
                    <a:pt x="552" y="417"/>
                  </a:lnTo>
                  <a:lnTo>
                    <a:pt x="556" y="408"/>
                  </a:lnTo>
                  <a:lnTo>
                    <a:pt x="556" y="391"/>
                  </a:lnTo>
                  <a:lnTo>
                    <a:pt x="558" y="373"/>
                  </a:lnTo>
                  <a:lnTo>
                    <a:pt x="556" y="360"/>
                  </a:lnTo>
                  <a:lnTo>
                    <a:pt x="556" y="347"/>
                  </a:lnTo>
                  <a:lnTo>
                    <a:pt x="555" y="341"/>
                  </a:lnTo>
                  <a:lnTo>
                    <a:pt x="556" y="324"/>
                  </a:lnTo>
                  <a:lnTo>
                    <a:pt x="562" y="323"/>
                  </a:lnTo>
                  <a:lnTo>
                    <a:pt x="564" y="328"/>
                  </a:lnTo>
                  <a:lnTo>
                    <a:pt x="571" y="314"/>
                  </a:lnTo>
                  <a:lnTo>
                    <a:pt x="580" y="299"/>
                  </a:lnTo>
                  <a:lnTo>
                    <a:pt x="580" y="298"/>
                  </a:lnTo>
                  <a:lnTo>
                    <a:pt x="583" y="294"/>
                  </a:lnTo>
                  <a:lnTo>
                    <a:pt x="593" y="280"/>
                  </a:lnTo>
                  <a:lnTo>
                    <a:pt x="601" y="267"/>
                  </a:lnTo>
                  <a:lnTo>
                    <a:pt x="616" y="248"/>
                  </a:lnTo>
                  <a:lnTo>
                    <a:pt x="619" y="224"/>
                  </a:lnTo>
                  <a:lnTo>
                    <a:pt x="612" y="205"/>
                  </a:lnTo>
                  <a:lnTo>
                    <a:pt x="604" y="186"/>
                  </a:lnTo>
                  <a:lnTo>
                    <a:pt x="591" y="185"/>
                  </a:lnTo>
                  <a:lnTo>
                    <a:pt x="580" y="182"/>
                  </a:lnTo>
                  <a:lnTo>
                    <a:pt x="562" y="167"/>
                  </a:lnTo>
                  <a:lnTo>
                    <a:pt x="545" y="151"/>
                  </a:lnTo>
                  <a:lnTo>
                    <a:pt x="523" y="145"/>
                  </a:lnTo>
                  <a:lnTo>
                    <a:pt x="508" y="145"/>
                  </a:lnTo>
                  <a:lnTo>
                    <a:pt x="494" y="142"/>
                  </a:lnTo>
                  <a:lnTo>
                    <a:pt x="479" y="140"/>
                  </a:lnTo>
                  <a:lnTo>
                    <a:pt x="468" y="144"/>
                  </a:lnTo>
                  <a:lnTo>
                    <a:pt x="469" y="138"/>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09" name="Freeform 369">
              <a:extLst>
                <a:ext uri="{FF2B5EF4-FFF2-40B4-BE49-F238E27FC236}">
                  <a16:creationId xmlns:a16="http://schemas.microsoft.com/office/drawing/2014/main" id="{8A33D12C-4B55-B7EA-5EB4-3C7C59A43F33}"/>
                </a:ext>
              </a:extLst>
            </p:cNvPr>
            <p:cNvSpPr>
              <a:spLocks/>
            </p:cNvSpPr>
            <p:nvPr/>
          </p:nvSpPr>
          <p:spPr bwMode="auto">
            <a:xfrm>
              <a:off x="2759287" y="3988115"/>
              <a:ext cx="71962" cy="65300"/>
            </a:xfrm>
            <a:custGeom>
              <a:avLst/>
              <a:gdLst>
                <a:gd name="T0" fmla="*/ 7963 w 37"/>
                <a:gd name="T1" fmla="*/ 2228491 h 32"/>
                <a:gd name="T2" fmla="*/ 6688 w 37"/>
                <a:gd name="T3" fmla="*/ 2297669 h 32"/>
                <a:gd name="T4" fmla="*/ 3056 w 37"/>
                <a:gd name="T5" fmla="*/ 1968745 h 32"/>
                <a:gd name="T6" fmla="*/ 1699 w 37"/>
                <a:gd name="T7" fmla="*/ 2466636 h 32"/>
                <a:gd name="T8" fmla="*/ 0 w 37"/>
                <a:gd name="T9" fmla="*/ 1259751 h 32"/>
                <a:gd name="T10" fmla="*/ 1 w 37"/>
                <a:gd name="T11" fmla="*/ 1259751 h 32"/>
                <a:gd name="T12" fmla="*/ 0 w 37"/>
                <a:gd name="T13" fmla="*/ 750218 h 32"/>
                <a:gd name="T14" fmla="*/ 2066 w 37"/>
                <a:gd name="T15" fmla="*/ 0 h 32"/>
                <a:gd name="T16" fmla="*/ 9236 w 37"/>
                <a:gd name="T17" fmla="*/ 234134 h 32"/>
                <a:gd name="T18" fmla="*/ 16022 w 37"/>
                <a:gd name="T19" fmla="*/ 483816 h 32"/>
                <a:gd name="T20" fmla="*/ 12582 w 37"/>
                <a:gd name="T21" fmla="*/ 1550255 h 32"/>
                <a:gd name="T22" fmla="*/ 12582 w 37"/>
                <a:gd name="T23" fmla="*/ 1715921 h 32"/>
                <a:gd name="T24" fmla="*/ 11233 w 37"/>
                <a:gd name="T25" fmla="*/ 1968745 h 32"/>
                <a:gd name="T26" fmla="*/ 9893 w 37"/>
                <a:gd name="T27" fmla="*/ 1968745 h 32"/>
                <a:gd name="T28" fmla="*/ 7963 w 37"/>
                <a:gd name="T29" fmla="*/ 2228491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
                <a:gd name="T46" fmla="*/ 0 h 32"/>
                <a:gd name="T47" fmla="*/ 37 w 37"/>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 h="32">
                  <a:moveTo>
                    <a:pt x="18" y="29"/>
                  </a:moveTo>
                  <a:lnTo>
                    <a:pt x="16" y="30"/>
                  </a:lnTo>
                  <a:lnTo>
                    <a:pt x="7" y="26"/>
                  </a:lnTo>
                  <a:lnTo>
                    <a:pt x="4" y="32"/>
                  </a:lnTo>
                  <a:lnTo>
                    <a:pt x="0" y="17"/>
                  </a:lnTo>
                  <a:lnTo>
                    <a:pt x="1" y="17"/>
                  </a:lnTo>
                  <a:lnTo>
                    <a:pt x="0" y="10"/>
                  </a:lnTo>
                  <a:lnTo>
                    <a:pt x="5" y="0"/>
                  </a:lnTo>
                  <a:lnTo>
                    <a:pt x="21" y="3"/>
                  </a:lnTo>
                  <a:lnTo>
                    <a:pt x="37" y="6"/>
                  </a:lnTo>
                  <a:lnTo>
                    <a:pt x="29" y="20"/>
                  </a:lnTo>
                  <a:lnTo>
                    <a:pt x="29" y="22"/>
                  </a:lnTo>
                  <a:lnTo>
                    <a:pt x="26" y="26"/>
                  </a:lnTo>
                  <a:lnTo>
                    <a:pt x="23" y="26"/>
                  </a:lnTo>
                  <a:lnTo>
                    <a:pt x="18" y="2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0" name="Freeform 370">
              <a:extLst>
                <a:ext uri="{FF2B5EF4-FFF2-40B4-BE49-F238E27FC236}">
                  <a16:creationId xmlns:a16="http://schemas.microsoft.com/office/drawing/2014/main" id="{C206CD1E-CB94-2ADE-2B56-3944FE1F26F8}"/>
                </a:ext>
              </a:extLst>
            </p:cNvPr>
            <p:cNvSpPr>
              <a:spLocks/>
            </p:cNvSpPr>
            <p:nvPr/>
          </p:nvSpPr>
          <p:spPr bwMode="auto">
            <a:xfrm>
              <a:off x="2439455" y="4685161"/>
              <a:ext cx="249469" cy="290057"/>
            </a:xfrm>
            <a:custGeom>
              <a:avLst/>
              <a:gdLst>
                <a:gd name="T0" fmla="*/ 1916 w 130"/>
                <a:gd name="T1" fmla="*/ 838488 h 145"/>
                <a:gd name="T2" fmla="*/ 2 w 130"/>
                <a:gd name="T3" fmla="*/ 2002988 h 145"/>
                <a:gd name="T4" fmla="*/ 0 w 130"/>
                <a:gd name="T5" fmla="*/ 3227196 h 145"/>
                <a:gd name="T6" fmla="*/ 3973 w 130"/>
                <a:gd name="T7" fmla="*/ 4181814 h 145"/>
                <a:gd name="T8" fmla="*/ 8509 w 130"/>
                <a:gd name="T9" fmla="*/ 5055727 h 145"/>
                <a:gd name="T10" fmla="*/ 12253 w 130"/>
                <a:gd name="T11" fmla="*/ 5389129 h 145"/>
                <a:gd name="T12" fmla="*/ 15840 w 130"/>
                <a:gd name="T13" fmla="*/ 5774922 h 145"/>
                <a:gd name="T14" fmla="*/ 19846 w 130"/>
                <a:gd name="T15" fmla="*/ 6191870 h 145"/>
                <a:gd name="T16" fmla="*/ 23950 w 130"/>
                <a:gd name="T17" fmla="*/ 6781354 h 145"/>
                <a:gd name="T18" fmla="*/ 22394 w 130"/>
                <a:gd name="T19" fmla="*/ 7828831 h 145"/>
                <a:gd name="T20" fmla="*/ 20501 w 130"/>
                <a:gd name="T21" fmla="*/ 8830933 h 145"/>
                <a:gd name="T22" fmla="*/ 25721 w 130"/>
                <a:gd name="T23" fmla="*/ 8966457 h 145"/>
                <a:gd name="T24" fmla="*/ 30865 w 130"/>
                <a:gd name="T25" fmla="*/ 9018941 h 145"/>
                <a:gd name="T26" fmla="*/ 33842 w 130"/>
                <a:gd name="T27" fmla="*/ 8830933 h 145"/>
                <a:gd name="T28" fmla="*/ 37038 w 130"/>
                <a:gd name="T29" fmla="*/ 7628107 h 145"/>
                <a:gd name="T30" fmla="*/ 36787 w 130"/>
                <a:gd name="T31" fmla="*/ 6928852 h 145"/>
                <a:gd name="T32" fmla="*/ 37038 w 130"/>
                <a:gd name="T33" fmla="*/ 5987535 h 145"/>
                <a:gd name="T34" fmla="*/ 37038 w 130"/>
                <a:gd name="T35" fmla="*/ 5129040 h 145"/>
                <a:gd name="T36" fmla="*/ 34501 w 130"/>
                <a:gd name="T37" fmla="*/ 5055727 h 145"/>
                <a:gd name="T38" fmla="*/ 32462 w 130"/>
                <a:gd name="T39" fmla="*/ 5129040 h 145"/>
                <a:gd name="T40" fmla="*/ 31429 w 130"/>
                <a:gd name="T41" fmla="*/ 4181814 h 145"/>
                <a:gd name="T42" fmla="*/ 29712 w 130"/>
                <a:gd name="T43" fmla="*/ 3227196 h 145"/>
                <a:gd name="T44" fmla="*/ 26191 w 130"/>
                <a:gd name="T45" fmla="*/ 3153452 h 145"/>
                <a:gd name="T46" fmla="*/ 19966 w 130"/>
                <a:gd name="T47" fmla="*/ 3003248 h 145"/>
                <a:gd name="T48" fmla="*/ 19512 w 130"/>
                <a:gd name="T49" fmla="*/ 1437335 h 145"/>
                <a:gd name="T50" fmla="*/ 18662 w 130"/>
                <a:gd name="T51" fmla="*/ 878238 h 145"/>
                <a:gd name="T52" fmla="*/ 18662 w 130"/>
                <a:gd name="T53" fmla="*/ 705267 h 145"/>
                <a:gd name="T54" fmla="*/ 13865 w 130"/>
                <a:gd name="T55" fmla="*/ 0 h 145"/>
                <a:gd name="T56" fmla="*/ 8239 w 130"/>
                <a:gd name="T57" fmla="*/ 201878 h 145"/>
                <a:gd name="T58" fmla="*/ 2299 w 130"/>
                <a:gd name="T59" fmla="*/ 411427 h 145"/>
                <a:gd name="T60" fmla="*/ 1916 w 130"/>
                <a:gd name="T61" fmla="*/ 838488 h 1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0"/>
                <a:gd name="T94" fmla="*/ 0 h 145"/>
                <a:gd name="T95" fmla="*/ 130 w 130"/>
                <a:gd name="T96" fmla="*/ 145 h 14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0" h="145">
                  <a:moveTo>
                    <a:pt x="7" y="13"/>
                  </a:moveTo>
                  <a:lnTo>
                    <a:pt x="2" y="32"/>
                  </a:lnTo>
                  <a:lnTo>
                    <a:pt x="0" y="52"/>
                  </a:lnTo>
                  <a:lnTo>
                    <a:pt x="14" y="67"/>
                  </a:lnTo>
                  <a:lnTo>
                    <a:pt x="30" y="81"/>
                  </a:lnTo>
                  <a:lnTo>
                    <a:pt x="43" y="87"/>
                  </a:lnTo>
                  <a:lnTo>
                    <a:pt x="56" y="93"/>
                  </a:lnTo>
                  <a:lnTo>
                    <a:pt x="69" y="100"/>
                  </a:lnTo>
                  <a:lnTo>
                    <a:pt x="84" y="109"/>
                  </a:lnTo>
                  <a:lnTo>
                    <a:pt x="78" y="126"/>
                  </a:lnTo>
                  <a:lnTo>
                    <a:pt x="72" y="142"/>
                  </a:lnTo>
                  <a:lnTo>
                    <a:pt x="90" y="144"/>
                  </a:lnTo>
                  <a:lnTo>
                    <a:pt x="108" y="145"/>
                  </a:lnTo>
                  <a:lnTo>
                    <a:pt x="119" y="142"/>
                  </a:lnTo>
                  <a:lnTo>
                    <a:pt x="130" y="123"/>
                  </a:lnTo>
                  <a:lnTo>
                    <a:pt x="129" y="112"/>
                  </a:lnTo>
                  <a:lnTo>
                    <a:pt x="130" y="97"/>
                  </a:lnTo>
                  <a:lnTo>
                    <a:pt x="130" y="83"/>
                  </a:lnTo>
                  <a:lnTo>
                    <a:pt x="122" y="81"/>
                  </a:lnTo>
                  <a:lnTo>
                    <a:pt x="114" y="83"/>
                  </a:lnTo>
                  <a:lnTo>
                    <a:pt x="110" y="67"/>
                  </a:lnTo>
                  <a:lnTo>
                    <a:pt x="104" y="52"/>
                  </a:lnTo>
                  <a:lnTo>
                    <a:pt x="92" y="51"/>
                  </a:lnTo>
                  <a:lnTo>
                    <a:pt x="71" y="48"/>
                  </a:lnTo>
                  <a:lnTo>
                    <a:pt x="68" y="23"/>
                  </a:lnTo>
                  <a:lnTo>
                    <a:pt x="65" y="14"/>
                  </a:lnTo>
                  <a:lnTo>
                    <a:pt x="65" y="11"/>
                  </a:lnTo>
                  <a:lnTo>
                    <a:pt x="49" y="0"/>
                  </a:lnTo>
                  <a:lnTo>
                    <a:pt x="29" y="3"/>
                  </a:lnTo>
                  <a:lnTo>
                    <a:pt x="8" y="6"/>
                  </a:lnTo>
                  <a:lnTo>
                    <a:pt x="7" y="1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1" name="Freeform 371">
              <a:extLst>
                <a:ext uri="{FF2B5EF4-FFF2-40B4-BE49-F238E27FC236}">
                  <a16:creationId xmlns:a16="http://schemas.microsoft.com/office/drawing/2014/main" id="{EAA4F1D1-8BBD-9407-C00E-D1D62CB2BC42}"/>
                </a:ext>
              </a:extLst>
            </p:cNvPr>
            <p:cNvSpPr>
              <a:spLocks/>
            </p:cNvSpPr>
            <p:nvPr/>
          </p:nvSpPr>
          <p:spPr bwMode="auto">
            <a:xfrm>
              <a:off x="2615363" y="5072408"/>
              <a:ext cx="148722" cy="174641"/>
            </a:xfrm>
            <a:custGeom>
              <a:avLst/>
              <a:gdLst>
                <a:gd name="T0" fmla="*/ 26608 w 77"/>
                <a:gd name="T1" fmla="*/ 3833593 h 86"/>
                <a:gd name="T2" fmla="*/ 20590 w 77"/>
                <a:gd name="T3" fmla="*/ 2682594 h 86"/>
                <a:gd name="T4" fmla="*/ 15102 w 77"/>
                <a:gd name="T5" fmla="*/ 1722699 h 86"/>
                <a:gd name="T6" fmla="*/ 11766 w 77"/>
                <a:gd name="T7" fmla="*/ 1194775 h 86"/>
                <a:gd name="T8" fmla="*/ 10353 w 77"/>
                <a:gd name="T9" fmla="*/ 1194775 h 86"/>
                <a:gd name="T10" fmla="*/ 3790 w 77"/>
                <a:gd name="T11" fmla="*/ 0 h 86"/>
                <a:gd name="T12" fmla="*/ 2 w 77"/>
                <a:gd name="T13" fmla="*/ 1 h 86"/>
                <a:gd name="T14" fmla="*/ 2 w 77"/>
                <a:gd name="T15" fmla="*/ 255267 h 86"/>
                <a:gd name="T16" fmla="*/ 2 w 77"/>
                <a:gd name="T17" fmla="*/ 1860509 h 86"/>
                <a:gd name="T18" fmla="*/ 0 w 77"/>
                <a:gd name="T19" fmla="*/ 3581423 h 86"/>
                <a:gd name="T20" fmla="*/ 2 w 77"/>
                <a:gd name="T21" fmla="*/ 3833593 h 86"/>
                <a:gd name="T22" fmla="*/ 0 w 77"/>
                <a:gd name="T23" fmla="*/ 5086814 h 86"/>
                <a:gd name="T24" fmla="*/ 2761 w 77"/>
                <a:gd name="T25" fmla="*/ 6252242 h 86"/>
                <a:gd name="T26" fmla="*/ 9562 w 77"/>
                <a:gd name="T27" fmla="*/ 6875483 h 86"/>
                <a:gd name="T28" fmla="*/ 18271 w 77"/>
                <a:gd name="T29" fmla="*/ 7272773 h 86"/>
                <a:gd name="T30" fmla="*/ 23056 w 77"/>
                <a:gd name="T31" fmla="*/ 6741379 h 86"/>
                <a:gd name="T32" fmla="*/ 26654 w 77"/>
                <a:gd name="T33" fmla="*/ 5527504 h 86"/>
                <a:gd name="T34" fmla="*/ 25372 w 77"/>
                <a:gd name="T35" fmla="*/ 4386059 h 86"/>
                <a:gd name="T36" fmla="*/ 26608 w 77"/>
                <a:gd name="T37" fmla="*/ 3833593 h 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7"/>
                <a:gd name="T58" fmla="*/ 0 h 86"/>
                <a:gd name="T59" fmla="*/ 77 w 77"/>
                <a:gd name="T60" fmla="*/ 86 h 8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7" h="86">
                  <a:moveTo>
                    <a:pt x="76" y="45"/>
                  </a:moveTo>
                  <a:lnTo>
                    <a:pt x="59" y="32"/>
                  </a:lnTo>
                  <a:lnTo>
                    <a:pt x="43" y="20"/>
                  </a:lnTo>
                  <a:lnTo>
                    <a:pt x="34" y="14"/>
                  </a:lnTo>
                  <a:lnTo>
                    <a:pt x="30" y="14"/>
                  </a:lnTo>
                  <a:lnTo>
                    <a:pt x="11" y="0"/>
                  </a:lnTo>
                  <a:lnTo>
                    <a:pt x="2" y="1"/>
                  </a:lnTo>
                  <a:lnTo>
                    <a:pt x="2" y="3"/>
                  </a:lnTo>
                  <a:lnTo>
                    <a:pt x="2" y="22"/>
                  </a:lnTo>
                  <a:lnTo>
                    <a:pt x="0" y="42"/>
                  </a:lnTo>
                  <a:lnTo>
                    <a:pt x="2" y="45"/>
                  </a:lnTo>
                  <a:lnTo>
                    <a:pt x="0" y="60"/>
                  </a:lnTo>
                  <a:lnTo>
                    <a:pt x="8" y="74"/>
                  </a:lnTo>
                  <a:lnTo>
                    <a:pt x="27" y="81"/>
                  </a:lnTo>
                  <a:lnTo>
                    <a:pt x="53" y="86"/>
                  </a:lnTo>
                  <a:lnTo>
                    <a:pt x="66" y="80"/>
                  </a:lnTo>
                  <a:lnTo>
                    <a:pt x="77" y="65"/>
                  </a:lnTo>
                  <a:lnTo>
                    <a:pt x="73" y="52"/>
                  </a:lnTo>
                  <a:lnTo>
                    <a:pt x="76" y="45"/>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2" name="Freeform 372">
              <a:extLst>
                <a:ext uri="{FF2B5EF4-FFF2-40B4-BE49-F238E27FC236}">
                  <a16:creationId xmlns:a16="http://schemas.microsoft.com/office/drawing/2014/main" id="{883CC99D-EA59-ED77-6BCF-EC467C647BB9}"/>
                </a:ext>
              </a:extLst>
            </p:cNvPr>
            <p:cNvSpPr>
              <a:spLocks/>
            </p:cNvSpPr>
            <p:nvPr/>
          </p:nvSpPr>
          <p:spPr bwMode="auto">
            <a:xfrm>
              <a:off x="2255552" y="4771722"/>
              <a:ext cx="463756" cy="1096443"/>
            </a:xfrm>
            <a:custGeom>
              <a:avLst/>
              <a:gdLst>
                <a:gd name="T0" fmla="*/ 36771 w 242"/>
                <a:gd name="T1" fmla="*/ 26516148 h 544"/>
                <a:gd name="T2" fmla="*/ 35832 w 242"/>
                <a:gd name="T3" fmla="*/ 28142822 h 544"/>
                <a:gd name="T4" fmla="*/ 38590 w 242"/>
                <a:gd name="T5" fmla="*/ 28142822 h 544"/>
                <a:gd name="T6" fmla="*/ 41325 w 242"/>
                <a:gd name="T7" fmla="*/ 28980527 h 544"/>
                <a:gd name="T8" fmla="*/ 35832 w 242"/>
                <a:gd name="T9" fmla="*/ 28752161 h 544"/>
                <a:gd name="T10" fmla="*/ 35832 w 242"/>
                <a:gd name="T11" fmla="*/ 30290055 h 544"/>
                <a:gd name="T12" fmla="*/ 35832 w 242"/>
                <a:gd name="T13" fmla="*/ 31988903 h 544"/>
                <a:gd name="T14" fmla="*/ 31799 w 242"/>
                <a:gd name="T15" fmla="*/ 33900639 h 544"/>
                <a:gd name="T16" fmla="*/ 40024 w 242"/>
                <a:gd name="T17" fmla="*/ 35191882 h 544"/>
                <a:gd name="T18" fmla="*/ 40024 w 242"/>
                <a:gd name="T19" fmla="*/ 35970592 h 544"/>
                <a:gd name="T20" fmla="*/ 35832 w 242"/>
                <a:gd name="T21" fmla="*/ 37668015 h 544"/>
                <a:gd name="T22" fmla="*/ 33399 w 242"/>
                <a:gd name="T23" fmla="*/ 38618443 h 544"/>
                <a:gd name="T24" fmla="*/ 34485 w 242"/>
                <a:gd name="T25" fmla="*/ 38880528 h 544"/>
                <a:gd name="T26" fmla="*/ 32892 w 242"/>
                <a:gd name="T27" fmla="*/ 39996948 h 544"/>
                <a:gd name="T28" fmla="*/ 33427 w 242"/>
                <a:gd name="T29" fmla="*/ 40825982 h 544"/>
                <a:gd name="T30" fmla="*/ 38590 w 242"/>
                <a:gd name="T31" fmla="*/ 41825539 h 544"/>
                <a:gd name="T32" fmla="*/ 24589 w 242"/>
                <a:gd name="T33" fmla="*/ 41107985 h 544"/>
                <a:gd name="T34" fmla="*/ 20136 w 242"/>
                <a:gd name="T35" fmla="*/ 39390645 h 544"/>
                <a:gd name="T36" fmla="*/ 13526 w 242"/>
                <a:gd name="T37" fmla="*/ 37756174 h 544"/>
                <a:gd name="T38" fmla="*/ 16052 w 242"/>
                <a:gd name="T39" fmla="*/ 35034401 h 544"/>
                <a:gd name="T40" fmla="*/ 14500 w 242"/>
                <a:gd name="T41" fmla="*/ 32501573 h 544"/>
                <a:gd name="T42" fmla="*/ 11701 w 242"/>
                <a:gd name="T43" fmla="*/ 31641810 h 544"/>
                <a:gd name="T44" fmla="*/ 11287 w 242"/>
                <a:gd name="T45" fmla="*/ 30811166 h 544"/>
                <a:gd name="T46" fmla="*/ 7351 w 242"/>
                <a:gd name="T47" fmla="*/ 28596865 h 544"/>
                <a:gd name="T48" fmla="*/ 5674 w 242"/>
                <a:gd name="T49" fmla="*/ 25675797 h 544"/>
                <a:gd name="T50" fmla="*/ 6553 w 242"/>
                <a:gd name="T51" fmla="*/ 23371583 h 544"/>
                <a:gd name="T52" fmla="*/ 4563 w 242"/>
                <a:gd name="T53" fmla="*/ 21433869 h 544"/>
                <a:gd name="T54" fmla="*/ 5473 w 242"/>
                <a:gd name="T55" fmla="*/ 19355808 h 544"/>
                <a:gd name="T56" fmla="*/ 5468 w 242"/>
                <a:gd name="T57" fmla="*/ 16667512 h 544"/>
                <a:gd name="T58" fmla="*/ 1848 w 242"/>
                <a:gd name="T59" fmla="*/ 14777315 h 544"/>
                <a:gd name="T60" fmla="*/ 0 w 242"/>
                <a:gd name="T61" fmla="*/ 12788173 h 544"/>
                <a:gd name="T62" fmla="*/ 1 w 242"/>
                <a:gd name="T63" fmla="*/ 10873167 h 544"/>
                <a:gd name="T64" fmla="*/ 1848 w 242"/>
                <a:gd name="T65" fmla="*/ 8588855 h 544"/>
                <a:gd name="T66" fmla="*/ 5468 w 242"/>
                <a:gd name="T67" fmla="*/ 7047642 h 544"/>
                <a:gd name="T68" fmla="*/ 2654 w 242"/>
                <a:gd name="T69" fmla="*/ 4403338 h 544"/>
                <a:gd name="T70" fmla="*/ 7031 w 242"/>
                <a:gd name="T71" fmla="*/ 3153355 h 544"/>
                <a:gd name="T72" fmla="*/ 7031 w 242"/>
                <a:gd name="T73" fmla="*/ 1437155 h 544"/>
                <a:gd name="T74" fmla="*/ 11287 w 242"/>
                <a:gd name="T75" fmla="*/ 234134 h 544"/>
                <a:gd name="T76" fmla="*/ 18966 w 242"/>
                <a:gd name="T77" fmla="*/ 1369806 h 544"/>
                <a:gd name="T78" fmla="*/ 25232 w 242"/>
                <a:gd name="T79" fmla="*/ 363055 h 544"/>
                <a:gd name="T80" fmla="*/ 29901 w 242"/>
                <a:gd name="T81" fmla="*/ 1810892 h 544"/>
                <a:gd name="T82" fmla="*/ 38106 w 242"/>
                <a:gd name="T83" fmla="*/ 3380891 h 544"/>
                <a:gd name="T84" fmla="*/ 45018 w 242"/>
                <a:gd name="T85" fmla="*/ 4403338 h 544"/>
                <a:gd name="T86" fmla="*/ 47536 w 242"/>
                <a:gd name="T87" fmla="*/ 6374939 h 544"/>
                <a:gd name="T88" fmla="*/ 50707 w 242"/>
                <a:gd name="T89" fmla="*/ 7732565 h 544"/>
                <a:gd name="T90" fmla="*/ 58584 w 242"/>
                <a:gd name="T91" fmla="*/ 7583812 h 544"/>
                <a:gd name="T92" fmla="*/ 61463 w 242"/>
                <a:gd name="T93" fmla="*/ 5275699 h 544"/>
                <a:gd name="T94" fmla="*/ 66182 w 242"/>
                <a:gd name="T95" fmla="*/ 7047642 h 544"/>
                <a:gd name="T96" fmla="*/ 60765 w 242"/>
                <a:gd name="T97" fmla="*/ 8408098 h 544"/>
                <a:gd name="T98" fmla="*/ 56232 w 242"/>
                <a:gd name="T99" fmla="*/ 10015245 h 544"/>
                <a:gd name="T100" fmla="*/ 51881 w 242"/>
                <a:gd name="T101" fmla="*/ 11594798 h 544"/>
                <a:gd name="T102" fmla="*/ 51881 w 242"/>
                <a:gd name="T103" fmla="*/ 13202770 h 544"/>
                <a:gd name="T104" fmla="*/ 51881 w 242"/>
                <a:gd name="T105" fmla="*/ 15671233 h 544"/>
                <a:gd name="T106" fmla="*/ 52804 w 242"/>
                <a:gd name="T107" fmla="*/ 17748040 h 544"/>
                <a:gd name="T108" fmla="*/ 58882 w 242"/>
                <a:gd name="T109" fmla="*/ 19893479 h 544"/>
                <a:gd name="T110" fmla="*/ 59630 w 242"/>
                <a:gd name="T111" fmla="*/ 21609784 h 544"/>
                <a:gd name="T112" fmla="*/ 55228 w 242"/>
                <a:gd name="T113" fmla="*/ 23057035 h 544"/>
                <a:gd name="T114" fmla="*/ 47963 w 242"/>
                <a:gd name="T115" fmla="*/ 23583068 h 544"/>
                <a:gd name="T116" fmla="*/ 41325 w 242"/>
                <a:gd name="T117" fmla="*/ 23708315 h 544"/>
                <a:gd name="T118" fmla="*/ 43421 w 242"/>
                <a:gd name="T119" fmla="*/ 25878772 h 5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2"/>
                <a:gd name="T181" fmla="*/ 0 h 544"/>
                <a:gd name="T182" fmla="*/ 242 w 242"/>
                <a:gd name="T183" fmla="*/ 544 h 5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2" h="544">
                  <a:moveTo>
                    <a:pt x="155" y="346"/>
                  </a:moveTo>
                  <a:lnTo>
                    <a:pt x="135" y="345"/>
                  </a:lnTo>
                  <a:lnTo>
                    <a:pt x="119" y="342"/>
                  </a:lnTo>
                  <a:lnTo>
                    <a:pt x="132" y="366"/>
                  </a:lnTo>
                  <a:lnTo>
                    <a:pt x="136" y="368"/>
                  </a:lnTo>
                  <a:lnTo>
                    <a:pt x="142" y="366"/>
                  </a:lnTo>
                  <a:lnTo>
                    <a:pt x="146" y="364"/>
                  </a:lnTo>
                  <a:lnTo>
                    <a:pt x="151" y="377"/>
                  </a:lnTo>
                  <a:lnTo>
                    <a:pt x="142" y="374"/>
                  </a:lnTo>
                  <a:lnTo>
                    <a:pt x="132" y="374"/>
                  </a:lnTo>
                  <a:lnTo>
                    <a:pt x="142" y="379"/>
                  </a:lnTo>
                  <a:lnTo>
                    <a:pt x="132" y="394"/>
                  </a:lnTo>
                  <a:lnTo>
                    <a:pt x="133" y="409"/>
                  </a:lnTo>
                  <a:lnTo>
                    <a:pt x="132" y="416"/>
                  </a:lnTo>
                  <a:lnTo>
                    <a:pt x="116" y="425"/>
                  </a:lnTo>
                  <a:lnTo>
                    <a:pt x="116" y="441"/>
                  </a:lnTo>
                  <a:lnTo>
                    <a:pt x="138" y="452"/>
                  </a:lnTo>
                  <a:lnTo>
                    <a:pt x="146" y="458"/>
                  </a:lnTo>
                  <a:lnTo>
                    <a:pt x="142" y="465"/>
                  </a:lnTo>
                  <a:lnTo>
                    <a:pt x="146" y="468"/>
                  </a:lnTo>
                  <a:lnTo>
                    <a:pt x="139" y="478"/>
                  </a:lnTo>
                  <a:lnTo>
                    <a:pt x="132" y="490"/>
                  </a:lnTo>
                  <a:lnTo>
                    <a:pt x="130" y="504"/>
                  </a:lnTo>
                  <a:lnTo>
                    <a:pt x="122" y="502"/>
                  </a:lnTo>
                  <a:lnTo>
                    <a:pt x="119" y="503"/>
                  </a:lnTo>
                  <a:lnTo>
                    <a:pt x="126" y="506"/>
                  </a:lnTo>
                  <a:lnTo>
                    <a:pt x="120" y="516"/>
                  </a:lnTo>
                  <a:lnTo>
                    <a:pt x="120" y="520"/>
                  </a:lnTo>
                  <a:lnTo>
                    <a:pt x="127" y="531"/>
                  </a:lnTo>
                  <a:lnTo>
                    <a:pt x="123" y="531"/>
                  </a:lnTo>
                  <a:lnTo>
                    <a:pt x="133" y="535"/>
                  </a:lnTo>
                  <a:lnTo>
                    <a:pt x="142" y="544"/>
                  </a:lnTo>
                  <a:lnTo>
                    <a:pt x="117" y="538"/>
                  </a:lnTo>
                  <a:lnTo>
                    <a:pt x="90" y="535"/>
                  </a:lnTo>
                  <a:lnTo>
                    <a:pt x="82" y="528"/>
                  </a:lnTo>
                  <a:lnTo>
                    <a:pt x="74" y="513"/>
                  </a:lnTo>
                  <a:lnTo>
                    <a:pt x="65" y="515"/>
                  </a:lnTo>
                  <a:lnTo>
                    <a:pt x="50" y="491"/>
                  </a:lnTo>
                  <a:lnTo>
                    <a:pt x="61" y="481"/>
                  </a:lnTo>
                  <a:lnTo>
                    <a:pt x="58" y="456"/>
                  </a:lnTo>
                  <a:lnTo>
                    <a:pt x="55" y="438"/>
                  </a:lnTo>
                  <a:lnTo>
                    <a:pt x="53" y="423"/>
                  </a:lnTo>
                  <a:lnTo>
                    <a:pt x="49" y="416"/>
                  </a:lnTo>
                  <a:lnTo>
                    <a:pt x="43" y="411"/>
                  </a:lnTo>
                  <a:lnTo>
                    <a:pt x="53" y="409"/>
                  </a:lnTo>
                  <a:lnTo>
                    <a:pt x="42" y="401"/>
                  </a:lnTo>
                  <a:lnTo>
                    <a:pt x="34" y="382"/>
                  </a:lnTo>
                  <a:lnTo>
                    <a:pt x="27" y="372"/>
                  </a:lnTo>
                  <a:lnTo>
                    <a:pt x="27" y="359"/>
                  </a:lnTo>
                  <a:lnTo>
                    <a:pt x="21" y="334"/>
                  </a:lnTo>
                  <a:lnTo>
                    <a:pt x="20" y="316"/>
                  </a:lnTo>
                  <a:lnTo>
                    <a:pt x="23" y="304"/>
                  </a:lnTo>
                  <a:lnTo>
                    <a:pt x="20" y="294"/>
                  </a:lnTo>
                  <a:lnTo>
                    <a:pt x="16" y="279"/>
                  </a:lnTo>
                  <a:lnTo>
                    <a:pt x="13" y="265"/>
                  </a:lnTo>
                  <a:lnTo>
                    <a:pt x="20" y="252"/>
                  </a:lnTo>
                  <a:lnTo>
                    <a:pt x="16" y="240"/>
                  </a:lnTo>
                  <a:lnTo>
                    <a:pt x="19" y="217"/>
                  </a:lnTo>
                  <a:lnTo>
                    <a:pt x="14" y="207"/>
                  </a:lnTo>
                  <a:lnTo>
                    <a:pt x="7" y="192"/>
                  </a:lnTo>
                  <a:lnTo>
                    <a:pt x="0" y="178"/>
                  </a:lnTo>
                  <a:lnTo>
                    <a:pt x="0" y="166"/>
                  </a:lnTo>
                  <a:lnTo>
                    <a:pt x="3" y="154"/>
                  </a:lnTo>
                  <a:lnTo>
                    <a:pt x="1" y="141"/>
                  </a:lnTo>
                  <a:lnTo>
                    <a:pt x="1" y="130"/>
                  </a:lnTo>
                  <a:lnTo>
                    <a:pt x="7" y="112"/>
                  </a:lnTo>
                  <a:lnTo>
                    <a:pt x="14" y="96"/>
                  </a:lnTo>
                  <a:lnTo>
                    <a:pt x="19" y="92"/>
                  </a:lnTo>
                  <a:lnTo>
                    <a:pt x="13" y="82"/>
                  </a:lnTo>
                  <a:lnTo>
                    <a:pt x="10" y="57"/>
                  </a:lnTo>
                  <a:lnTo>
                    <a:pt x="13" y="47"/>
                  </a:lnTo>
                  <a:lnTo>
                    <a:pt x="26" y="41"/>
                  </a:lnTo>
                  <a:lnTo>
                    <a:pt x="29" y="22"/>
                  </a:lnTo>
                  <a:lnTo>
                    <a:pt x="26" y="19"/>
                  </a:lnTo>
                  <a:lnTo>
                    <a:pt x="39" y="0"/>
                  </a:lnTo>
                  <a:lnTo>
                    <a:pt x="42" y="3"/>
                  </a:lnTo>
                  <a:lnTo>
                    <a:pt x="61" y="6"/>
                  </a:lnTo>
                  <a:lnTo>
                    <a:pt x="69" y="18"/>
                  </a:lnTo>
                  <a:lnTo>
                    <a:pt x="74" y="8"/>
                  </a:lnTo>
                  <a:lnTo>
                    <a:pt x="93" y="5"/>
                  </a:lnTo>
                  <a:lnTo>
                    <a:pt x="96" y="9"/>
                  </a:lnTo>
                  <a:lnTo>
                    <a:pt x="110" y="24"/>
                  </a:lnTo>
                  <a:lnTo>
                    <a:pt x="126" y="38"/>
                  </a:lnTo>
                  <a:lnTo>
                    <a:pt x="139" y="44"/>
                  </a:lnTo>
                  <a:lnTo>
                    <a:pt x="152" y="50"/>
                  </a:lnTo>
                  <a:lnTo>
                    <a:pt x="165" y="57"/>
                  </a:lnTo>
                  <a:lnTo>
                    <a:pt x="180" y="66"/>
                  </a:lnTo>
                  <a:lnTo>
                    <a:pt x="174" y="83"/>
                  </a:lnTo>
                  <a:lnTo>
                    <a:pt x="168" y="99"/>
                  </a:lnTo>
                  <a:lnTo>
                    <a:pt x="186" y="101"/>
                  </a:lnTo>
                  <a:lnTo>
                    <a:pt x="204" y="102"/>
                  </a:lnTo>
                  <a:lnTo>
                    <a:pt x="215" y="99"/>
                  </a:lnTo>
                  <a:lnTo>
                    <a:pt x="226" y="80"/>
                  </a:lnTo>
                  <a:lnTo>
                    <a:pt x="225" y="69"/>
                  </a:lnTo>
                  <a:lnTo>
                    <a:pt x="235" y="69"/>
                  </a:lnTo>
                  <a:lnTo>
                    <a:pt x="242" y="92"/>
                  </a:lnTo>
                  <a:lnTo>
                    <a:pt x="232" y="101"/>
                  </a:lnTo>
                  <a:lnTo>
                    <a:pt x="223" y="109"/>
                  </a:lnTo>
                  <a:lnTo>
                    <a:pt x="215" y="119"/>
                  </a:lnTo>
                  <a:lnTo>
                    <a:pt x="206" y="130"/>
                  </a:lnTo>
                  <a:lnTo>
                    <a:pt x="199" y="141"/>
                  </a:lnTo>
                  <a:lnTo>
                    <a:pt x="190" y="151"/>
                  </a:lnTo>
                  <a:lnTo>
                    <a:pt x="190" y="153"/>
                  </a:lnTo>
                  <a:lnTo>
                    <a:pt x="190" y="172"/>
                  </a:lnTo>
                  <a:lnTo>
                    <a:pt x="188" y="192"/>
                  </a:lnTo>
                  <a:lnTo>
                    <a:pt x="190" y="204"/>
                  </a:lnTo>
                  <a:lnTo>
                    <a:pt x="187" y="211"/>
                  </a:lnTo>
                  <a:lnTo>
                    <a:pt x="194" y="231"/>
                  </a:lnTo>
                  <a:lnTo>
                    <a:pt x="215" y="246"/>
                  </a:lnTo>
                  <a:lnTo>
                    <a:pt x="216" y="259"/>
                  </a:lnTo>
                  <a:lnTo>
                    <a:pt x="226" y="266"/>
                  </a:lnTo>
                  <a:lnTo>
                    <a:pt x="219" y="281"/>
                  </a:lnTo>
                  <a:lnTo>
                    <a:pt x="213" y="297"/>
                  </a:lnTo>
                  <a:lnTo>
                    <a:pt x="202" y="300"/>
                  </a:lnTo>
                  <a:lnTo>
                    <a:pt x="188" y="302"/>
                  </a:lnTo>
                  <a:lnTo>
                    <a:pt x="175" y="307"/>
                  </a:lnTo>
                  <a:lnTo>
                    <a:pt x="164" y="310"/>
                  </a:lnTo>
                  <a:lnTo>
                    <a:pt x="151" y="308"/>
                  </a:lnTo>
                  <a:lnTo>
                    <a:pt x="155" y="314"/>
                  </a:lnTo>
                  <a:lnTo>
                    <a:pt x="159" y="337"/>
                  </a:lnTo>
                  <a:lnTo>
                    <a:pt x="155" y="34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3" name="Freeform 373">
              <a:extLst>
                <a:ext uri="{FF2B5EF4-FFF2-40B4-BE49-F238E27FC236}">
                  <a16:creationId xmlns:a16="http://schemas.microsoft.com/office/drawing/2014/main" id="{688F14CE-40F2-E974-7F46-6C69EF396C7D}"/>
                </a:ext>
              </a:extLst>
            </p:cNvPr>
            <p:cNvSpPr>
              <a:spLocks/>
            </p:cNvSpPr>
            <p:nvPr/>
          </p:nvSpPr>
          <p:spPr bwMode="auto">
            <a:xfrm>
              <a:off x="2529008" y="5872720"/>
              <a:ext cx="113540" cy="80487"/>
            </a:xfrm>
            <a:custGeom>
              <a:avLst/>
              <a:gdLst>
                <a:gd name="T0" fmla="*/ 742 w 60"/>
                <a:gd name="T1" fmla="*/ 1165200 h 39"/>
                <a:gd name="T2" fmla="*/ 0 w 60"/>
                <a:gd name="T3" fmla="*/ 0 h 39"/>
                <a:gd name="T4" fmla="*/ 1229 w 60"/>
                <a:gd name="T5" fmla="*/ 2506274 h 39"/>
                <a:gd name="T6" fmla="*/ 2852 w 60"/>
                <a:gd name="T7" fmla="*/ 4999546 h 39"/>
                <a:gd name="T8" fmla="*/ 7083 w 60"/>
                <a:gd name="T9" fmla="*/ 4999546 h 39"/>
                <a:gd name="T10" fmla="*/ 10964 w 60"/>
                <a:gd name="T11" fmla="*/ 4999546 h 39"/>
                <a:gd name="T12" fmla="*/ 10310 w 60"/>
                <a:gd name="T13" fmla="*/ 4521561 h 39"/>
                <a:gd name="T14" fmla="*/ 4898 w 60"/>
                <a:gd name="T15" fmla="*/ 3249550 h 39"/>
                <a:gd name="T16" fmla="*/ 742 w 60"/>
                <a:gd name="T17" fmla="*/ 1165200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9"/>
                <a:gd name="T29" fmla="*/ 60 w 60"/>
                <a:gd name="T30" fmla="*/ 39 h 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9">
                  <a:moveTo>
                    <a:pt x="4" y="9"/>
                  </a:moveTo>
                  <a:lnTo>
                    <a:pt x="0" y="0"/>
                  </a:lnTo>
                  <a:lnTo>
                    <a:pt x="7" y="20"/>
                  </a:lnTo>
                  <a:lnTo>
                    <a:pt x="15" y="39"/>
                  </a:lnTo>
                  <a:lnTo>
                    <a:pt x="38" y="39"/>
                  </a:lnTo>
                  <a:lnTo>
                    <a:pt x="60" y="39"/>
                  </a:lnTo>
                  <a:lnTo>
                    <a:pt x="57" y="35"/>
                  </a:lnTo>
                  <a:lnTo>
                    <a:pt x="26" y="25"/>
                  </a:lnTo>
                  <a:lnTo>
                    <a:pt x="4" y="9"/>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4" name="Freeform 374">
              <a:extLst>
                <a:ext uri="{FF2B5EF4-FFF2-40B4-BE49-F238E27FC236}">
                  <a16:creationId xmlns:a16="http://schemas.microsoft.com/office/drawing/2014/main" id="{9A5DB820-8C66-68D4-B69E-FA79D3494051}"/>
                </a:ext>
              </a:extLst>
            </p:cNvPr>
            <p:cNvSpPr>
              <a:spLocks/>
            </p:cNvSpPr>
            <p:nvPr/>
          </p:nvSpPr>
          <p:spPr bwMode="auto">
            <a:xfrm>
              <a:off x="2194785" y="4616823"/>
              <a:ext cx="334224" cy="1301455"/>
            </a:xfrm>
            <a:custGeom>
              <a:avLst/>
              <a:gdLst>
                <a:gd name="T0" fmla="*/ 4843 w 174"/>
                <a:gd name="T1" fmla="*/ 18462557 h 647"/>
                <a:gd name="T2" fmla="*/ 5815 w 174"/>
                <a:gd name="T3" fmla="*/ 21516907 h 647"/>
                <a:gd name="T4" fmla="*/ 4032 w 174"/>
                <a:gd name="T5" fmla="*/ 24982233 h 647"/>
                <a:gd name="T6" fmla="*/ 6055 w 174"/>
                <a:gd name="T7" fmla="*/ 27557935 h 647"/>
                <a:gd name="T8" fmla="*/ 9788 w 174"/>
                <a:gd name="T9" fmla="*/ 31014787 h 647"/>
                <a:gd name="T10" fmla="*/ 13449 w 174"/>
                <a:gd name="T11" fmla="*/ 31014787 h 647"/>
                <a:gd name="T12" fmla="*/ 15608 w 174"/>
                <a:gd name="T13" fmla="*/ 31904129 h 647"/>
                <a:gd name="T14" fmla="*/ 15608 w 174"/>
                <a:gd name="T15" fmla="*/ 32868583 h 647"/>
                <a:gd name="T16" fmla="*/ 18184 w 174"/>
                <a:gd name="T17" fmla="*/ 34709344 h 647"/>
                <a:gd name="T18" fmla="*/ 17465 w 174"/>
                <a:gd name="T19" fmla="*/ 35850115 h 647"/>
                <a:gd name="T20" fmla="*/ 17930 w 174"/>
                <a:gd name="T21" fmla="*/ 36970577 h 647"/>
                <a:gd name="T22" fmla="*/ 16160 w 174"/>
                <a:gd name="T23" fmla="*/ 36970577 h 647"/>
                <a:gd name="T24" fmla="*/ 14122 w 174"/>
                <a:gd name="T25" fmla="*/ 36534615 h 647"/>
                <a:gd name="T26" fmla="*/ 11201 w 174"/>
                <a:gd name="T27" fmla="*/ 37530784 h 647"/>
                <a:gd name="T28" fmla="*/ 18184 w 174"/>
                <a:gd name="T29" fmla="*/ 38154102 h 647"/>
                <a:gd name="T30" fmla="*/ 16154 w 174"/>
                <a:gd name="T31" fmla="*/ 38812852 h 647"/>
                <a:gd name="T32" fmla="*/ 21935 w 174"/>
                <a:gd name="T33" fmla="*/ 39139049 h 647"/>
                <a:gd name="T34" fmla="*/ 17930 w 174"/>
                <a:gd name="T35" fmla="*/ 39274930 h 647"/>
                <a:gd name="T36" fmla="*/ 21935 w 174"/>
                <a:gd name="T37" fmla="*/ 41351538 h 647"/>
                <a:gd name="T38" fmla="*/ 23957 w 174"/>
                <a:gd name="T39" fmla="*/ 42280169 h 647"/>
                <a:gd name="T40" fmla="*/ 27562 w 174"/>
                <a:gd name="T41" fmla="*/ 43294262 h 647"/>
                <a:gd name="T42" fmla="*/ 29396 w 174"/>
                <a:gd name="T43" fmla="*/ 44009995 h 647"/>
                <a:gd name="T44" fmla="*/ 32221 w 174"/>
                <a:gd name="T45" fmla="*/ 45075287 h 647"/>
                <a:gd name="T46" fmla="*/ 34408 w 174"/>
                <a:gd name="T47" fmla="*/ 45733073 h 647"/>
                <a:gd name="T48" fmla="*/ 43668 w 174"/>
                <a:gd name="T49" fmla="*/ 44817455 h 647"/>
                <a:gd name="T50" fmla="*/ 43680 w 174"/>
                <a:gd name="T51" fmla="*/ 44126736 h 647"/>
                <a:gd name="T52" fmla="*/ 31073 w 174"/>
                <a:gd name="T53" fmla="*/ 42328637 h 647"/>
                <a:gd name="T54" fmla="*/ 27509 w 174"/>
                <a:gd name="T55" fmla="*/ 40013498 h 647"/>
                <a:gd name="T56" fmla="*/ 25198 w 174"/>
                <a:gd name="T57" fmla="*/ 35850115 h 647"/>
                <a:gd name="T58" fmla="*/ 25198 w 174"/>
                <a:gd name="T59" fmla="*/ 34880612 h 647"/>
                <a:gd name="T60" fmla="*/ 17465 w 174"/>
                <a:gd name="T61" fmla="*/ 32225139 h 647"/>
                <a:gd name="T62" fmla="*/ 15139 w 174"/>
                <a:gd name="T63" fmla="*/ 28224351 h 647"/>
                <a:gd name="T64" fmla="*/ 14122 w 174"/>
                <a:gd name="T65" fmla="*/ 25562819 h 647"/>
                <a:gd name="T66" fmla="*/ 14122 w 174"/>
                <a:gd name="T67" fmla="*/ 22790185 h 647"/>
                <a:gd name="T68" fmla="*/ 11201 w 174"/>
                <a:gd name="T69" fmla="*/ 19328755 h 647"/>
                <a:gd name="T70" fmla="*/ 10080 w 174"/>
                <a:gd name="T71" fmla="*/ 16562553 h 647"/>
                <a:gd name="T72" fmla="*/ 11201 w 174"/>
                <a:gd name="T73" fmla="*/ 13560505 h 647"/>
                <a:gd name="T74" fmla="*/ 13241 w 174"/>
                <a:gd name="T75" fmla="*/ 11404932 h 647"/>
                <a:gd name="T76" fmla="*/ 16963 w 174"/>
                <a:gd name="T77" fmla="*/ 8440864 h 647"/>
                <a:gd name="T78" fmla="*/ 14122 w 174"/>
                <a:gd name="T79" fmla="*/ 6825846 h 647"/>
                <a:gd name="T80" fmla="*/ 8736 w 174"/>
                <a:gd name="T81" fmla="*/ 3358574 h 647"/>
                <a:gd name="T82" fmla="*/ 4843 w 174"/>
                <a:gd name="T83" fmla="*/ 662483 h 647"/>
                <a:gd name="T84" fmla="*/ 931 w 174"/>
                <a:gd name="T85" fmla="*/ 1124445 h 647"/>
                <a:gd name="T86" fmla="*/ 2327 w 174"/>
                <a:gd name="T87" fmla="*/ 4362320 h 647"/>
                <a:gd name="T88" fmla="*/ 1937 w 174"/>
                <a:gd name="T89" fmla="*/ 7731052 h 647"/>
                <a:gd name="T90" fmla="*/ 2795 w 174"/>
                <a:gd name="T91" fmla="*/ 12600927 h 647"/>
                <a:gd name="T92" fmla="*/ 3355 w 174"/>
                <a:gd name="T93" fmla="*/ 16477470 h 64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4"/>
                <a:gd name="T142" fmla="*/ 0 h 647"/>
                <a:gd name="T143" fmla="*/ 174 w 174"/>
                <a:gd name="T144" fmla="*/ 647 h 64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4" h="647">
                  <a:moveTo>
                    <a:pt x="11" y="230"/>
                  </a:moveTo>
                  <a:lnTo>
                    <a:pt x="14" y="243"/>
                  </a:lnTo>
                  <a:lnTo>
                    <a:pt x="17" y="257"/>
                  </a:lnTo>
                  <a:lnTo>
                    <a:pt x="19" y="271"/>
                  </a:lnTo>
                  <a:lnTo>
                    <a:pt x="21" y="284"/>
                  </a:lnTo>
                  <a:lnTo>
                    <a:pt x="19" y="300"/>
                  </a:lnTo>
                  <a:lnTo>
                    <a:pt x="17" y="316"/>
                  </a:lnTo>
                  <a:lnTo>
                    <a:pt x="16" y="332"/>
                  </a:lnTo>
                  <a:lnTo>
                    <a:pt x="14" y="348"/>
                  </a:lnTo>
                  <a:lnTo>
                    <a:pt x="10" y="353"/>
                  </a:lnTo>
                  <a:lnTo>
                    <a:pt x="16" y="369"/>
                  </a:lnTo>
                  <a:lnTo>
                    <a:pt x="21" y="384"/>
                  </a:lnTo>
                  <a:lnTo>
                    <a:pt x="26" y="401"/>
                  </a:lnTo>
                  <a:lnTo>
                    <a:pt x="23" y="417"/>
                  </a:lnTo>
                  <a:lnTo>
                    <a:pt x="33" y="432"/>
                  </a:lnTo>
                  <a:lnTo>
                    <a:pt x="35" y="435"/>
                  </a:lnTo>
                  <a:lnTo>
                    <a:pt x="40" y="432"/>
                  </a:lnTo>
                  <a:lnTo>
                    <a:pt x="46" y="432"/>
                  </a:lnTo>
                  <a:lnTo>
                    <a:pt x="51" y="430"/>
                  </a:lnTo>
                  <a:lnTo>
                    <a:pt x="48" y="439"/>
                  </a:lnTo>
                  <a:lnTo>
                    <a:pt x="53" y="445"/>
                  </a:lnTo>
                  <a:lnTo>
                    <a:pt x="51" y="442"/>
                  </a:lnTo>
                  <a:lnTo>
                    <a:pt x="52" y="448"/>
                  </a:lnTo>
                  <a:lnTo>
                    <a:pt x="53" y="458"/>
                  </a:lnTo>
                  <a:lnTo>
                    <a:pt x="53" y="470"/>
                  </a:lnTo>
                  <a:lnTo>
                    <a:pt x="55" y="477"/>
                  </a:lnTo>
                  <a:lnTo>
                    <a:pt x="62" y="484"/>
                  </a:lnTo>
                  <a:lnTo>
                    <a:pt x="58" y="496"/>
                  </a:lnTo>
                  <a:lnTo>
                    <a:pt x="64" y="499"/>
                  </a:lnTo>
                  <a:lnTo>
                    <a:pt x="59" y="500"/>
                  </a:lnTo>
                  <a:lnTo>
                    <a:pt x="59" y="504"/>
                  </a:lnTo>
                  <a:lnTo>
                    <a:pt x="61" y="504"/>
                  </a:lnTo>
                  <a:lnTo>
                    <a:pt x="61" y="515"/>
                  </a:lnTo>
                  <a:lnTo>
                    <a:pt x="62" y="513"/>
                  </a:lnTo>
                  <a:lnTo>
                    <a:pt x="58" y="520"/>
                  </a:lnTo>
                  <a:lnTo>
                    <a:pt x="56" y="515"/>
                  </a:lnTo>
                  <a:lnTo>
                    <a:pt x="51" y="515"/>
                  </a:lnTo>
                  <a:lnTo>
                    <a:pt x="52" y="509"/>
                  </a:lnTo>
                  <a:lnTo>
                    <a:pt x="48" y="509"/>
                  </a:lnTo>
                  <a:lnTo>
                    <a:pt x="43" y="510"/>
                  </a:lnTo>
                  <a:lnTo>
                    <a:pt x="36" y="525"/>
                  </a:lnTo>
                  <a:lnTo>
                    <a:pt x="39" y="523"/>
                  </a:lnTo>
                  <a:lnTo>
                    <a:pt x="43" y="520"/>
                  </a:lnTo>
                  <a:lnTo>
                    <a:pt x="52" y="523"/>
                  </a:lnTo>
                  <a:lnTo>
                    <a:pt x="62" y="532"/>
                  </a:lnTo>
                  <a:lnTo>
                    <a:pt x="58" y="535"/>
                  </a:lnTo>
                  <a:lnTo>
                    <a:pt x="62" y="538"/>
                  </a:lnTo>
                  <a:lnTo>
                    <a:pt x="55" y="541"/>
                  </a:lnTo>
                  <a:lnTo>
                    <a:pt x="68" y="541"/>
                  </a:lnTo>
                  <a:lnTo>
                    <a:pt x="69" y="539"/>
                  </a:lnTo>
                  <a:lnTo>
                    <a:pt x="75" y="545"/>
                  </a:lnTo>
                  <a:lnTo>
                    <a:pt x="75" y="549"/>
                  </a:lnTo>
                  <a:lnTo>
                    <a:pt x="65" y="547"/>
                  </a:lnTo>
                  <a:lnTo>
                    <a:pt x="61" y="547"/>
                  </a:lnTo>
                  <a:lnTo>
                    <a:pt x="66" y="557"/>
                  </a:lnTo>
                  <a:lnTo>
                    <a:pt x="74" y="570"/>
                  </a:lnTo>
                  <a:lnTo>
                    <a:pt x="75" y="576"/>
                  </a:lnTo>
                  <a:lnTo>
                    <a:pt x="78" y="581"/>
                  </a:lnTo>
                  <a:lnTo>
                    <a:pt x="75" y="584"/>
                  </a:lnTo>
                  <a:lnTo>
                    <a:pt x="82" y="589"/>
                  </a:lnTo>
                  <a:lnTo>
                    <a:pt x="88" y="596"/>
                  </a:lnTo>
                  <a:lnTo>
                    <a:pt x="87" y="599"/>
                  </a:lnTo>
                  <a:lnTo>
                    <a:pt x="94" y="603"/>
                  </a:lnTo>
                  <a:lnTo>
                    <a:pt x="98" y="608"/>
                  </a:lnTo>
                  <a:lnTo>
                    <a:pt x="94" y="606"/>
                  </a:lnTo>
                  <a:lnTo>
                    <a:pt x="101" y="613"/>
                  </a:lnTo>
                  <a:lnTo>
                    <a:pt x="101" y="618"/>
                  </a:lnTo>
                  <a:lnTo>
                    <a:pt x="109" y="625"/>
                  </a:lnTo>
                  <a:lnTo>
                    <a:pt x="110" y="628"/>
                  </a:lnTo>
                  <a:lnTo>
                    <a:pt x="117" y="632"/>
                  </a:lnTo>
                  <a:lnTo>
                    <a:pt x="120" y="635"/>
                  </a:lnTo>
                  <a:lnTo>
                    <a:pt x="117" y="637"/>
                  </a:lnTo>
                  <a:lnTo>
                    <a:pt x="126" y="638"/>
                  </a:lnTo>
                  <a:lnTo>
                    <a:pt x="146" y="647"/>
                  </a:lnTo>
                  <a:lnTo>
                    <a:pt x="148" y="625"/>
                  </a:lnTo>
                  <a:lnTo>
                    <a:pt x="159" y="619"/>
                  </a:lnTo>
                  <a:lnTo>
                    <a:pt x="174" y="621"/>
                  </a:lnTo>
                  <a:lnTo>
                    <a:pt x="149" y="615"/>
                  </a:lnTo>
                  <a:lnTo>
                    <a:pt x="122" y="612"/>
                  </a:lnTo>
                  <a:lnTo>
                    <a:pt x="114" y="605"/>
                  </a:lnTo>
                  <a:lnTo>
                    <a:pt x="106" y="590"/>
                  </a:lnTo>
                  <a:lnTo>
                    <a:pt x="97" y="592"/>
                  </a:lnTo>
                  <a:lnTo>
                    <a:pt x="82" y="568"/>
                  </a:lnTo>
                  <a:lnTo>
                    <a:pt x="93" y="558"/>
                  </a:lnTo>
                  <a:lnTo>
                    <a:pt x="90" y="533"/>
                  </a:lnTo>
                  <a:lnTo>
                    <a:pt x="87" y="515"/>
                  </a:lnTo>
                  <a:lnTo>
                    <a:pt x="85" y="500"/>
                  </a:lnTo>
                  <a:lnTo>
                    <a:pt x="81" y="493"/>
                  </a:lnTo>
                  <a:lnTo>
                    <a:pt x="75" y="488"/>
                  </a:lnTo>
                  <a:lnTo>
                    <a:pt x="85" y="486"/>
                  </a:lnTo>
                  <a:lnTo>
                    <a:pt x="74" y="478"/>
                  </a:lnTo>
                  <a:lnTo>
                    <a:pt x="66" y="459"/>
                  </a:lnTo>
                  <a:lnTo>
                    <a:pt x="59" y="449"/>
                  </a:lnTo>
                  <a:lnTo>
                    <a:pt x="59" y="436"/>
                  </a:lnTo>
                  <a:lnTo>
                    <a:pt x="53" y="411"/>
                  </a:lnTo>
                  <a:lnTo>
                    <a:pt x="52" y="393"/>
                  </a:lnTo>
                  <a:lnTo>
                    <a:pt x="55" y="381"/>
                  </a:lnTo>
                  <a:lnTo>
                    <a:pt x="52" y="371"/>
                  </a:lnTo>
                  <a:lnTo>
                    <a:pt x="48" y="356"/>
                  </a:lnTo>
                  <a:lnTo>
                    <a:pt x="45" y="342"/>
                  </a:lnTo>
                  <a:lnTo>
                    <a:pt x="52" y="329"/>
                  </a:lnTo>
                  <a:lnTo>
                    <a:pt x="48" y="317"/>
                  </a:lnTo>
                  <a:lnTo>
                    <a:pt x="51" y="294"/>
                  </a:lnTo>
                  <a:lnTo>
                    <a:pt x="46" y="284"/>
                  </a:lnTo>
                  <a:lnTo>
                    <a:pt x="39" y="269"/>
                  </a:lnTo>
                  <a:lnTo>
                    <a:pt x="32" y="255"/>
                  </a:lnTo>
                  <a:lnTo>
                    <a:pt x="32" y="243"/>
                  </a:lnTo>
                  <a:lnTo>
                    <a:pt x="35" y="231"/>
                  </a:lnTo>
                  <a:lnTo>
                    <a:pt x="33" y="218"/>
                  </a:lnTo>
                  <a:lnTo>
                    <a:pt x="33" y="207"/>
                  </a:lnTo>
                  <a:lnTo>
                    <a:pt x="39" y="189"/>
                  </a:lnTo>
                  <a:lnTo>
                    <a:pt x="46" y="173"/>
                  </a:lnTo>
                  <a:lnTo>
                    <a:pt x="51" y="169"/>
                  </a:lnTo>
                  <a:lnTo>
                    <a:pt x="45" y="159"/>
                  </a:lnTo>
                  <a:lnTo>
                    <a:pt x="42" y="134"/>
                  </a:lnTo>
                  <a:lnTo>
                    <a:pt x="45" y="124"/>
                  </a:lnTo>
                  <a:lnTo>
                    <a:pt x="58" y="118"/>
                  </a:lnTo>
                  <a:lnTo>
                    <a:pt x="61" y="99"/>
                  </a:lnTo>
                  <a:lnTo>
                    <a:pt x="58" y="96"/>
                  </a:lnTo>
                  <a:lnTo>
                    <a:pt x="48" y="95"/>
                  </a:lnTo>
                  <a:lnTo>
                    <a:pt x="40" y="79"/>
                  </a:lnTo>
                  <a:lnTo>
                    <a:pt x="33" y="63"/>
                  </a:lnTo>
                  <a:lnTo>
                    <a:pt x="30" y="47"/>
                  </a:lnTo>
                  <a:lnTo>
                    <a:pt x="30" y="34"/>
                  </a:lnTo>
                  <a:lnTo>
                    <a:pt x="21" y="21"/>
                  </a:lnTo>
                  <a:lnTo>
                    <a:pt x="17" y="9"/>
                  </a:lnTo>
                  <a:lnTo>
                    <a:pt x="13" y="0"/>
                  </a:lnTo>
                  <a:lnTo>
                    <a:pt x="8" y="8"/>
                  </a:lnTo>
                  <a:lnTo>
                    <a:pt x="3" y="15"/>
                  </a:lnTo>
                  <a:lnTo>
                    <a:pt x="0" y="16"/>
                  </a:lnTo>
                  <a:lnTo>
                    <a:pt x="4" y="38"/>
                  </a:lnTo>
                  <a:lnTo>
                    <a:pt x="8" y="61"/>
                  </a:lnTo>
                  <a:lnTo>
                    <a:pt x="8" y="82"/>
                  </a:lnTo>
                  <a:lnTo>
                    <a:pt x="8" y="101"/>
                  </a:lnTo>
                  <a:lnTo>
                    <a:pt x="7" y="108"/>
                  </a:lnTo>
                  <a:lnTo>
                    <a:pt x="10" y="131"/>
                  </a:lnTo>
                  <a:lnTo>
                    <a:pt x="10" y="150"/>
                  </a:lnTo>
                  <a:lnTo>
                    <a:pt x="10" y="176"/>
                  </a:lnTo>
                  <a:lnTo>
                    <a:pt x="10" y="201"/>
                  </a:lnTo>
                  <a:lnTo>
                    <a:pt x="11" y="212"/>
                  </a:lnTo>
                  <a:lnTo>
                    <a:pt x="11" y="23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5" name="Freeform 375">
              <a:extLst>
                <a:ext uri="{FF2B5EF4-FFF2-40B4-BE49-F238E27FC236}">
                  <a16:creationId xmlns:a16="http://schemas.microsoft.com/office/drawing/2014/main" id="{317006F0-2AB0-59A8-DA9D-8C29B0122F0C}"/>
                </a:ext>
              </a:extLst>
            </p:cNvPr>
            <p:cNvSpPr>
              <a:spLocks/>
            </p:cNvSpPr>
            <p:nvPr/>
          </p:nvSpPr>
          <p:spPr bwMode="auto">
            <a:xfrm>
              <a:off x="2468240" y="5871202"/>
              <a:ext cx="89553" cy="82005"/>
            </a:xfrm>
            <a:custGeom>
              <a:avLst/>
              <a:gdLst>
                <a:gd name="T0" fmla="*/ 13841 w 46"/>
                <a:gd name="T1" fmla="*/ 1 h 40"/>
                <a:gd name="T2" fmla="*/ 16850 w 46"/>
                <a:gd name="T3" fmla="*/ 2044108 h 40"/>
                <a:gd name="T4" fmla="*/ 20513 w 46"/>
                <a:gd name="T5" fmla="*/ 4035625 h 40"/>
                <a:gd name="T6" fmla="*/ 18285 w 46"/>
                <a:gd name="T7" fmla="*/ 3944870 h 40"/>
                <a:gd name="T8" fmla="*/ 15661 w 46"/>
                <a:gd name="T9" fmla="*/ 4035625 h 40"/>
                <a:gd name="T10" fmla="*/ 8126 w 46"/>
                <a:gd name="T11" fmla="*/ 3730737 h 40"/>
                <a:gd name="T12" fmla="*/ 6346 w 46"/>
                <a:gd name="T13" fmla="*/ 3730737 h 40"/>
                <a:gd name="T14" fmla="*/ 0 w 46"/>
                <a:gd name="T15" fmla="*/ 3589060 h 40"/>
                <a:gd name="T16" fmla="*/ 1417 w 46"/>
                <a:gd name="T17" fmla="*/ 3371282 h 40"/>
                <a:gd name="T18" fmla="*/ 5483 w 46"/>
                <a:gd name="T19" fmla="*/ 3202482 h 40"/>
                <a:gd name="T20" fmla="*/ 6838 w 46"/>
                <a:gd name="T21" fmla="*/ 3371282 h 40"/>
                <a:gd name="T22" fmla="*/ 9406 w 46"/>
                <a:gd name="T23" fmla="*/ 3371282 h 40"/>
                <a:gd name="T24" fmla="*/ 5483 w 46"/>
                <a:gd name="T25" fmla="*/ 2963956 h 40"/>
                <a:gd name="T26" fmla="*/ 9893 w 46"/>
                <a:gd name="T27" fmla="*/ 3202482 h 40"/>
                <a:gd name="T28" fmla="*/ 12044 w 46"/>
                <a:gd name="T29" fmla="*/ 3202482 h 40"/>
                <a:gd name="T30" fmla="*/ 15661 w 46"/>
                <a:gd name="T31" fmla="*/ 3383755 h 40"/>
                <a:gd name="T32" fmla="*/ 16681 w 46"/>
                <a:gd name="T33" fmla="*/ 3383755 h 40"/>
                <a:gd name="T34" fmla="*/ 8325 w 46"/>
                <a:gd name="T35" fmla="*/ 2435167 h 40"/>
                <a:gd name="T36" fmla="*/ 12044 w 46"/>
                <a:gd name="T37" fmla="*/ 1603464 h 40"/>
                <a:gd name="T38" fmla="*/ 6675 w 46"/>
                <a:gd name="T39" fmla="*/ 1603464 h 40"/>
                <a:gd name="T40" fmla="*/ 4614 w 46"/>
                <a:gd name="T41" fmla="*/ 210508 h 40"/>
                <a:gd name="T42" fmla="*/ 6838 w 46"/>
                <a:gd name="T43" fmla="*/ 0 h 40"/>
                <a:gd name="T44" fmla="*/ 13841 w 46"/>
                <a:gd name="T45" fmla="*/ 1 h 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6"/>
                <a:gd name="T70" fmla="*/ 0 h 40"/>
                <a:gd name="T71" fmla="*/ 46 w 46"/>
                <a:gd name="T72" fmla="*/ 40 h 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6" h="40">
                  <a:moveTo>
                    <a:pt x="31" y="1"/>
                  </a:moveTo>
                  <a:lnTo>
                    <a:pt x="38" y="21"/>
                  </a:lnTo>
                  <a:lnTo>
                    <a:pt x="46" y="40"/>
                  </a:lnTo>
                  <a:lnTo>
                    <a:pt x="41" y="39"/>
                  </a:lnTo>
                  <a:lnTo>
                    <a:pt x="35" y="40"/>
                  </a:lnTo>
                  <a:lnTo>
                    <a:pt x="18" y="37"/>
                  </a:lnTo>
                  <a:lnTo>
                    <a:pt x="14" y="37"/>
                  </a:lnTo>
                  <a:lnTo>
                    <a:pt x="0" y="36"/>
                  </a:lnTo>
                  <a:lnTo>
                    <a:pt x="3" y="33"/>
                  </a:lnTo>
                  <a:lnTo>
                    <a:pt x="12" y="32"/>
                  </a:lnTo>
                  <a:lnTo>
                    <a:pt x="16" y="33"/>
                  </a:lnTo>
                  <a:lnTo>
                    <a:pt x="21" y="33"/>
                  </a:lnTo>
                  <a:lnTo>
                    <a:pt x="12" y="30"/>
                  </a:lnTo>
                  <a:lnTo>
                    <a:pt x="22" y="32"/>
                  </a:lnTo>
                  <a:lnTo>
                    <a:pt x="27" y="32"/>
                  </a:lnTo>
                  <a:lnTo>
                    <a:pt x="35" y="34"/>
                  </a:lnTo>
                  <a:lnTo>
                    <a:pt x="37" y="34"/>
                  </a:lnTo>
                  <a:lnTo>
                    <a:pt x="19" y="24"/>
                  </a:lnTo>
                  <a:lnTo>
                    <a:pt x="27" y="16"/>
                  </a:lnTo>
                  <a:lnTo>
                    <a:pt x="15" y="16"/>
                  </a:lnTo>
                  <a:lnTo>
                    <a:pt x="11" y="2"/>
                  </a:lnTo>
                  <a:lnTo>
                    <a:pt x="16" y="0"/>
                  </a:lnTo>
                  <a:lnTo>
                    <a:pt x="31" y="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6" name="Freeform 376">
              <a:extLst>
                <a:ext uri="{FF2B5EF4-FFF2-40B4-BE49-F238E27FC236}">
                  <a16:creationId xmlns:a16="http://schemas.microsoft.com/office/drawing/2014/main" id="{A37B1D30-D53E-F0A5-89EE-F6B4166B6761}"/>
                </a:ext>
              </a:extLst>
            </p:cNvPr>
            <p:cNvSpPr>
              <a:spLocks/>
            </p:cNvSpPr>
            <p:nvPr/>
          </p:nvSpPr>
          <p:spPr bwMode="auto">
            <a:xfrm>
              <a:off x="2249156" y="5494584"/>
              <a:ext cx="20789" cy="51633"/>
            </a:xfrm>
            <a:custGeom>
              <a:avLst/>
              <a:gdLst>
                <a:gd name="T0" fmla="*/ 693 w 11"/>
                <a:gd name="T1" fmla="*/ 0 h 26"/>
                <a:gd name="T2" fmla="*/ 0 w 11"/>
                <a:gd name="T3" fmla="*/ 181708 h 26"/>
                <a:gd name="T4" fmla="*/ 968 w 11"/>
                <a:gd name="T5" fmla="*/ 1461077 h 26"/>
                <a:gd name="T6" fmla="*/ 1889 w 11"/>
                <a:gd name="T7" fmla="*/ 1428442 h 26"/>
                <a:gd name="T8" fmla="*/ 1889 w 11"/>
                <a:gd name="T9" fmla="*/ 1108843 h 26"/>
                <a:gd name="T10" fmla="*/ 1352 w 11"/>
                <a:gd name="T11" fmla="*/ 523671 h 26"/>
                <a:gd name="T12" fmla="*/ 1889 w 11"/>
                <a:gd name="T13" fmla="*/ 384756 h 26"/>
                <a:gd name="T14" fmla="*/ 693 w 11"/>
                <a:gd name="T15" fmla="*/ 0 h 2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26"/>
                <a:gd name="T26" fmla="*/ 11 w 11"/>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26">
                  <a:moveTo>
                    <a:pt x="4" y="0"/>
                  </a:moveTo>
                  <a:lnTo>
                    <a:pt x="0" y="3"/>
                  </a:lnTo>
                  <a:lnTo>
                    <a:pt x="6" y="26"/>
                  </a:lnTo>
                  <a:lnTo>
                    <a:pt x="11" y="25"/>
                  </a:lnTo>
                  <a:lnTo>
                    <a:pt x="11" y="20"/>
                  </a:lnTo>
                  <a:lnTo>
                    <a:pt x="8" y="9"/>
                  </a:lnTo>
                  <a:lnTo>
                    <a:pt x="11" y="7"/>
                  </a:lnTo>
                  <a:lnTo>
                    <a:pt x="4"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7" name="Freeform 377">
              <a:extLst>
                <a:ext uri="{FF2B5EF4-FFF2-40B4-BE49-F238E27FC236}">
                  <a16:creationId xmlns:a16="http://schemas.microsoft.com/office/drawing/2014/main" id="{DBC8AE7F-0592-050C-9B9A-5C2CB3D52A68}"/>
                </a:ext>
              </a:extLst>
            </p:cNvPr>
            <p:cNvSpPr>
              <a:spLocks/>
            </p:cNvSpPr>
            <p:nvPr/>
          </p:nvSpPr>
          <p:spPr bwMode="auto">
            <a:xfrm>
              <a:off x="2300328" y="5742118"/>
              <a:ext cx="30383" cy="44041"/>
            </a:xfrm>
            <a:custGeom>
              <a:avLst/>
              <a:gdLst>
                <a:gd name="T0" fmla="*/ 11971 w 15"/>
                <a:gd name="T1" fmla="*/ 0 h 21"/>
                <a:gd name="T2" fmla="*/ 0 w 15"/>
                <a:gd name="T3" fmla="*/ 1172483 h 21"/>
                <a:gd name="T4" fmla="*/ 11971 w 15"/>
                <a:gd name="T5" fmla="*/ 3315450 h 21"/>
                <a:gd name="T6" fmla="*/ 19206 w 15"/>
                <a:gd name="T7" fmla="*/ 3690016 h 21"/>
                <a:gd name="T8" fmla="*/ 22510 w 15"/>
                <a:gd name="T9" fmla="*/ 2499689 h 21"/>
                <a:gd name="T10" fmla="*/ 11971 w 15"/>
                <a:gd name="T11" fmla="*/ 0 h 21"/>
                <a:gd name="T12" fmla="*/ 0 60000 65536"/>
                <a:gd name="T13" fmla="*/ 0 60000 65536"/>
                <a:gd name="T14" fmla="*/ 0 60000 65536"/>
                <a:gd name="T15" fmla="*/ 0 60000 65536"/>
                <a:gd name="T16" fmla="*/ 0 60000 65536"/>
                <a:gd name="T17" fmla="*/ 0 60000 65536"/>
                <a:gd name="T18" fmla="*/ 0 w 15"/>
                <a:gd name="T19" fmla="*/ 0 h 21"/>
                <a:gd name="T20" fmla="*/ 15 w 15"/>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5" h="21">
                  <a:moveTo>
                    <a:pt x="8" y="0"/>
                  </a:moveTo>
                  <a:lnTo>
                    <a:pt x="0" y="7"/>
                  </a:lnTo>
                  <a:lnTo>
                    <a:pt x="8" y="19"/>
                  </a:lnTo>
                  <a:lnTo>
                    <a:pt x="13" y="21"/>
                  </a:lnTo>
                  <a:lnTo>
                    <a:pt x="15" y="14"/>
                  </a:lnTo>
                  <a:lnTo>
                    <a:pt x="8"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8" name="Freeform 378">
              <a:extLst>
                <a:ext uri="{FF2B5EF4-FFF2-40B4-BE49-F238E27FC236}">
                  <a16:creationId xmlns:a16="http://schemas.microsoft.com/office/drawing/2014/main" id="{64A94E36-8333-3327-CBF6-E692682D580F}"/>
                </a:ext>
              </a:extLst>
            </p:cNvPr>
            <p:cNvSpPr>
              <a:spLocks/>
            </p:cNvSpPr>
            <p:nvPr/>
          </p:nvSpPr>
          <p:spPr bwMode="auto">
            <a:xfrm>
              <a:off x="1842969" y="3931926"/>
              <a:ext cx="172710" cy="235386"/>
            </a:xfrm>
            <a:custGeom>
              <a:avLst/>
              <a:gdLst>
                <a:gd name="T0" fmla="*/ 0 w 90"/>
                <a:gd name="T1" fmla="*/ 3458256 h 117"/>
                <a:gd name="T2" fmla="*/ 1 w 90"/>
                <a:gd name="T3" fmla="*/ 4768440 h 117"/>
                <a:gd name="T4" fmla="*/ 0 w 90"/>
                <a:gd name="T5" fmla="*/ 5130249 h 117"/>
                <a:gd name="T6" fmla="*/ 3224 w 90"/>
                <a:gd name="T7" fmla="*/ 5446773 h 117"/>
                <a:gd name="T8" fmla="*/ 3973 w 90"/>
                <a:gd name="T9" fmla="*/ 5130249 h 117"/>
                <a:gd name="T10" fmla="*/ 4643 w 90"/>
                <a:gd name="T11" fmla="*/ 5446773 h 117"/>
                <a:gd name="T12" fmla="*/ 4643 w 90"/>
                <a:gd name="T13" fmla="*/ 6283419 h 117"/>
                <a:gd name="T14" fmla="*/ 2759 w 90"/>
                <a:gd name="T15" fmla="*/ 6526023 h 117"/>
                <a:gd name="T16" fmla="*/ 3224 w 90"/>
                <a:gd name="T17" fmla="*/ 7267871 h 117"/>
                <a:gd name="T18" fmla="*/ 1916 w 90"/>
                <a:gd name="T19" fmla="*/ 7821007 h 117"/>
                <a:gd name="T20" fmla="*/ 3869 w 90"/>
                <a:gd name="T21" fmla="*/ 7664902 h 117"/>
                <a:gd name="T22" fmla="*/ 8509 w 90"/>
                <a:gd name="T23" fmla="*/ 8687737 h 117"/>
                <a:gd name="T24" fmla="*/ 9628 w 90"/>
                <a:gd name="T25" fmla="*/ 8100208 h 117"/>
                <a:gd name="T26" fmla="*/ 10211 w 90"/>
                <a:gd name="T27" fmla="*/ 7583107 h 117"/>
                <a:gd name="T28" fmla="*/ 11550 w 90"/>
                <a:gd name="T29" fmla="*/ 7024940 h 117"/>
                <a:gd name="T30" fmla="*/ 12253 w 90"/>
                <a:gd name="T31" fmla="*/ 6283419 h 117"/>
                <a:gd name="T32" fmla="*/ 12960 w 90"/>
                <a:gd name="T33" fmla="*/ 6283419 h 117"/>
                <a:gd name="T34" fmla="*/ 12960 w 90"/>
                <a:gd name="T35" fmla="*/ 6526023 h 117"/>
                <a:gd name="T36" fmla="*/ 13860 w 90"/>
                <a:gd name="T37" fmla="*/ 6526023 h 117"/>
                <a:gd name="T38" fmla="*/ 13046 w 90"/>
                <a:gd name="T39" fmla="*/ 6283419 h 117"/>
                <a:gd name="T40" fmla="*/ 13865 w 90"/>
                <a:gd name="T41" fmla="*/ 5942384 h 117"/>
                <a:gd name="T42" fmla="*/ 16638 w 90"/>
                <a:gd name="T43" fmla="*/ 5641216 h 117"/>
                <a:gd name="T44" fmla="*/ 21826 w 90"/>
                <a:gd name="T45" fmla="*/ 4768440 h 117"/>
                <a:gd name="T46" fmla="*/ 24760 w 90"/>
                <a:gd name="T47" fmla="*/ 3237955 h 117"/>
                <a:gd name="T48" fmla="*/ 25721 w 90"/>
                <a:gd name="T49" fmla="*/ 3237955 h 117"/>
                <a:gd name="T50" fmla="*/ 23950 w 90"/>
                <a:gd name="T51" fmla="*/ 2153269 h 117"/>
                <a:gd name="T52" fmla="*/ 24924 w 90"/>
                <a:gd name="T53" fmla="*/ 2057785 h 117"/>
                <a:gd name="T54" fmla="*/ 19966 w 90"/>
                <a:gd name="T55" fmla="*/ 1397871 h 117"/>
                <a:gd name="T56" fmla="*/ 15655 w 90"/>
                <a:gd name="T57" fmla="*/ 1397871 h 117"/>
                <a:gd name="T58" fmla="*/ 13046 w 90"/>
                <a:gd name="T59" fmla="*/ 813511 h 117"/>
                <a:gd name="T60" fmla="*/ 9625 w 90"/>
                <a:gd name="T61" fmla="*/ 0 h 117"/>
                <a:gd name="T62" fmla="*/ 7550 w 90"/>
                <a:gd name="T63" fmla="*/ 566552 h 117"/>
                <a:gd name="T64" fmla="*/ 3869 w 90"/>
                <a:gd name="T65" fmla="*/ 1150868 h 117"/>
                <a:gd name="T66" fmla="*/ 2299 w 90"/>
                <a:gd name="T67" fmla="*/ 2153269 h 117"/>
                <a:gd name="T68" fmla="*/ 1916 w 90"/>
                <a:gd name="T69" fmla="*/ 2838860 h 117"/>
                <a:gd name="T70" fmla="*/ 0 w 90"/>
                <a:gd name="T71" fmla="*/ 3458256 h 1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
                <a:gd name="T109" fmla="*/ 0 h 117"/>
                <a:gd name="T110" fmla="*/ 90 w 90"/>
                <a:gd name="T111" fmla="*/ 117 h 1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 h="117">
                  <a:moveTo>
                    <a:pt x="0" y="47"/>
                  </a:moveTo>
                  <a:lnTo>
                    <a:pt x="1" y="64"/>
                  </a:lnTo>
                  <a:lnTo>
                    <a:pt x="0" y="69"/>
                  </a:lnTo>
                  <a:lnTo>
                    <a:pt x="11" y="73"/>
                  </a:lnTo>
                  <a:lnTo>
                    <a:pt x="14" y="69"/>
                  </a:lnTo>
                  <a:lnTo>
                    <a:pt x="16" y="73"/>
                  </a:lnTo>
                  <a:lnTo>
                    <a:pt x="16" y="85"/>
                  </a:lnTo>
                  <a:lnTo>
                    <a:pt x="10" y="88"/>
                  </a:lnTo>
                  <a:lnTo>
                    <a:pt x="11" y="98"/>
                  </a:lnTo>
                  <a:lnTo>
                    <a:pt x="7" y="105"/>
                  </a:lnTo>
                  <a:lnTo>
                    <a:pt x="13" y="103"/>
                  </a:lnTo>
                  <a:lnTo>
                    <a:pt x="30" y="117"/>
                  </a:lnTo>
                  <a:lnTo>
                    <a:pt x="34" y="109"/>
                  </a:lnTo>
                  <a:lnTo>
                    <a:pt x="36" y="102"/>
                  </a:lnTo>
                  <a:lnTo>
                    <a:pt x="40" y="95"/>
                  </a:lnTo>
                  <a:lnTo>
                    <a:pt x="43" y="85"/>
                  </a:lnTo>
                  <a:lnTo>
                    <a:pt x="45" y="85"/>
                  </a:lnTo>
                  <a:lnTo>
                    <a:pt x="45" y="88"/>
                  </a:lnTo>
                  <a:lnTo>
                    <a:pt x="48" y="88"/>
                  </a:lnTo>
                  <a:lnTo>
                    <a:pt x="46" y="85"/>
                  </a:lnTo>
                  <a:lnTo>
                    <a:pt x="49" y="80"/>
                  </a:lnTo>
                  <a:lnTo>
                    <a:pt x="59" y="76"/>
                  </a:lnTo>
                  <a:lnTo>
                    <a:pt x="77" y="64"/>
                  </a:lnTo>
                  <a:lnTo>
                    <a:pt x="87" y="44"/>
                  </a:lnTo>
                  <a:lnTo>
                    <a:pt x="90" y="44"/>
                  </a:lnTo>
                  <a:lnTo>
                    <a:pt x="84" y="29"/>
                  </a:lnTo>
                  <a:lnTo>
                    <a:pt x="88" y="28"/>
                  </a:lnTo>
                  <a:lnTo>
                    <a:pt x="71" y="19"/>
                  </a:lnTo>
                  <a:lnTo>
                    <a:pt x="55" y="19"/>
                  </a:lnTo>
                  <a:lnTo>
                    <a:pt x="46" y="11"/>
                  </a:lnTo>
                  <a:lnTo>
                    <a:pt x="33" y="0"/>
                  </a:lnTo>
                  <a:lnTo>
                    <a:pt x="27" y="8"/>
                  </a:lnTo>
                  <a:lnTo>
                    <a:pt x="13" y="15"/>
                  </a:lnTo>
                  <a:lnTo>
                    <a:pt x="8" y="29"/>
                  </a:lnTo>
                  <a:lnTo>
                    <a:pt x="7" y="38"/>
                  </a:lnTo>
                  <a:lnTo>
                    <a:pt x="0" y="4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19" name="Freeform 379">
              <a:extLst>
                <a:ext uri="{FF2B5EF4-FFF2-40B4-BE49-F238E27FC236}">
                  <a16:creationId xmlns:a16="http://schemas.microsoft.com/office/drawing/2014/main" id="{B68F8359-5036-E24F-8C59-3FE079979006}"/>
                </a:ext>
              </a:extLst>
            </p:cNvPr>
            <p:cNvSpPr>
              <a:spLocks/>
            </p:cNvSpPr>
            <p:nvPr/>
          </p:nvSpPr>
          <p:spPr bwMode="auto">
            <a:xfrm>
              <a:off x="1865357" y="4085306"/>
              <a:ext cx="7996" cy="6074"/>
            </a:xfrm>
            <a:custGeom>
              <a:avLst/>
              <a:gdLst>
                <a:gd name="T0" fmla="*/ 5 w 5"/>
                <a:gd name="T1" fmla="*/ 0 h 3"/>
                <a:gd name="T2" fmla="*/ 2 w 5"/>
                <a:gd name="T3" fmla="*/ 20671 h 3"/>
                <a:gd name="T4" fmla="*/ 0 w 5"/>
                <a:gd name="T5" fmla="*/ 0 h 3"/>
                <a:gd name="T6" fmla="*/ 5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5" y="0"/>
                  </a:moveTo>
                  <a:lnTo>
                    <a:pt x="2" y="3"/>
                  </a:lnTo>
                  <a:lnTo>
                    <a:pt x="0" y="0"/>
                  </a:lnTo>
                  <a:lnTo>
                    <a:pt x="5"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0" name="Freeform 380">
              <a:extLst>
                <a:ext uri="{FF2B5EF4-FFF2-40B4-BE49-F238E27FC236}">
                  <a16:creationId xmlns:a16="http://schemas.microsoft.com/office/drawing/2014/main" id="{C908E5D1-8D41-CE55-0DCD-B3678C02EDEE}"/>
                </a:ext>
              </a:extLst>
            </p:cNvPr>
            <p:cNvSpPr>
              <a:spLocks/>
            </p:cNvSpPr>
            <p:nvPr/>
          </p:nvSpPr>
          <p:spPr bwMode="auto">
            <a:xfrm>
              <a:off x="1830176" y="3985078"/>
              <a:ext cx="402989" cy="663635"/>
            </a:xfrm>
            <a:custGeom>
              <a:avLst/>
              <a:gdLst>
                <a:gd name="T0" fmla="*/ 66788 w 209"/>
                <a:gd name="T1" fmla="*/ 20071841 h 329"/>
                <a:gd name="T2" fmla="*/ 66996 w 209"/>
                <a:gd name="T3" fmla="*/ 22427248 h 329"/>
                <a:gd name="T4" fmla="*/ 66788 w 209"/>
                <a:gd name="T5" fmla="*/ 23630364 h 329"/>
                <a:gd name="T6" fmla="*/ 65067 w 209"/>
                <a:gd name="T7" fmla="*/ 24760451 h 329"/>
                <a:gd name="T8" fmla="*/ 62523 w 209"/>
                <a:gd name="T9" fmla="*/ 25406514 h 329"/>
                <a:gd name="T10" fmla="*/ 56367 w 209"/>
                <a:gd name="T11" fmla="*/ 24148455 h 329"/>
                <a:gd name="T12" fmla="*/ 47720 w 209"/>
                <a:gd name="T13" fmla="*/ 22865548 h 329"/>
                <a:gd name="T14" fmla="*/ 38546 w 209"/>
                <a:gd name="T15" fmla="*/ 21605338 h 329"/>
                <a:gd name="T16" fmla="*/ 29770 w 209"/>
                <a:gd name="T17" fmla="*/ 19612839 h 329"/>
                <a:gd name="T18" fmla="*/ 26491 w 209"/>
                <a:gd name="T19" fmla="*/ 17335907 h 329"/>
                <a:gd name="T20" fmla="*/ 20261 w 209"/>
                <a:gd name="T21" fmla="*/ 14853902 h 329"/>
                <a:gd name="T22" fmla="*/ 15788 w 209"/>
                <a:gd name="T23" fmla="*/ 12883658 h 329"/>
                <a:gd name="T24" fmla="*/ 11559 w 209"/>
                <a:gd name="T25" fmla="*/ 10786504 h 329"/>
                <a:gd name="T26" fmla="*/ 5259 w 209"/>
                <a:gd name="T27" fmla="*/ 9196321 h 329"/>
                <a:gd name="T28" fmla="*/ 1780 w 209"/>
                <a:gd name="T29" fmla="*/ 8074561 h 329"/>
                <a:gd name="T30" fmla="*/ 3001 w 209"/>
                <a:gd name="T31" fmla="*/ 5478153 h 329"/>
                <a:gd name="T32" fmla="*/ 5469 w 209"/>
                <a:gd name="T33" fmla="*/ 5478153 h 329"/>
                <a:gd name="T34" fmla="*/ 6341 w 209"/>
                <a:gd name="T35" fmla="*/ 5866729 h 329"/>
                <a:gd name="T36" fmla="*/ 13094 w 209"/>
                <a:gd name="T37" fmla="*/ 6349518 h 329"/>
                <a:gd name="T38" fmla="*/ 15113 w 209"/>
                <a:gd name="T39" fmla="*/ 5277230 h 329"/>
                <a:gd name="T40" fmla="*/ 16804 w 209"/>
                <a:gd name="T41" fmla="*/ 4449222 h 329"/>
                <a:gd name="T42" fmla="*/ 17636 w 209"/>
                <a:gd name="T43" fmla="*/ 4750665 h 329"/>
                <a:gd name="T44" fmla="*/ 18222 w 209"/>
                <a:gd name="T45" fmla="*/ 4080664 h 329"/>
                <a:gd name="T46" fmla="*/ 27644 w 209"/>
                <a:gd name="T47" fmla="*/ 2838349 h 329"/>
                <a:gd name="T48" fmla="*/ 31941 w 209"/>
                <a:gd name="T49" fmla="*/ 1314598 h 329"/>
                <a:gd name="T50" fmla="*/ 30914 w 209"/>
                <a:gd name="T51" fmla="*/ 1 h 329"/>
                <a:gd name="T52" fmla="*/ 34157 w 209"/>
                <a:gd name="T53" fmla="*/ 753431 h 329"/>
                <a:gd name="T54" fmla="*/ 41185 w 209"/>
                <a:gd name="T55" fmla="*/ 2418327 h 329"/>
                <a:gd name="T56" fmla="*/ 48632 w 209"/>
                <a:gd name="T57" fmla="*/ 3094703 h 329"/>
                <a:gd name="T58" fmla="*/ 58429 w 209"/>
                <a:gd name="T59" fmla="*/ 3557368 h 329"/>
                <a:gd name="T60" fmla="*/ 59378 w 209"/>
                <a:gd name="T61" fmla="*/ 5795598 h 329"/>
                <a:gd name="T62" fmla="*/ 53154 w 209"/>
                <a:gd name="T63" fmla="*/ 5997840 h 329"/>
                <a:gd name="T64" fmla="*/ 44943 w 209"/>
                <a:gd name="T65" fmla="*/ 6894351 h 329"/>
                <a:gd name="T66" fmla="*/ 42312 w 209"/>
                <a:gd name="T67" fmla="*/ 9043144 h 329"/>
                <a:gd name="T68" fmla="*/ 41648 w 209"/>
                <a:gd name="T69" fmla="*/ 11280218 h 329"/>
                <a:gd name="T70" fmla="*/ 43877 w 209"/>
                <a:gd name="T71" fmla="*/ 12883658 h 329"/>
                <a:gd name="T72" fmla="*/ 48632 w 209"/>
                <a:gd name="T73" fmla="*/ 13517357 h 329"/>
                <a:gd name="T74" fmla="*/ 57425 w 209"/>
                <a:gd name="T75" fmla="*/ 13221458 h 329"/>
                <a:gd name="T76" fmla="*/ 57538 w 209"/>
                <a:gd name="T77" fmla="*/ 15198108 h 329"/>
                <a:gd name="T78" fmla="*/ 65573 w 209"/>
                <a:gd name="T79" fmla="*/ 16217453 h 329"/>
                <a:gd name="T80" fmla="*/ 67569 w 209"/>
                <a:gd name="T81" fmla="*/ 17635279 h 3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9"/>
                <a:gd name="T124" fmla="*/ 0 h 329"/>
                <a:gd name="T125" fmla="*/ 209 w 209"/>
                <a:gd name="T126" fmla="*/ 329 h 3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9" h="329">
                  <a:moveTo>
                    <a:pt x="205" y="251"/>
                  </a:moveTo>
                  <a:lnTo>
                    <a:pt x="202" y="260"/>
                  </a:lnTo>
                  <a:lnTo>
                    <a:pt x="202" y="274"/>
                  </a:lnTo>
                  <a:lnTo>
                    <a:pt x="203" y="290"/>
                  </a:lnTo>
                  <a:lnTo>
                    <a:pt x="209" y="292"/>
                  </a:lnTo>
                  <a:lnTo>
                    <a:pt x="202" y="306"/>
                  </a:lnTo>
                  <a:lnTo>
                    <a:pt x="202" y="313"/>
                  </a:lnTo>
                  <a:lnTo>
                    <a:pt x="197" y="321"/>
                  </a:lnTo>
                  <a:lnTo>
                    <a:pt x="192" y="328"/>
                  </a:lnTo>
                  <a:lnTo>
                    <a:pt x="189" y="329"/>
                  </a:lnTo>
                  <a:lnTo>
                    <a:pt x="178" y="321"/>
                  </a:lnTo>
                  <a:lnTo>
                    <a:pt x="171" y="312"/>
                  </a:lnTo>
                  <a:lnTo>
                    <a:pt x="158" y="303"/>
                  </a:lnTo>
                  <a:lnTo>
                    <a:pt x="144" y="296"/>
                  </a:lnTo>
                  <a:lnTo>
                    <a:pt x="131" y="289"/>
                  </a:lnTo>
                  <a:lnTo>
                    <a:pt x="117" y="280"/>
                  </a:lnTo>
                  <a:lnTo>
                    <a:pt x="103" y="267"/>
                  </a:lnTo>
                  <a:lnTo>
                    <a:pt x="90" y="254"/>
                  </a:lnTo>
                  <a:lnTo>
                    <a:pt x="90" y="244"/>
                  </a:lnTo>
                  <a:lnTo>
                    <a:pt x="80" y="225"/>
                  </a:lnTo>
                  <a:lnTo>
                    <a:pt x="68" y="204"/>
                  </a:lnTo>
                  <a:lnTo>
                    <a:pt x="61" y="193"/>
                  </a:lnTo>
                  <a:lnTo>
                    <a:pt x="54" y="180"/>
                  </a:lnTo>
                  <a:lnTo>
                    <a:pt x="48" y="167"/>
                  </a:lnTo>
                  <a:lnTo>
                    <a:pt x="40" y="153"/>
                  </a:lnTo>
                  <a:lnTo>
                    <a:pt x="35" y="140"/>
                  </a:lnTo>
                  <a:lnTo>
                    <a:pt x="27" y="127"/>
                  </a:lnTo>
                  <a:lnTo>
                    <a:pt x="16" y="119"/>
                  </a:lnTo>
                  <a:lnTo>
                    <a:pt x="4" y="110"/>
                  </a:lnTo>
                  <a:lnTo>
                    <a:pt x="6" y="104"/>
                  </a:lnTo>
                  <a:lnTo>
                    <a:pt x="0" y="81"/>
                  </a:lnTo>
                  <a:lnTo>
                    <a:pt x="9" y="71"/>
                  </a:lnTo>
                  <a:lnTo>
                    <a:pt x="16" y="61"/>
                  </a:lnTo>
                  <a:lnTo>
                    <a:pt x="17" y="71"/>
                  </a:lnTo>
                  <a:lnTo>
                    <a:pt x="13" y="78"/>
                  </a:lnTo>
                  <a:lnTo>
                    <a:pt x="19" y="76"/>
                  </a:lnTo>
                  <a:lnTo>
                    <a:pt x="36" y="90"/>
                  </a:lnTo>
                  <a:lnTo>
                    <a:pt x="40" y="82"/>
                  </a:lnTo>
                  <a:lnTo>
                    <a:pt x="42" y="75"/>
                  </a:lnTo>
                  <a:lnTo>
                    <a:pt x="46" y="68"/>
                  </a:lnTo>
                  <a:lnTo>
                    <a:pt x="49" y="58"/>
                  </a:lnTo>
                  <a:lnTo>
                    <a:pt x="51" y="58"/>
                  </a:lnTo>
                  <a:lnTo>
                    <a:pt x="51" y="61"/>
                  </a:lnTo>
                  <a:lnTo>
                    <a:pt x="54" y="61"/>
                  </a:lnTo>
                  <a:lnTo>
                    <a:pt x="52" y="58"/>
                  </a:lnTo>
                  <a:lnTo>
                    <a:pt x="55" y="53"/>
                  </a:lnTo>
                  <a:lnTo>
                    <a:pt x="65" y="49"/>
                  </a:lnTo>
                  <a:lnTo>
                    <a:pt x="83" y="37"/>
                  </a:lnTo>
                  <a:lnTo>
                    <a:pt x="93" y="17"/>
                  </a:lnTo>
                  <a:lnTo>
                    <a:pt x="96" y="17"/>
                  </a:lnTo>
                  <a:lnTo>
                    <a:pt x="90" y="2"/>
                  </a:lnTo>
                  <a:lnTo>
                    <a:pt x="94" y="1"/>
                  </a:lnTo>
                  <a:lnTo>
                    <a:pt x="96" y="0"/>
                  </a:lnTo>
                  <a:lnTo>
                    <a:pt x="104" y="10"/>
                  </a:lnTo>
                  <a:lnTo>
                    <a:pt x="113" y="18"/>
                  </a:lnTo>
                  <a:lnTo>
                    <a:pt x="125" y="31"/>
                  </a:lnTo>
                  <a:lnTo>
                    <a:pt x="129" y="40"/>
                  </a:lnTo>
                  <a:lnTo>
                    <a:pt x="148" y="40"/>
                  </a:lnTo>
                  <a:lnTo>
                    <a:pt x="160" y="42"/>
                  </a:lnTo>
                  <a:lnTo>
                    <a:pt x="176" y="46"/>
                  </a:lnTo>
                  <a:lnTo>
                    <a:pt x="170" y="68"/>
                  </a:lnTo>
                  <a:lnTo>
                    <a:pt x="180" y="75"/>
                  </a:lnTo>
                  <a:lnTo>
                    <a:pt x="174" y="75"/>
                  </a:lnTo>
                  <a:lnTo>
                    <a:pt x="161" y="78"/>
                  </a:lnTo>
                  <a:lnTo>
                    <a:pt x="148" y="84"/>
                  </a:lnTo>
                  <a:lnTo>
                    <a:pt x="136" y="90"/>
                  </a:lnTo>
                  <a:lnTo>
                    <a:pt x="132" y="104"/>
                  </a:lnTo>
                  <a:lnTo>
                    <a:pt x="128" y="117"/>
                  </a:lnTo>
                  <a:lnTo>
                    <a:pt x="119" y="132"/>
                  </a:lnTo>
                  <a:lnTo>
                    <a:pt x="126" y="146"/>
                  </a:lnTo>
                  <a:lnTo>
                    <a:pt x="133" y="159"/>
                  </a:lnTo>
                  <a:lnTo>
                    <a:pt x="133" y="167"/>
                  </a:lnTo>
                  <a:lnTo>
                    <a:pt x="139" y="168"/>
                  </a:lnTo>
                  <a:lnTo>
                    <a:pt x="148" y="175"/>
                  </a:lnTo>
                  <a:lnTo>
                    <a:pt x="161" y="180"/>
                  </a:lnTo>
                  <a:lnTo>
                    <a:pt x="173" y="171"/>
                  </a:lnTo>
                  <a:lnTo>
                    <a:pt x="173" y="184"/>
                  </a:lnTo>
                  <a:lnTo>
                    <a:pt x="174" y="197"/>
                  </a:lnTo>
                  <a:lnTo>
                    <a:pt x="192" y="196"/>
                  </a:lnTo>
                  <a:lnTo>
                    <a:pt x="199" y="210"/>
                  </a:lnTo>
                  <a:lnTo>
                    <a:pt x="208" y="223"/>
                  </a:lnTo>
                  <a:lnTo>
                    <a:pt x="205" y="228"/>
                  </a:lnTo>
                  <a:lnTo>
                    <a:pt x="205" y="25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1" name="Freeform 381">
              <a:extLst>
                <a:ext uri="{FF2B5EF4-FFF2-40B4-BE49-F238E27FC236}">
                  <a16:creationId xmlns:a16="http://schemas.microsoft.com/office/drawing/2014/main" id="{51B29575-32F3-29D9-3BBC-9BB2B7E49384}"/>
                </a:ext>
              </a:extLst>
            </p:cNvPr>
            <p:cNvSpPr>
              <a:spLocks/>
            </p:cNvSpPr>
            <p:nvPr/>
          </p:nvSpPr>
          <p:spPr bwMode="auto">
            <a:xfrm>
              <a:off x="4033818" y="2464941"/>
              <a:ext cx="91152" cy="185271"/>
            </a:xfrm>
            <a:custGeom>
              <a:avLst/>
              <a:gdLst>
                <a:gd name="T0" fmla="*/ 8001 w 47"/>
                <a:gd name="T1" fmla="*/ 0 h 91"/>
                <a:gd name="T2" fmla="*/ 5146 w 47"/>
                <a:gd name="T3" fmla="*/ 212295 h 91"/>
                <a:gd name="T4" fmla="*/ 5146 w 47"/>
                <a:gd name="T5" fmla="*/ 2238536 h 91"/>
                <a:gd name="T6" fmla="*/ 3414 w 47"/>
                <a:gd name="T7" fmla="*/ 3559727 h 91"/>
                <a:gd name="T8" fmla="*/ 2 w 47"/>
                <a:gd name="T9" fmla="*/ 4944833 h 91"/>
                <a:gd name="T10" fmla="*/ 0 w 47"/>
                <a:gd name="T11" fmla="*/ 6083903 h 91"/>
                <a:gd name="T12" fmla="*/ 2815 w 47"/>
                <a:gd name="T13" fmla="*/ 6530780 h 91"/>
                <a:gd name="T14" fmla="*/ 4140 w 47"/>
                <a:gd name="T15" fmla="*/ 6530780 h 91"/>
                <a:gd name="T16" fmla="*/ 3414 w 47"/>
                <a:gd name="T17" fmla="*/ 9237963 h 91"/>
                <a:gd name="T18" fmla="*/ 11194 w 47"/>
                <a:gd name="T19" fmla="*/ 9009415 h 91"/>
                <a:gd name="T20" fmla="*/ 11194 w 47"/>
                <a:gd name="T21" fmla="*/ 8410628 h 91"/>
                <a:gd name="T22" fmla="*/ 13501 w 47"/>
                <a:gd name="T23" fmla="*/ 7304898 h 91"/>
                <a:gd name="T24" fmla="*/ 13173 w 47"/>
                <a:gd name="T25" fmla="*/ 6832216 h 91"/>
                <a:gd name="T26" fmla="*/ 13501 w 47"/>
                <a:gd name="T27" fmla="*/ 5798237 h 91"/>
                <a:gd name="T28" fmla="*/ 11194 w 47"/>
                <a:gd name="T29" fmla="*/ 4502282 h 91"/>
                <a:gd name="T30" fmla="*/ 13501 w 47"/>
                <a:gd name="T31" fmla="*/ 4366815 h 91"/>
                <a:gd name="T32" fmla="*/ 15976 w 47"/>
                <a:gd name="T33" fmla="*/ 2139772 h 91"/>
                <a:gd name="T34" fmla="*/ 18678 w 47"/>
                <a:gd name="T35" fmla="*/ 1188975 h 91"/>
                <a:gd name="T36" fmla="*/ 17888 w 47"/>
                <a:gd name="T37" fmla="*/ 307944 h 91"/>
                <a:gd name="T38" fmla="*/ 10471 w 47"/>
                <a:gd name="T39" fmla="*/ 307944 h 91"/>
                <a:gd name="T40" fmla="*/ 8001 w 47"/>
                <a:gd name="T41" fmla="*/ 0 h 9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
                <a:gd name="T64" fmla="*/ 0 h 91"/>
                <a:gd name="T65" fmla="*/ 47 w 47"/>
                <a:gd name="T66" fmla="*/ 91 h 9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 h="91">
                  <a:moveTo>
                    <a:pt x="21" y="0"/>
                  </a:moveTo>
                  <a:lnTo>
                    <a:pt x="13" y="2"/>
                  </a:lnTo>
                  <a:lnTo>
                    <a:pt x="13" y="22"/>
                  </a:lnTo>
                  <a:lnTo>
                    <a:pt x="8" y="35"/>
                  </a:lnTo>
                  <a:lnTo>
                    <a:pt x="2" y="48"/>
                  </a:lnTo>
                  <a:lnTo>
                    <a:pt x="0" y="60"/>
                  </a:lnTo>
                  <a:lnTo>
                    <a:pt x="7" y="64"/>
                  </a:lnTo>
                  <a:lnTo>
                    <a:pt x="10" y="64"/>
                  </a:lnTo>
                  <a:lnTo>
                    <a:pt x="8" y="91"/>
                  </a:lnTo>
                  <a:lnTo>
                    <a:pt x="29" y="88"/>
                  </a:lnTo>
                  <a:lnTo>
                    <a:pt x="29" y="83"/>
                  </a:lnTo>
                  <a:lnTo>
                    <a:pt x="34" y="72"/>
                  </a:lnTo>
                  <a:lnTo>
                    <a:pt x="33" y="67"/>
                  </a:lnTo>
                  <a:lnTo>
                    <a:pt x="34" y="57"/>
                  </a:lnTo>
                  <a:lnTo>
                    <a:pt x="29" y="44"/>
                  </a:lnTo>
                  <a:lnTo>
                    <a:pt x="34" y="43"/>
                  </a:lnTo>
                  <a:lnTo>
                    <a:pt x="40" y="21"/>
                  </a:lnTo>
                  <a:lnTo>
                    <a:pt x="47" y="12"/>
                  </a:lnTo>
                  <a:lnTo>
                    <a:pt x="45" y="3"/>
                  </a:lnTo>
                  <a:lnTo>
                    <a:pt x="26" y="3"/>
                  </a:lnTo>
                  <a:lnTo>
                    <a:pt x="21"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2" name="Freeform 382">
              <a:extLst>
                <a:ext uri="{FF2B5EF4-FFF2-40B4-BE49-F238E27FC236}">
                  <a16:creationId xmlns:a16="http://schemas.microsoft.com/office/drawing/2014/main" id="{4FAC38E2-6D3B-49E2-8D42-601039DBFDFF}"/>
                </a:ext>
              </a:extLst>
            </p:cNvPr>
            <p:cNvSpPr>
              <a:spLocks/>
            </p:cNvSpPr>
            <p:nvPr/>
          </p:nvSpPr>
          <p:spPr bwMode="auto">
            <a:xfrm>
              <a:off x="4049810" y="2408752"/>
              <a:ext cx="339022" cy="273352"/>
            </a:xfrm>
            <a:custGeom>
              <a:avLst/>
              <a:gdLst>
                <a:gd name="T0" fmla="*/ 9869 w 177"/>
                <a:gd name="T1" fmla="*/ 2283266 h 136"/>
                <a:gd name="T2" fmla="*/ 4796 w 177"/>
                <a:gd name="T3" fmla="*/ 2283266 h 136"/>
                <a:gd name="T4" fmla="*/ 3788 w 177"/>
                <a:gd name="T5" fmla="*/ 2059505 h 136"/>
                <a:gd name="T6" fmla="*/ 1284 w 177"/>
                <a:gd name="T7" fmla="*/ 2166008 h 136"/>
                <a:gd name="T8" fmla="*/ 1284 w 177"/>
                <a:gd name="T9" fmla="*/ 1935971 h 136"/>
                <a:gd name="T10" fmla="*/ 895 w 177"/>
                <a:gd name="T11" fmla="*/ 1592432 h 136"/>
                <a:gd name="T12" fmla="*/ 895 w 177"/>
                <a:gd name="T13" fmla="*/ 1506921 h 136"/>
                <a:gd name="T14" fmla="*/ 0 w 177"/>
                <a:gd name="T15" fmla="*/ 1129186 h 136"/>
                <a:gd name="T16" fmla="*/ 0 w 177"/>
                <a:gd name="T17" fmla="*/ 656768 h 136"/>
                <a:gd name="T18" fmla="*/ 6509 w 177"/>
                <a:gd name="T19" fmla="*/ 0 h 136"/>
                <a:gd name="T20" fmla="*/ 11184 w 177"/>
                <a:gd name="T21" fmla="*/ 155392 h 136"/>
                <a:gd name="T22" fmla="*/ 15082 w 177"/>
                <a:gd name="T23" fmla="*/ 222805 h 136"/>
                <a:gd name="T24" fmla="*/ 19648 w 177"/>
                <a:gd name="T25" fmla="*/ 222805 h 136"/>
                <a:gd name="T26" fmla="*/ 23847 w 177"/>
                <a:gd name="T27" fmla="*/ 339848 h 136"/>
                <a:gd name="T28" fmla="*/ 28474 w 177"/>
                <a:gd name="T29" fmla="*/ 458054 h 136"/>
                <a:gd name="T30" fmla="*/ 30733 w 177"/>
                <a:gd name="T31" fmla="*/ 787535 h 136"/>
                <a:gd name="T32" fmla="*/ 40976 w 177"/>
                <a:gd name="T33" fmla="*/ 1350216 h 136"/>
                <a:gd name="T34" fmla="*/ 40976 w 177"/>
                <a:gd name="T35" fmla="*/ 1506921 h 136"/>
                <a:gd name="T36" fmla="*/ 41877 w 177"/>
                <a:gd name="T37" fmla="*/ 1592432 h 136"/>
                <a:gd name="T38" fmla="*/ 47481 w 177"/>
                <a:gd name="T39" fmla="*/ 1592432 h 136"/>
                <a:gd name="T40" fmla="*/ 47373 w 177"/>
                <a:gd name="T41" fmla="*/ 2484571 h 136"/>
                <a:gd name="T42" fmla="*/ 42732 w 177"/>
                <a:gd name="T43" fmla="*/ 3105673 h 136"/>
                <a:gd name="T44" fmla="*/ 38492 w 177"/>
                <a:gd name="T45" fmla="*/ 3640942 h 136"/>
                <a:gd name="T46" fmla="*/ 35838 w 177"/>
                <a:gd name="T47" fmla="*/ 4561221 h 136"/>
                <a:gd name="T48" fmla="*/ 34104 w 177"/>
                <a:gd name="T49" fmla="*/ 5463108 h 136"/>
                <a:gd name="T50" fmla="*/ 35361 w 177"/>
                <a:gd name="T51" fmla="*/ 6428301 h 136"/>
                <a:gd name="T52" fmla="*/ 32137 w 177"/>
                <a:gd name="T53" fmla="*/ 7485224 h 136"/>
                <a:gd name="T54" fmla="*/ 31038 w 177"/>
                <a:gd name="T55" fmla="*/ 7727826 h 136"/>
                <a:gd name="T56" fmla="*/ 28339 w 177"/>
                <a:gd name="T57" fmla="*/ 8327950 h 136"/>
                <a:gd name="T58" fmla="*/ 26251 w 177"/>
                <a:gd name="T59" fmla="*/ 8831337 h 136"/>
                <a:gd name="T60" fmla="*/ 21503 w 177"/>
                <a:gd name="T61" fmla="*/ 8870297 h 136"/>
                <a:gd name="T62" fmla="*/ 16956 w 177"/>
                <a:gd name="T63" fmla="*/ 9017424 h 136"/>
                <a:gd name="T64" fmla="*/ 13696 w 177"/>
                <a:gd name="T65" fmla="*/ 9650256 h 136"/>
                <a:gd name="T66" fmla="*/ 11184 w 177"/>
                <a:gd name="T67" fmla="*/ 9490752 h 136"/>
                <a:gd name="T68" fmla="*/ 10410 w 177"/>
                <a:gd name="T69" fmla="*/ 8568259 h 136"/>
                <a:gd name="T70" fmla="*/ 6880 w 177"/>
                <a:gd name="T71" fmla="*/ 8327950 h 136"/>
                <a:gd name="T72" fmla="*/ 5631 w 177"/>
                <a:gd name="T73" fmla="*/ 8327950 h 136"/>
                <a:gd name="T74" fmla="*/ 5631 w 177"/>
                <a:gd name="T75" fmla="*/ 7975104 h 136"/>
                <a:gd name="T76" fmla="*/ 6880 w 177"/>
                <a:gd name="T77" fmla="*/ 7163594 h 136"/>
                <a:gd name="T78" fmla="*/ 6744 w 177"/>
                <a:gd name="T79" fmla="*/ 6842951 h 136"/>
                <a:gd name="T80" fmla="*/ 6880 w 177"/>
                <a:gd name="T81" fmla="*/ 6070855 h 136"/>
                <a:gd name="T82" fmla="*/ 5631 w 177"/>
                <a:gd name="T83" fmla="*/ 5220467 h 136"/>
                <a:gd name="T84" fmla="*/ 6880 w 177"/>
                <a:gd name="T85" fmla="*/ 5107901 h 136"/>
                <a:gd name="T86" fmla="*/ 8691 w 177"/>
                <a:gd name="T87" fmla="*/ 3562435 h 136"/>
                <a:gd name="T88" fmla="*/ 10448 w 177"/>
                <a:gd name="T89" fmla="*/ 2941507 h 136"/>
                <a:gd name="T90" fmla="*/ 9869 w 177"/>
                <a:gd name="T91" fmla="*/ 2283266 h 1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7"/>
                <a:gd name="T139" fmla="*/ 0 h 136"/>
                <a:gd name="T140" fmla="*/ 177 w 177"/>
                <a:gd name="T141" fmla="*/ 136 h 1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7" h="136">
                  <a:moveTo>
                    <a:pt x="37" y="32"/>
                  </a:moveTo>
                  <a:lnTo>
                    <a:pt x="18" y="32"/>
                  </a:lnTo>
                  <a:lnTo>
                    <a:pt x="13" y="29"/>
                  </a:lnTo>
                  <a:lnTo>
                    <a:pt x="5" y="31"/>
                  </a:lnTo>
                  <a:lnTo>
                    <a:pt x="5" y="27"/>
                  </a:lnTo>
                  <a:lnTo>
                    <a:pt x="3" y="22"/>
                  </a:lnTo>
                  <a:lnTo>
                    <a:pt x="3" y="21"/>
                  </a:lnTo>
                  <a:lnTo>
                    <a:pt x="0" y="16"/>
                  </a:lnTo>
                  <a:lnTo>
                    <a:pt x="0" y="9"/>
                  </a:lnTo>
                  <a:lnTo>
                    <a:pt x="23" y="0"/>
                  </a:lnTo>
                  <a:lnTo>
                    <a:pt x="41" y="2"/>
                  </a:lnTo>
                  <a:lnTo>
                    <a:pt x="57" y="3"/>
                  </a:lnTo>
                  <a:lnTo>
                    <a:pt x="73" y="3"/>
                  </a:lnTo>
                  <a:lnTo>
                    <a:pt x="89" y="5"/>
                  </a:lnTo>
                  <a:lnTo>
                    <a:pt x="106" y="6"/>
                  </a:lnTo>
                  <a:lnTo>
                    <a:pt x="114" y="11"/>
                  </a:lnTo>
                  <a:lnTo>
                    <a:pt x="153" y="19"/>
                  </a:lnTo>
                  <a:lnTo>
                    <a:pt x="153" y="21"/>
                  </a:lnTo>
                  <a:lnTo>
                    <a:pt x="156" y="22"/>
                  </a:lnTo>
                  <a:lnTo>
                    <a:pt x="177" y="22"/>
                  </a:lnTo>
                  <a:lnTo>
                    <a:pt x="175" y="35"/>
                  </a:lnTo>
                  <a:lnTo>
                    <a:pt x="159" y="44"/>
                  </a:lnTo>
                  <a:lnTo>
                    <a:pt x="143" y="51"/>
                  </a:lnTo>
                  <a:lnTo>
                    <a:pt x="134" y="64"/>
                  </a:lnTo>
                  <a:lnTo>
                    <a:pt x="127" y="77"/>
                  </a:lnTo>
                  <a:lnTo>
                    <a:pt x="132" y="91"/>
                  </a:lnTo>
                  <a:lnTo>
                    <a:pt x="119" y="105"/>
                  </a:lnTo>
                  <a:lnTo>
                    <a:pt x="116" y="109"/>
                  </a:lnTo>
                  <a:lnTo>
                    <a:pt x="105" y="117"/>
                  </a:lnTo>
                  <a:lnTo>
                    <a:pt x="98" y="124"/>
                  </a:lnTo>
                  <a:lnTo>
                    <a:pt x="80" y="125"/>
                  </a:lnTo>
                  <a:lnTo>
                    <a:pt x="63" y="127"/>
                  </a:lnTo>
                  <a:lnTo>
                    <a:pt x="51" y="136"/>
                  </a:lnTo>
                  <a:lnTo>
                    <a:pt x="41" y="134"/>
                  </a:lnTo>
                  <a:lnTo>
                    <a:pt x="38" y="121"/>
                  </a:lnTo>
                  <a:lnTo>
                    <a:pt x="26" y="117"/>
                  </a:lnTo>
                  <a:lnTo>
                    <a:pt x="21" y="117"/>
                  </a:lnTo>
                  <a:lnTo>
                    <a:pt x="21" y="112"/>
                  </a:lnTo>
                  <a:lnTo>
                    <a:pt x="26" y="101"/>
                  </a:lnTo>
                  <a:lnTo>
                    <a:pt x="25" y="96"/>
                  </a:lnTo>
                  <a:lnTo>
                    <a:pt x="26" y="86"/>
                  </a:lnTo>
                  <a:lnTo>
                    <a:pt x="21" y="73"/>
                  </a:lnTo>
                  <a:lnTo>
                    <a:pt x="26" y="72"/>
                  </a:lnTo>
                  <a:lnTo>
                    <a:pt x="32" y="50"/>
                  </a:lnTo>
                  <a:lnTo>
                    <a:pt x="39" y="41"/>
                  </a:lnTo>
                  <a:lnTo>
                    <a:pt x="37" y="3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3" name="Freeform 383">
              <a:extLst>
                <a:ext uri="{FF2B5EF4-FFF2-40B4-BE49-F238E27FC236}">
                  <a16:creationId xmlns:a16="http://schemas.microsoft.com/office/drawing/2014/main" id="{8F174B68-5A57-580D-5A15-8049DABF4BFE}"/>
                </a:ext>
              </a:extLst>
            </p:cNvPr>
            <p:cNvSpPr>
              <a:spLocks/>
            </p:cNvSpPr>
            <p:nvPr/>
          </p:nvSpPr>
          <p:spPr bwMode="auto">
            <a:xfrm>
              <a:off x="4371240" y="2546946"/>
              <a:ext cx="28785" cy="15186"/>
            </a:xfrm>
            <a:custGeom>
              <a:avLst/>
              <a:gdLst>
                <a:gd name="T0" fmla="*/ 4231 w 15"/>
                <a:gd name="T1" fmla="*/ 60816 h 8"/>
                <a:gd name="T2" fmla="*/ 2299 w 15"/>
                <a:gd name="T3" fmla="*/ 158097 h 8"/>
                <a:gd name="T4" fmla="*/ 0 w 15"/>
                <a:gd name="T5" fmla="*/ 60816 h 8"/>
                <a:gd name="T6" fmla="*/ 2759 w 15"/>
                <a:gd name="T7" fmla="*/ 0 h 8"/>
                <a:gd name="T8" fmla="*/ 4231 w 15"/>
                <a:gd name="T9" fmla="*/ 60816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15" y="3"/>
                  </a:moveTo>
                  <a:lnTo>
                    <a:pt x="8" y="8"/>
                  </a:lnTo>
                  <a:lnTo>
                    <a:pt x="0" y="3"/>
                  </a:lnTo>
                  <a:lnTo>
                    <a:pt x="10" y="0"/>
                  </a:lnTo>
                  <a:lnTo>
                    <a:pt x="15"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4" name="Freeform 384">
              <a:extLst>
                <a:ext uri="{FF2B5EF4-FFF2-40B4-BE49-F238E27FC236}">
                  <a16:creationId xmlns:a16="http://schemas.microsoft.com/office/drawing/2014/main" id="{5156B402-087B-3765-0AE9-B9CC02953E05}"/>
                </a:ext>
              </a:extLst>
            </p:cNvPr>
            <p:cNvSpPr>
              <a:spLocks/>
            </p:cNvSpPr>
            <p:nvPr/>
          </p:nvSpPr>
          <p:spPr bwMode="auto">
            <a:xfrm>
              <a:off x="800317" y="2237329"/>
              <a:ext cx="1658329" cy="865613"/>
            </a:xfrm>
            <a:custGeom>
              <a:avLst/>
              <a:gdLst>
                <a:gd name="T0" fmla="*/ 253297 w 863"/>
                <a:gd name="T1" fmla="*/ 2656760 h 430"/>
                <a:gd name="T2" fmla="*/ 240155 w 863"/>
                <a:gd name="T3" fmla="*/ 5020512 h 430"/>
                <a:gd name="T4" fmla="*/ 212199 w 863"/>
                <a:gd name="T5" fmla="*/ 7243282 h 430"/>
                <a:gd name="T6" fmla="*/ 192751 w 863"/>
                <a:gd name="T7" fmla="*/ 9068247 h 430"/>
                <a:gd name="T8" fmla="*/ 189496 w 863"/>
                <a:gd name="T9" fmla="*/ 7243282 h 430"/>
                <a:gd name="T10" fmla="*/ 186821 w 863"/>
                <a:gd name="T11" fmla="*/ 4060549 h 430"/>
                <a:gd name="T12" fmla="*/ 172332 w 863"/>
                <a:gd name="T13" fmla="*/ 1374468 h 430"/>
                <a:gd name="T14" fmla="*/ 148633 w 863"/>
                <a:gd name="T15" fmla="*/ 713604 h 430"/>
                <a:gd name="T16" fmla="*/ 125816 w 863"/>
                <a:gd name="T17" fmla="*/ 346596 h 430"/>
                <a:gd name="T18" fmla="*/ 90528 w 863"/>
                <a:gd name="T19" fmla="*/ 346596 h 430"/>
                <a:gd name="T20" fmla="*/ 55276 w 863"/>
                <a:gd name="T21" fmla="*/ 346596 h 430"/>
                <a:gd name="T22" fmla="*/ 30486 w 863"/>
                <a:gd name="T23" fmla="*/ 2533132 h 430"/>
                <a:gd name="T24" fmla="*/ 27742 w 863"/>
                <a:gd name="T25" fmla="*/ 2364958 h 430"/>
                <a:gd name="T26" fmla="*/ 22079 w 863"/>
                <a:gd name="T27" fmla="*/ 2829880 h 430"/>
                <a:gd name="T28" fmla="*/ 19381 w 863"/>
                <a:gd name="T29" fmla="*/ 3830701 h 430"/>
                <a:gd name="T30" fmla="*/ 7669 w 863"/>
                <a:gd name="T31" fmla="*/ 8022545 h 430"/>
                <a:gd name="T32" fmla="*/ 0 w 863"/>
                <a:gd name="T33" fmla="*/ 12727053 h 430"/>
                <a:gd name="T34" fmla="*/ 2800 w 863"/>
                <a:gd name="T35" fmla="*/ 14534111 h 430"/>
                <a:gd name="T36" fmla="*/ 2800 w 863"/>
                <a:gd name="T37" fmla="*/ 15909475 h 430"/>
                <a:gd name="T38" fmla="*/ 4931 w 863"/>
                <a:gd name="T39" fmla="*/ 19081922 h 430"/>
                <a:gd name="T40" fmla="*/ 24809 w 863"/>
                <a:gd name="T41" fmla="*/ 21533759 h 430"/>
                <a:gd name="T42" fmla="*/ 45849 w 863"/>
                <a:gd name="T43" fmla="*/ 23187410 h 430"/>
                <a:gd name="T44" fmla="*/ 65987 w 863"/>
                <a:gd name="T45" fmla="*/ 25227808 h 430"/>
                <a:gd name="T46" fmla="*/ 82824 w 863"/>
                <a:gd name="T47" fmla="*/ 26686936 h 430"/>
                <a:gd name="T48" fmla="*/ 94529 w 863"/>
                <a:gd name="T49" fmla="*/ 28733561 h 430"/>
                <a:gd name="T50" fmla="*/ 96953 w 863"/>
                <a:gd name="T51" fmla="*/ 27580948 h 430"/>
                <a:gd name="T52" fmla="*/ 101782 w 863"/>
                <a:gd name="T53" fmla="*/ 26874825 h 430"/>
                <a:gd name="T54" fmla="*/ 110558 w 863"/>
                <a:gd name="T55" fmla="*/ 25498301 h 430"/>
                <a:gd name="T56" fmla="*/ 122266 w 863"/>
                <a:gd name="T57" fmla="*/ 25271383 h 430"/>
                <a:gd name="T58" fmla="*/ 130712 w 863"/>
                <a:gd name="T59" fmla="*/ 25498301 h 430"/>
                <a:gd name="T60" fmla="*/ 134525 w 863"/>
                <a:gd name="T61" fmla="*/ 25060030 h 430"/>
                <a:gd name="T62" fmla="*/ 140586 w 863"/>
                <a:gd name="T63" fmla="*/ 24560255 h 430"/>
                <a:gd name="T64" fmla="*/ 144889 w 863"/>
                <a:gd name="T65" fmla="*/ 24493263 h 430"/>
                <a:gd name="T66" fmla="*/ 152191 w 863"/>
                <a:gd name="T67" fmla="*/ 24921294 h 430"/>
                <a:gd name="T68" fmla="*/ 161109 w 863"/>
                <a:gd name="T69" fmla="*/ 25656161 h 430"/>
                <a:gd name="T70" fmla="*/ 163349 w 863"/>
                <a:gd name="T71" fmla="*/ 27603998 h 430"/>
                <a:gd name="T72" fmla="*/ 165848 w 863"/>
                <a:gd name="T73" fmla="*/ 29218552 h 430"/>
                <a:gd name="T74" fmla="*/ 172332 w 863"/>
                <a:gd name="T75" fmla="*/ 29924124 h 430"/>
                <a:gd name="T76" fmla="*/ 172487 w 863"/>
                <a:gd name="T77" fmla="*/ 26686936 h 430"/>
                <a:gd name="T78" fmla="*/ 172674 w 863"/>
                <a:gd name="T79" fmla="*/ 23069842 h 430"/>
                <a:gd name="T80" fmla="*/ 184808 w 863"/>
                <a:gd name="T81" fmla="*/ 20640664 h 430"/>
                <a:gd name="T82" fmla="*/ 200080 w 863"/>
                <a:gd name="T83" fmla="*/ 18436018 h 430"/>
                <a:gd name="T84" fmla="*/ 202131 w 863"/>
                <a:gd name="T85" fmla="*/ 17825056 h 430"/>
                <a:gd name="T86" fmla="*/ 199946 w 863"/>
                <a:gd name="T87" fmla="*/ 16867564 h 430"/>
                <a:gd name="T88" fmla="*/ 204720 w 863"/>
                <a:gd name="T89" fmla="*/ 17368166 h 430"/>
                <a:gd name="T90" fmla="*/ 202025 w 863"/>
                <a:gd name="T91" fmla="*/ 15168318 h 430"/>
                <a:gd name="T92" fmla="*/ 200635 w 863"/>
                <a:gd name="T93" fmla="*/ 14031603 h 430"/>
                <a:gd name="T94" fmla="*/ 204850 w 863"/>
                <a:gd name="T95" fmla="*/ 14031603 h 430"/>
                <a:gd name="T96" fmla="*/ 205130 w 863"/>
                <a:gd name="T97" fmla="*/ 14031603 h 430"/>
                <a:gd name="T98" fmla="*/ 204720 w 863"/>
                <a:gd name="T99" fmla="*/ 15492177 h 430"/>
                <a:gd name="T100" fmla="*/ 212037 w 863"/>
                <a:gd name="T101" fmla="*/ 12903980 h 430"/>
                <a:gd name="T102" fmla="*/ 219955 w 863"/>
                <a:gd name="T103" fmla="*/ 10393264 h 430"/>
                <a:gd name="T104" fmla="*/ 231614 w 863"/>
                <a:gd name="T105" fmla="*/ 9817739 h 430"/>
                <a:gd name="T106" fmla="*/ 237572 w 863"/>
                <a:gd name="T107" fmla="*/ 9222325 h 430"/>
                <a:gd name="T108" fmla="*/ 241405 w 863"/>
                <a:gd name="T109" fmla="*/ 7028681 h 430"/>
                <a:gd name="T110" fmla="*/ 248760 w 863"/>
                <a:gd name="T111" fmla="*/ 6181509 h 43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3"/>
                <a:gd name="T169" fmla="*/ 0 h 430"/>
                <a:gd name="T170" fmla="*/ 863 w 863"/>
                <a:gd name="T171" fmla="*/ 430 h 43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3" h="430">
                  <a:moveTo>
                    <a:pt x="861" y="78"/>
                  </a:moveTo>
                  <a:lnTo>
                    <a:pt x="860" y="72"/>
                  </a:lnTo>
                  <a:lnTo>
                    <a:pt x="856" y="61"/>
                  </a:lnTo>
                  <a:lnTo>
                    <a:pt x="863" y="39"/>
                  </a:lnTo>
                  <a:lnTo>
                    <a:pt x="853" y="36"/>
                  </a:lnTo>
                  <a:lnTo>
                    <a:pt x="847" y="36"/>
                  </a:lnTo>
                  <a:lnTo>
                    <a:pt x="845" y="32"/>
                  </a:lnTo>
                  <a:lnTo>
                    <a:pt x="832" y="45"/>
                  </a:lnTo>
                  <a:lnTo>
                    <a:pt x="821" y="58"/>
                  </a:lnTo>
                  <a:lnTo>
                    <a:pt x="808" y="69"/>
                  </a:lnTo>
                  <a:lnTo>
                    <a:pt x="797" y="75"/>
                  </a:lnTo>
                  <a:lnTo>
                    <a:pt x="770" y="77"/>
                  </a:lnTo>
                  <a:lnTo>
                    <a:pt x="742" y="78"/>
                  </a:lnTo>
                  <a:lnTo>
                    <a:pt x="728" y="88"/>
                  </a:lnTo>
                  <a:lnTo>
                    <a:pt x="715" y="100"/>
                  </a:lnTo>
                  <a:lnTo>
                    <a:pt x="696" y="101"/>
                  </a:lnTo>
                  <a:lnTo>
                    <a:pt x="678" y="103"/>
                  </a:lnTo>
                  <a:lnTo>
                    <a:pt x="677" y="114"/>
                  </a:lnTo>
                  <a:lnTo>
                    <a:pt x="662" y="119"/>
                  </a:lnTo>
                  <a:lnTo>
                    <a:pt x="648" y="125"/>
                  </a:lnTo>
                  <a:lnTo>
                    <a:pt x="632" y="129"/>
                  </a:lnTo>
                  <a:lnTo>
                    <a:pt x="616" y="135"/>
                  </a:lnTo>
                  <a:lnTo>
                    <a:pt x="613" y="127"/>
                  </a:lnTo>
                  <a:lnTo>
                    <a:pt x="629" y="110"/>
                  </a:lnTo>
                  <a:lnTo>
                    <a:pt x="638" y="100"/>
                  </a:lnTo>
                  <a:lnTo>
                    <a:pt x="641" y="85"/>
                  </a:lnTo>
                  <a:lnTo>
                    <a:pt x="643" y="69"/>
                  </a:lnTo>
                  <a:lnTo>
                    <a:pt x="632" y="61"/>
                  </a:lnTo>
                  <a:lnTo>
                    <a:pt x="633" y="56"/>
                  </a:lnTo>
                  <a:lnTo>
                    <a:pt x="629" y="56"/>
                  </a:lnTo>
                  <a:lnTo>
                    <a:pt x="627" y="49"/>
                  </a:lnTo>
                  <a:lnTo>
                    <a:pt x="616" y="42"/>
                  </a:lnTo>
                  <a:lnTo>
                    <a:pt x="603" y="35"/>
                  </a:lnTo>
                  <a:lnTo>
                    <a:pt x="591" y="26"/>
                  </a:lnTo>
                  <a:lnTo>
                    <a:pt x="580" y="19"/>
                  </a:lnTo>
                  <a:lnTo>
                    <a:pt x="561" y="23"/>
                  </a:lnTo>
                  <a:lnTo>
                    <a:pt x="549" y="19"/>
                  </a:lnTo>
                  <a:lnTo>
                    <a:pt x="536" y="21"/>
                  </a:lnTo>
                  <a:lnTo>
                    <a:pt x="516" y="13"/>
                  </a:lnTo>
                  <a:lnTo>
                    <a:pt x="500" y="10"/>
                  </a:lnTo>
                  <a:lnTo>
                    <a:pt x="503" y="0"/>
                  </a:lnTo>
                  <a:lnTo>
                    <a:pt x="495" y="5"/>
                  </a:lnTo>
                  <a:lnTo>
                    <a:pt x="472" y="5"/>
                  </a:lnTo>
                  <a:lnTo>
                    <a:pt x="449" y="5"/>
                  </a:lnTo>
                  <a:lnTo>
                    <a:pt x="424" y="5"/>
                  </a:lnTo>
                  <a:lnTo>
                    <a:pt x="401" y="5"/>
                  </a:lnTo>
                  <a:lnTo>
                    <a:pt x="376" y="5"/>
                  </a:lnTo>
                  <a:lnTo>
                    <a:pt x="353" y="5"/>
                  </a:lnTo>
                  <a:lnTo>
                    <a:pt x="328" y="5"/>
                  </a:lnTo>
                  <a:lnTo>
                    <a:pt x="305" y="5"/>
                  </a:lnTo>
                  <a:lnTo>
                    <a:pt x="280" y="5"/>
                  </a:lnTo>
                  <a:lnTo>
                    <a:pt x="257" y="5"/>
                  </a:lnTo>
                  <a:lnTo>
                    <a:pt x="234" y="5"/>
                  </a:lnTo>
                  <a:lnTo>
                    <a:pt x="209" y="5"/>
                  </a:lnTo>
                  <a:lnTo>
                    <a:pt x="186" y="5"/>
                  </a:lnTo>
                  <a:lnTo>
                    <a:pt x="161" y="5"/>
                  </a:lnTo>
                  <a:lnTo>
                    <a:pt x="138" y="5"/>
                  </a:lnTo>
                  <a:lnTo>
                    <a:pt x="113" y="5"/>
                  </a:lnTo>
                  <a:lnTo>
                    <a:pt x="109" y="20"/>
                  </a:lnTo>
                  <a:lnTo>
                    <a:pt x="102" y="35"/>
                  </a:lnTo>
                  <a:lnTo>
                    <a:pt x="90" y="39"/>
                  </a:lnTo>
                  <a:lnTo>
                    <a:pt x="93" y="35"/>
                  </a:lnTo>
                  <a:lnTo>
                    <a:pt x="94" y="37"/>
                  </a:lnTo>
                  <a:lnTo>
                    <a:pt x="106" y="24"/>
                  </a:lnTo>
                  <a:lnTo>
                    <a:pt x="93" y="33"/>
                  </a:lnTo>
                  <a:lnTo>
                    <a:pt x="91" y="35"/>
                  </a:lnTo>
                  <a:lnTo>
                    <a:pt x="99" y="27"/>
                  </a:lnTo>
                  <a:lnTo>
                    <a:pt x="104" y="21"/>
                  </a:lnTo>
                  <a:lnTo>
                    <a:pt x="81" y="16"/>
                  </a:lnTo>
                  <a:lnTo>
                    <a:pt x="75" y="39"/>
                  </a:lnTo>
                  <a:lnTo>
                    <a:pt x="73" y="42"/>
                  </a:lnTo>
                  <a:lnTo>
                    <a:pt x="73" y="45"/>
                  </a:lnTo>
                  <a:lnTo>
                    <a:pt x="71" y="49"/>
                  </a:lnTo>
                  <a:lnTo>
                    <a:pt x="70" y="46"/>
                  </a:lnTo>
                  <a:lnTo>
                    <a:pt x="65" y="53"/>
                  </a:lnTo>
                  <a:lnTo>
                    <a:pt x="75" y="55"/>
                  </a:lnTo>
                  <a:lnTo>
                    <a:pt x="68" y="55"/>
                  </a:lnTo>
                  <a:lnTo>
                    <a:pt x="61" y="64"/>
                  </a:lnTo>
                  <a:lnTo>
                    <a:pt x="43" y="87"/>
                  </a:lnTo>
                  <a:lnTo>
                    <a:pt x="26" y="110"/>
                  </a:lnTo>
                  <a:lnTo>
                    <a:pt x="22" y="125"/>
                  </a:lnTo>
                  <a:lnTo>
                    <a:pt x="16" y="139"/>
                  </a:lnTo>
                  <a:lnTo>
                    <a:pt x="1" y="157"/>
                  </a:lnTo>
                  <a:lnTo>
                    <a:pt x="3" y="162"/>
                  </a:lnTo>
                  <a:lnTo>
                    <a:pt x="0" y="175"/>
                  </a:lnTo>
                  <a:lnTo>
                    <a:pt x="1" y="187"/>
                  </a:lnTo>
                  <a:lnTo>
                    <a:pt x="4" y="199"/>
                  </a:lnTo>
                  <a:lnTo>
                    <a:pt x="3" y="196"/>
                  </a:lnTo>
                  <a:lnTo>
                    <a:pt x="1" y="199"/>
                  </a:lnTo>
                  <a:lnTo>
                    <a:pt x="9" y="200"/>
                  </a:lnTo>
                  <a:lnTo>
                    <a:pt x="13" y="199"/>
                  </a:lnTo>
                  <a:lnTo>
                    <a:pt x="10" y="209"/>
                  </a:lnTo>
                  <a:lnTo>
                    <a:pt x="7" y="206"/>
                  </a:lnTo>
                  <a:lnTo>
                    <a:pt x="4" y="209"/>
                  </a:lnTo>
                  <a:lnTo>
                    <a:pt x="9" y="219"/>
                  </a:lnTo>
                  <a:lnTo>
                    <a:pt x="4" y="225"/>
                  </a:lnTo>
                  <a:lnTo>
                    <a:pt x="7" y="235"/>
                  </a:lnTo>
                  <a:lnTo>
                    <a:pt x="11" y="245"/>
                  </a:lnTo>
                  <a:lnTo>
                    <a:pt x="9" y="261"/>
                  </a:lnTo>
                  <a:lnTo>
                    <a:pt x="17" y="263"/>
                  </a:lnTo>
                  <a:lnTo>
                    <a:pt x="32" y="271"/>
                  </a:lnTo>
                  <a:lnTo>
                    <a:pt x="48" y="283"/>
                  </a:lnTo>
                  <a:lnTo>
                    <a:pt x="48" y="297"/>
                  </a:lnTo>
                  <a:lnTo>
                    <a:pt x="67" y="296"/>
                  </a:lnTo>
                  <a:lnTo>
                    <a:pt x="84" y="296"/>
                  </a:lnTo>
                  <a:lnTo>
                    <a:pt x="96" y="302"/>
                  </a:lnTo>
                  <a:lnTo>
                    <a:pt x="107" y="308"/>
                  </a:lnTo>
                  <a:lnTo>
                    <a:pt x="120" y="313"/>
                  </a:lnTo>
                  <a:lnTo>
                    <a:pt x="132" y="319"/>
                  </a:lnTo>
                  <a:lnTo>
                    <a:pt x="154" y="319"/>
                  </a:lnTo>
                  <a:lnTo>
                    <a:pt x="176" y="319"/>
                  </a:lnTo>
                  <a:lnTo>
                    <a:pt x="177" y="311"/>
                  </a:lnTo>
                  <a:lnTo>
                    <a:pt x="203" y="311"/>
                  </a:lnTo>
                  <a:lnTo>
                    <a:pt x="216" y="328"/>
                  </a:lnTo>
                  <a:lnTo>
                    <a:pt x="221" y="347"/>
                  </a:lnTo>
                  <a:lnTo>
                    <a:pt x="231" y="354"/>
                  </a:lnTo>
                  <a:lnTo>
                    <a:pt x="240" y="361"/>
                  </a:lnTo>
                  <a:lnTo>
                    <a:pt x="250" y="348"/>
                  </a:lnTo>
                  <a:lnTo>
                    <a:pt x="272" y="350"/>
                  </a:lnTo>
                  <a:lnTo>
                    <a:pt x="279" y="367"/>
                  </a:lnTo>
                  <a:lnTo>
                    <a:pt x="285" y="383"/>
                  </a:lnTo>
                  <a:lnTo>
                    <a:pt x="290" y="404"/>
                  </a:lnTo>
                  <a:lnTo>
                    <a:pt x="301" y="412"/>
                  </a:lnTo>
                  <a:lnTo>
                    <a:pt x="319" y="415"/>
                  </a:lnTo>
                  <a:lnTo>
                    <a:pt x="318" y="395"/>
                  </a:lnTo>
                  <a:lnTo>
                    <a:pt x="317" y="392"/>
                  </a:lnTo>
                  <a:lnTo>
                    <a:pt x="315" y="389"/>
                  </a:lnTo>
                  <a:lnTo>
                    <a:pt x="321" y="390"/>
                  </a:lnTo>
                  <a:lnTo>
                    <a:pt x="322" y="382"/>
                  </a:lnTo>
                  <a:lnTo>
                    <a:pt x="327" y="379"/>
                  </a:lnTo>
                  <a:lnTo>
                    <a:pt x="335" y="373"/>
                  </a:lnTo>
                  <a:lnTo>
                    <a:pt x="340" y="370"/>
                  </a:lnTo>
                  <a:lnTo>
                    <a:pt x="340" y="367"/>
                  </a:lnTo>
                  <a:lnTo>
                    <a:pt x="347" y="367"/>
                  </a:lnTo>
                  <a:lnTo>
                    <a:pt x="343" y="370"/>
                  </a:lnTo>
                  <a:lnTo>
                    <a:pt x="351" y="366"/>
                  </a:lnTo>
                  <a:lnTo>
                    <a:pt x="349" y="367"/>
                  </a:lnTo>
                  <a:lnTo>
                    <a:pt x="367" y="354"/>
                  </a:lnTo>
                  <a:lnTo>
                    <a:pt x="369" y="348"/>
                  </a:lnTo>
                  <a:lnTo>
                    <a:pt x="373" y="351"/>
                  </a:lnTo>
                  <a:lnTo>
                    <a:pt x="372" y="353"/>
                  </a:lnTo>
                  <a:lnTo>
                    <a:pt x="383" y="347"/>
                  </a:lnTo>
                  <a:lnTo>
                    <a:pt x="385" y="347"/>
                  </a:lnTo>
                  <a:lnTo>
                    <a:pt x="398" y="347"/>
                  </a:lnTo>
                  <a:lnTo>
                    <a:pt x="411" y="348"/>
                  </a:lnTo>
                  <a:lnTo>
                    <a:pt x="418" y="348"/>
                  </a:lnTo>
                  <a:lnTo>
                    <a:pt x="423" y="354"/>
                  </a:lnTo>
                  <a:lnTo>
                    <a:pt x="431" y="357"/>
                  </a:lnTo>
                  <a:lnTo>
                    <a:pt x="440" y="357"/>
                  </a:lnTo>
                  <a:lnTo>
                    <a:pt x="440" y="351"/>
                  </a:lnTo>
                  <a:lnTo>
                    <a:pt x="452" y="358"/>
                  </a:lnTo>
                  <a:lnTo>
                    <a:pt x="449" y="363"/>
                  </a:lnTo>
                  <a:lnTo>
                    <a:pt x="455" y="357"/>
                  </a:lnTo>
                  <a:lnTo>
                    <a:pt x="447" y="348"/>
                  </a:lnTo>
                  <a:lnTo>
                    <a:pt x="453" y="345"/>
                  </a:lnTo>
                  <a:lnTo>
                    <a:pt x="450" y="344"/>
                  </a:lnTo>
                  <a:lnTo>
                    <a:pt x="449" y="343"/>
                  </a:lnTo>
                  <a:lnTo>
                    <a:pt x="439" y="340"/>
                  </a:lnTo>
                  <a:lnTo>
                    <a:pt x="449" y="340"/>
                  </a:lnTo>
                  <a:lnTo>
                    <a:pt x="473" y="338"/>
                  </a:lnTo>
                  <a:lnTo>
                    <a:pt x="478" y="329"/>
                  </a:lnTo>
                  <a:lnTo>
                    <a:pt x="476" y="338"/>
                  </a:lnTo>
                  <a:lnTo>
                    <a:pt x="484" y="338"/>
                  </a:lnTo>
                  <a:lnTo>
                    <a:pt x="492" y="334"/>
                  </a:lnTo>
                  <a:lnTo>
                    <a:pt x="488" y="337"/>
                  </a:lnTo>
                  <a:lnTo>
                    <a:pt x="503" y="337"/>
                  </a:lnTo>
                  <a:lnTo>
                    <a:pt x="498" y="337"/>
                  </a:lnTo>
                  <a:lnTo>
                    <a:pt x="508" y="338"/>
                  </a:lnTo>
                  <a:lnTo>
                    <a:pt x="511" y="338"/>
                  </a:lnTo>
                  <a:lnTo>
                    <a:pt x="513" y="343"/>
                  </a:lnTo>
                  <a:lnTo>
                    <a:pt x="511" y="341"/>
                  </a:lnTo>
                  <a:lnTo>
                    <a:pt x="514" y="348"/>
                  </a:lnTo>
                  <a:lnTo>
                    <a:pt x="513" y="348"/>
                  </a:lnTo>
                  <a:lnTo>
                    <a:pt x="536" y="341"/>
                  </a:lnTo>
                  <a:lnTo>
                    <a:pt x="543" y="353"/>
                  </a:lnTo>
                  <a:lnTo>
                    <a:pt x="550" y="364"/>
                  </a:lnTo>
                  <a:lnTo>
                    <a:pt x="546" y="386"/>
                  </a:lnTo>
                  <a:lnTo>
                    <a:pt x="546" y="382"/>
                  </a:lnTo>
                  <a:lnTo>
                    <a:pt x="548" y="385"/>
                  </a:lnTo>
                  <a:lnTo>
                    <a:pt x="550" y="380"/>
                  </a:lnTo>
                  <a:lnTo>
                    <a:pt x="548" y="392"/>
                  </a:lnTo>
                  <a:lnTo>
                    <a:pt x="552" y="398"/>
                  </a:lnTo>
                  <a:lnTo>
                    <a:pt x="555" y="399"/>
                  </a:lnTo>
                  <a:lnTo>
                    <a:pt x="555" y="405"/>
                  </a:lnTo>
                  <a:lnTo>
                    <a:pt x="558" y="402"/>
                  </a:lnTo>
                  <a:lnTo>
                    <a:pt x="556" y="406"/>
                  </a:lnTo>
                  <a:lnTo>
                    <a:pt x="558" y="417"/>
                  </a:lnTo>
                  <a:lnTo>
                    <a:pt x="565" y="430"/>
                  </a:lnTo>
                  <a:lnTo>
                    <a:pt x="575" y="427"/>
                  </a:lnTo>
                  <a:lnTo>
                    <a:pt x="580" y="412"/>
                  </a:lnTo>
                  <a:lnTo>
                    <a:pt x="585" y="398"/>
                  </a:lnTo>
                  <a:lnTo>
                    <a:pt x="582" y="383"/>
                  </a:lnTo>
                  <a:lnTo>
                    <a:pt x="580" y="367"/>
                  </a:lnTo>
                  <a:lnTo>
                    <a:pt x="582" y="382"/>
                  </a:lnTo>
                  <a:lnTo>
                    <a:pt x="581" y="367"/>
                  </a:lnTo>
                  <a:lnTo>
                    <a:pt x="580" y="353"/>
                  </a:lnTo>
                  <a:lnTo>
                    <a:pt x="578" y="338"/>
                  </a:lnTo>
                  <a:lnTo>
                    <a:pt x="578" y="324"/>
                  </a:lnTo>
                  <a:lnTo>
                    <a:pt x="582" y="321"/>
                  </a:lnTo>
                  <a:lnTo>
                    <a:pt x="582" y="318"/>
                  </a:lnTo>
                  <a:lnTo>
                    <a:pt x="590" y="309"/>
                  </a:lnTo>
                  <a:lnTo>
                    <a:pt x="594" y="302"/>
                  </a:lnTo>
                  <a:lnTo>
                    <a:pt x="596" y="300"/>
                  </a:lnTo>
                  <a:lnTo>
                    <a:pt x="600" y="299"/>
                  </a:lnTo>
                  <a:lnTo>
                    <a:pt x="622" y="284"/>
                  </a:lnTo>
                  <a:lnTo>
                    <a:pt x="623" y="284"/>
                  </a:lnTo>
                  <a:lnTo>
                    <a:pt x="638" y="273"/>
                  </a:lnTo>
                  <a:lnTo>
                    <a:pt x="645" y="271"/>
                  </a:lnTo>
                  <a:lnTo>
                    <a:pt x="655" y="261"/>
                  </a:lnTo>
                  <a:lnTo>
                    <a:pt x="674" y="254"/>
                  </a:lnTo>
                  <a:lnTo>
                    <a:pt x="662" y="251"/>
                  </a:lnTo>
                  <a:lnTo>
                    <a:pt x="670" y="252"/>
                  </a:lnTo>
                  <a:lnTo>
                    <a:pt x="673" y="248"/>
                  </a:lnTo>
                  <a:lnTo>
                    <a:pt x="665" y="244"/>
                  </a:lnTo>
                  <a:lnTo>
                    <a:pt x="681" y="245"/>
                  </a:lnTo>
                  <a:lnTo>
                    <a:pt x="686" y="236"/>
                  </a:lnTo>
                  <a:lnTo>
                    <a:pt x="681" y="239"/>
                  </a:lnTo>
                  <a:lnTo>
                    <a:pt x="677" y="236"/>
                  </a:lnTo>
                  <a:lnTo>
                    <a:pt x="673" y="234"/>
                  </a:lnTo>
                  <a:lnTo>
                    <a:pt x="673" y="232"/>
                  </a:lnTo>
                  <a:lnTo>
                    <a:pt x="678" y="234"/>
                  </a:lnTo>
                  <a:lnTo>
                    <a:pt x="684" y="232"/>
                  </a:lnTo>
                  <a:lnTo>
                    <a:pt x="687" y="235"/>
                  </a:lnTo>
                  <a:lnTo>
                    <a:pt x="687" y="223"/>
                  </a:lnTo>
                  <a:lnTo>
                    <a:pt x="689" y="239"/>
                  </a:lnTo>
                  <a:lnTo>
                    <a:pt x="684" y="219"/>
                  </a:lnTo>
                  <a:lnTo>
                    <a:pt x="678" y="218"/>
                  </a:lnTo>
                  <a:lnTo>
                    <a:pt x="674" y="212"/>
                  </a:lnTo>
                  <a:lnTo>
                    <a:pt x="684" y="216"/>
                  </a:lnTo>
                  <a:lnTo>
                    <a:pt x="680" y="209"/>
                  </a:lnTo>
                  <a:lnTo>
                    <a:pt x="686" y="212"/>
                  </a:lnTo>
                  <a:lnTo>
                    <a:pt x="678" y="197"/>
                  </a:lnTo>
                  <a:lnTo>
                    <a:pt x="687" y="204"/>
                  </a:lnTo>
                  <a:lnTo>
                    <a:pt x="680" y="193"/>
                  </a:lnTo>
                  <a:lnTo>
                    <a:pt x="675" y="193"/>
                  </a:lnTo>
                  <a:lnTo>
                    <a:pt x="683" y="186"/>
                  </a:lnTo>
                  <a:lnTo>
                    <a:pt x="680" y="191"/>
                  </a:lnTo>
                  <a:lnTo>
                    <a:pt x="689" y="197"/>
                  </a:lnTo>
                  <a:lnTo>
                    <a:pt x="687" y="187"/>
                  </a:lnTo>
                  <a:lnTo>
                    <a:pt x="690" y="193"/>
                  </a:lnTo>
                  <a:lnTo>
                    <a:pt x="693" y="178"/>
                  </a:lnTo>
                  <a:lnTo>
                    <a:pt x="702" y="174"/>
                  </a:lnTo>
                  <a:lnTo>
                    <a:pt x="696" y="184"/>
                  </a:lnTo>
                  <a:lnTo>
                    <a:pt x="694" y="189"/>
                  </a:lnTo>
                  <a:lnTo>
                    <a:pt x="691" y="193"/>
                  </a:lnTo>
                  <a:lnTo>
                    <a:pt x="697" y="196"/>
                  </a:lnTo>
                  <a:lnTo>
                    <a:pt x="694" y="200"/>
                  </a:lnTo>
                  <a:lnTo>
                    <a:pt x="696" y="203"/>
                  </a:lnTo>
                  <a:lnTo>
                    <a:pt x="693" y="207"/>
                  </a:lnTo>
                  <a:lnTo>
                    <a:pt x="689" y="213"/>
                  </a:lnTo>
                  <a:lnTo>
                    <a:pt x="709" y="193"/>
                  </a:lnTo>
                  <a:lnTo>
                    <a:pt x="706" y="174"/>
                  </a:lnTo>
                  <a:lnTo>
                    <a:pt x="715" y="165"/>
                  </a:lnTo>
                  <a:lnTo>
                    <a:pt x="707" y="171"/>
                  </a:lnTo>
                  <a:lnTo>
                    <a:pt x="713" y="178"/>
                  </a:lnTo>
                  <a:lnTo>
                    <a:pt x="713" y="183"/>
                  </a:lnTo>
                  <a:lnTo>
                    <a:pt x="731" y="165"/>
                  </a:lnTo>
                  <a:lnTo>
                    <a:pt x="731" y="168"/>
                  </a:lnTo>
                  <a:lnTo>
                    <a:pt x="734" y="157"/>
                  </a:lnTo>
                  <a:lnTo>
                    <a:pt x="741" y="143"/>
                  </a:lnTo>
                  <a:lnTo>
                    <a:pt x="739" y="149"/>
                  </a:lnTo>
                  <a:lnTo>
                    <a:pt x="744" y="146"/>
                  </a:lnTo>
                  <a:lnTo>
                    <a:pt x="760" y="143"/>
                  </a:lnTo>
                  <a:lnTo>
                    <a:pt x="776" y="139"/>
                  </a:lnTo>
                  <a:lnTo>
                    <a:pt x="779" y="135"/>
                  </a:lnTo>
                  <a:lnTo>
                    <a:pt x="783" y="135"/>
                  </a:lnTo>
                  <a:lnTo>
                    <a:pt x="789" y="138"/>
                  </a:lnTo>
                  <a:lnTo>
                    <a:pt x="792" y="139"/>
                  </a:lnTo>
                  <a:lnTo>
                    <a:pt x="802" y="135"/>
                  </a:lnTo>
                  <a:lnTo>
                    <a:pt x="800" y="127"/>
                  </a:lnTo>
                  <a:lnTo>
                    <a:pt x="802" y="132"/>
                  </a:lnTo>
                  <a:lnTo>
                    <a:pt x="793" y="129"/>
                  </a:lnTo>
                  <a:lnTo>
                    <a:pt x="795" y="119"/>
                  </a:lnTo>
                  <a:lnTo>
                    <a:pt x="795" y="116"/>
                  </a:lnTo>
                  <a:lnTo>
                    <a:pt x="812" y="97"/>
                  </a:lnTo>
                  <a:lnTo>
                    <a:pt x="816" y="94"/>
                  </a:lnTo>
                  <a:lnTo>
                    <a:pt x="819" y="96"/>
                  </a:lnTo>
                  <a:lnTo>
                    <a:pt x="832" y="84"/>
                  </a:lnTo>
                  <a:lnTo>
                    <a:pt x="832" y="85"/>
                  </a:lnTo>
                  <a:lnTo>
                    <a:pt x="837" y="85"/>
                  </a:lnTo>
                  <a:lnTo>
                    <a:pt x="843" y="87"/>
                  </a:lnTo>
                  <a:lnTo>
                    <a:pt x="861" y="78"/>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defTabSz="457200" eaLnBrk="0" hangingPunct="0"/>
              <a:endParaRPr lang="en-US" sz="2400" kern="0">
                <a:solidFill>
                  <a:prstClr val="black"/>
                </a:solidFill>
                <a:ea typeface="MS PGothic" pitchFamily="34" charset="-128"/>
              </a:endParaRPr>
            </a:p>
          </p:txBody>
        </p:sp>
        <p:sp>
          <p:nvSpPr>
            <p:cNvPr id="325" name="Freeform 385">
              <a:extLst>
                <a:ext uri="{FF2B5EF4-FFF2-40B4-BE49-F238E27FC236}">
                  <a16:creationId xmlns:a16="http://schemas.microsoft.com/office/drawing/2014/main" id="{E5279DD4-763A-9541-AAA7-D1B8A92186A5}"/>
                </a:ext>
              </a:extLst>
            </p:cNvPr>
            <p:cNvSpPr>
              <a:spLocks/>
            </p:cNvSpPr>
            <p:nvPr/>
          </p:nvSpPr>
          <p:spPr bwMode="auto">
            <a:xfrm>
              <a:off x="165546" y="1508391"/>
              <a:ext cx="1053847" cy="529998"/>
            </a:xfrm>
            <a:custGeom>
              <a:avLst/>
              <a:gdLst>
                <a:gd name="T0" fmla="*/ 126662 w 549"/>
                <a:gd name="T1" fmla="*/ 17427816 h 263"/>
                <a:gd name="T2" fmla="*/ 122223 w 549"/>
                <a:gd name="T3" fmla="*/ 14149479 h 263"/>
                <a:gd name="T4" fmla="*/ 115188 w 549"/>
                <a:gd name="T5" fmla="*/ 13395411 h 263"/>
                <a:gd name="T6" fmla="*/ 120904 w 549"/>
                <a:gd name="T7" fmla="*/ 10245310 h 263"/>
                <a:gd name="T8" fmla="*/ 145129 w 549"/>
                <a:gd name="T9" fmla="*/ 4585240 h 263"/>
                <a:gd name="T10" fmla="*/ 143233 w 549"/>
                <a:gd name="T11" fmla="*/ 1190404 h 263"/>
                <a:gd name="T12" fmla="*/ 122834 w 549"/>
                <a:gd name="T13" fmla="*/ 482413 h 263"/>
                <a:gd name="T14" fmla="*/ 118621 w 549"/>
                <a:gd name="T15" fmla="*/ 162484 h 263"/>
                <a:gd name="T16" fmla="*/ 101822 w 549"/>
                <a:gd name="T17" fmla="*/ 747622 h 263"/>
                <a:gd name="T18" fmla="*/ 92720 w 549"/>
                <a:gd name="T19" fmla="*/ 1190404 h 263"/>
                <a:gd name="T20" fmla="*/ 65642 w 549"/>
                <a:gd name="T21" fmla="*/ 3370783 h 263"/>
                <a:gd name="T22" fmla="*/ 71472 w 549"/>
                <a:gd name="T23" fmla="*/ 5590699 h 263"/>
                <a:gd name="T24" fmla="*/ 68991 w 549"/>
                <a:gd name="T25" fmla="*/ 5617148 h 263"/>
                <a:gd name="T26" fmla="*/ 63322 w 549"/>
                <a:gd name="T27" fmla="*/ 5426265 h 263"/>
                <a:gd name="T28" fmla="*/ 44211 w 549"/>
                <a:gd name="T29" fmla="*/ 7128355 h 263"/>
                <a:gd name="T30" fmla="*/ 62886 w 549"/>
                <a:gd name="T31" fmla="*/ 7533318 h 263"/>
                <a:gd name="T32" fmla="*/ 51671 w 549"/>
                <a:gd name="T33" fmla="*/ 9250909 h 263"/>
                <a:gd name="T34" fmla="*/ 36307 w 549"/>
                <a:gd name="T35" fmla="*/ 10245310 h 263"/>
                <a:gd name="T36" fmla="*/ 27684 w 549"/>
                <a:gd name="T37" fmla="*/ 11209155 h 263"/>
                <a:gd name="T38" fmla="*/ 30683 w 549"/>
                <a:gd name="T39" fmla="*/ 11548826 h 263"/>
                <a:gd name="T40" fmla="*/ 29842 w 549"/>
                <a:gd name="T41" fmla="*/ 12438896 h 263"/>
                <a:gd name="T42" fmla="*/ 23063 w 549"/>
                <a:gd name="T43" fmla="*/ 12942835 h 263"/>
                <a:gd name="T44" fmla="*/ 30683 w 549"/>
                <a:gd name="T45" fmla="*/ 13487867 h 263"/>
                <a:gd name="T46" fmla="*/ 32639 w 549"/>
                <a:gd name="T47" fmla="*/ 14887588 h 263"/>
                <a:gd name="T48" fmla="*/ 40701 w 549"/>
                <a:gd name="T49" fmla="*/ 14725189 h 263"/>
                <a:gd name="T50" fmla="*/ 38760 w 549"/>
                <a:gd name="T51" fmla="*/ 15854129 h 263"/>
                <a:gd name="T52" fmla="*/ 33262 w 549"/>
                <a:gd name="T53" fmla="*/ 16677220 h 263"/>
                <a:gd name="T54" fmla="*/ 14374 w 549"/>
                <a:gd name="T55" fmla="*/ 18857684 h 263"/>
                <a:gd name="T56" fmla="*/ 0 w 549"/>
                <a:gd name="T57" fmla="*/ 19919165 h 263"/>
                <a:gd name="T58" fmla="*/ 4003 w 549"/>
                <a:gd name="T59" fmla="*/ 19800620 h 263"/>
                <a:gd name="T60" fmla="*/ 14002 w 549"/>
                <a:gd name="T61" fmla="*/ 19071238 h 263"/>
                <a:gd name="T62" fmla="*/ 24056 w 549"/>
                <a:gd name="T63" fmla="*/ 18395426 h 263"/>
                <a:gd name="T64" fmla="*/ 57530 w 549"/>
                <a:gd name="T65" fmla="*/ 14998303 h 263"/>
                <a:gd name="T66" fmla="*/ 66366 w 549"/>
                <a:gd name="T67" fmla="*/ 13269151 h 263"/>
                <a:gd name="T68" fmla="*/ 81594 w 549"/>
                <a:gd name="T69" fmla="*/ 12026606 h 263"/>
                <a:gd name="T70" fmla="*/ 67210 w 549"/>
                <a:gd name="T71" fmla="*/ 13971029 h 263"/>
                <a:gd name="T72" fmla="*/ 72991 w 549"/>
                <a:gd name="T73" fmla="*/ 13971029 h 263"/>
                <a:gd name="T74" fmla="*/ 74860 w 549"/>
                <a:gd name="T75" fmla="*/ 13658235 h 263"/>
                <a:gd name="T76" fmla="*/ 84500 w 549"/>
                <a:gd name="T77" fmla="*/ 12979307 h 263"/>
                <a:gd name="T78" fmla="*/ 86273 w 549"/>
                <a:gd name="T79" fmla="*/ 12384165 h 263"/>
                <a:gd name="T80" fmla="*/ 88711 w 549"/>
                <a:gd name="T81" fmla="*/ 12384165 h 263"/>
                <a:gd name="T82" fmla="*/ 91787 w 549"/>
                <a:gd name="T83" fmla="*/ 12547220 h 263"/>
                <a:gd name="T84" fmla="*/ 94295 w 549"/>
                <a:gd name="T85" fmla="*/ 12979307 h 263"/>
                <a:gd name="T86" fmla="*/ 102331 w 549"/>
                <a:gd name="T87" fmla="*/ 13395411 h 263"/>
                <a:gd name="T88" fmla="*/ 114623 w 549"/>
                <a:gd name="T89" fmla="*/ 13658235 h 263"/>
                <a:gd name="T90" fmla="*/ 113605 w 549"/>
                <a:gd name="T91" fmla="*/ 14887588 h 263"/>
                <a:gd name="T92" fmla="*/ 119440 w 549"/>
                <a:gd name="T93" fmla="*/ 14998303 h 263"/>
                <a:gd name="T94" fmla="*/ 120743 w 549"/>
                <a:gd name="T95" fmla="*/ 15593559 h 263"/>
                <a:gd name="T96" fmla="*/ 124573 w 549"/>
                <a:gd name="T97" fmla="*/ 15854129 h 263"/>
                <a:gd name="T98" fmla="*/ 127593 w 549"/>
                <a:gd name="T99" fmla="*/ 16110490 h 263"/>
                <a:gd name="T100" fmla="*/ 124573 w 549"/>
                <a:gd name="T101" fmla="*/ 16925234 h 263"/>
                <a:gd name="T102" fmla="*/ 125893 w 549"/>
                <a:gd name="T103" fmla="*/ 18375373 h 263"/>
                <a:gd name="T104" fmla="*/ 127593 w 549"/>
                <a:gd name="T105" fmla="*/ 18395426 h 263"/>
                <a:gd name="T106" fmla="*/ 123800 w 549"/>
                <a:gd name="T107" fmla="*/ 19800620 h 2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49"/>
                <a:gd name="T163" fmla="*/ 0 h 263"/>
                <a:gd name="T164" fmla="*/ 549 w 549"/>
                <a:gd name="T165" fmla="*/ 263 h 2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49" h="263">
                  <a:moveTo>
                    <a:pt x="444" y="256"/>
                  </a:moveTo>
                  <a:lnTo>
                    <a:pt x="454" y="244"/>
                  </a:lnTo>
                  <a:lnTo>
                    <a:pt x="447" y="237"/>
                  </a:lnTo>
                  <a:lnTo>
                    <a:pt x="441" y="228"/>
                  </a:lnTo>
                  <a:lnTo>
                    <a:pt x="444" y="214"/>
                  </a:lnTo>
                  <a:lnTo>
                    <a:pt x="447" y="198"/>
                  </a:lnTo>
                  <a:lnTo>
                    <a:pt x="443" y="180"/>
                  </a:lnTo>
                  <a:lnTo>
                    <a:pt x="425" y="185"/>
                  </a:lnTo>
                  <a:lnTo>
                    <a:pt x="415" y="191"/>
                  </a:lnTo>
                  <a:lnTo>
                    <a:pt x="404" y="195"/>
                  </a:lnTo>
                  <a:lnTo>
                    <a:pt x="404" y="178"/>
                  </a:lnTo>
                  <a:lnTo>
                    <a:pt x="401" y="175"/>
                  </a:lnTo>
                  <a:lnTo>
                    <a:pt x="406" y="170"/>
                  </a:lnTo>
                  <a:lnTo>
                    <a:pt x="382" y="172"/>
                  </a:lnTo>
                  <a:lnTo>
                    <a:pt x="401" y="153"/>
                  </a:lnTo>
                  <a:lnTo>
                    <a:pt x="421" y="134"/>
                  </a:lnTo>
                  <a:lnTo>
                    <a:pt x="441" y="115"/>
                  </a:lnTo>
                  <a:lnTo>
                    <a:pt x="462" y="96"/>
                  </a:lnTo>
                  <a:lnTo>
                    <a:pt x="483" y="79"/>
                  </a:lnTo>
                  <a:lnTo>
                    <a:pt x="505" y="60"/>
                  </a:lnTo>
                  <a:lnTo>
                    <a:pt x="527" y="42"/>
                  </a:lnTo>
                  <a:lnTo>
                    <a:pt x="549" y="25"/>
                  </a:lnTo>
                  <a:lnTo>
                    <a:pt x="521" y="18"/>
                  </a:lnTo>
                  <a:lnTo>
                    <a:pt x="497" y="15"/>
                  </a:lnTo>
                  <a:lnTo>
                    <a:pt x="473" y="13"/>
                  </a:lnTo>
                  <a:lnTo>
                    <a:pt x="441" y="10"/>
                  </a:lnTo>
                  <a:lnTo>
                    <a:pt x="438" y="9"/>
                  </a:lnTo>
                  <a:lnTo>
                    <a:pt x="427" y="6"/>
                  </a:lnTo>
                  <a:lnTo>
                    <a:pt x="420" y="6"/>
                  </a:lnTo>
                  <a:lnTo>
                    <a:pt x="417" y="5"/>
                  </a:lnTo>
                  <a:lnTo>
                    <a:pt x="404" y="6"/>
                  </a:lnTo>
                  <a:lnTo>
                    <a:pt x="412" y="2"/>
                  </a:lnTo>
                  <a:lnTo>
                    <a:pt x="404" y="0"/>
                  </a:lnTo>
                  <a:lnTo>
                    <a:pt x="372" y="8"/>
                  </a:lnTo>
                  <a:lnTo>
                    <a:pt x="364" y="6"/>
                  </a:lnTo>
                  <a:lnTo>
                    <a:pt x="354" y="10"/>
                  </a:lnTo>
                  <a:lnTo>
                    <a:pt x="353" y="12"/>
                  </a:lnTo>
                  <a:lnTo>
                    <a:pt x="345" y="16"/>
                  </a:lnTo>
                  <a:lnTo>
                    <a:pt x="350" y="10"/>
                  </a:lnTo>
                  <a:lnTo>
                    <a:pt x="322" y="15"/>
                  </a:lnTo>
                  <a:lnTo>
                    <a:pt x="295" y="25"/>
                  </a:lnTo>
                  <a:lnTo>
                    <a:pt x="266" y="35"/>
                  </a:lnTo>
                  <a:lnTo>
                    <a:pt x="242" y="37"/>
                  </a:lnTo>
                  <a:lnTo>
                    <a:pt x="228" y="44"/>
                  </a:lnTo>
                  <a:lnTo>
                    <a:pt x="238" y="60"/>
                  </a:lnTo>
                  <a:lnTo>
                    <a:pt x="234" y="63"/>
                  </a:lnTo>
                  <a:lnTo>
                    <a:pt x="254" y="67"/>
                  </a:lnTo>
                  <a:lnTo>
                    <a:pt x="248" y="73"/>
                  </a:lnTo>
                  <a:lnTo>
                    <a:pt x="263" y="73"/>
                  </a:lnTo>
                  <a:lnTo>
                    <a:pt x="244" y="73"/>
                  </a:lnTo>
                  <a:lnTo>
                    <a:pt x="242" y="67"/>
                  </a:lnTo>
                  <a:lnTo>
                    <a:pt x="239" y="74"/>
                  </a:lnTo>
                  <a:lnTo>
                    <a:pt x="245" y="79"/>
                  </a:lnTo>
                  <a:lnTo>
                    <a:pt x="236" y="79"/>
                  </a:lnTo>
                  <a:lnTo>
                    <a:pt x="209" y="77"/>
                  </a:lnTo>
                  <a:lnTo>
                    <a:pt x="220" y="71"/>
                  </a:lnTo>
                  <a:lnTo>
                    <a:pt x="190" y="77"/>
                  </a:lnTo>
                  <a:lnTo>
                    <a:pt x="149" y="87"/>
                  </a:lnTo>
                  <a:lnTo>
                    <a:pt x="164" y="92"/>
                  </a:lnTo>
                  <a:lnTo>
                    <a:pt x="154" y="93"/>
                  </a:lnTo>
                  <a:lnTo>
                    <a:pt x="152" y="103"/>
                  </a:lnTo>
                  <a:lnTo>
                    <a:pt x="186" y="103"/>
                  </a:lnTo>
                  <a:lnTo>
                    <a:pt x="190" y="106"/>
                  </a:lnTo>
                  <a:lnTo>
                    <a:pt x="219" y="98"/>
                  </a:lnTo>
                  <a:lnTo>
                    <a:pt x="212" y="103"/>
                  </a:lnTo>
                  <a:lnTo>
                    <a:pt x="207" y="106"/>
                  </a:lnTo>
                  <a:lnTo>
                    <a:pt x="200" y="115"/>
                  </a:lnTo>
                  <a:lnTo>
                    <a:pt x="180" y="121"/>
                  </a:lnTo>
                  <a:lnTo>
                    <a:pt x="148" y="128"/>
                  </a:lnTo>
                  <a:lnTo>
                    <a:pt x="154" y="125"/>
                  </a:lnTo>
                  <a:lnTo>
                    <a:pt x="142" y="127"/>
                  </a:lnTo>
                  <a:lnTo>
                    <a:pt x="127" y="134"/>
                  </a:lnTo>
                  <a:lnTo>
                    <a:pt x="130" y="134"/>
                  </a:lnTo>
                  <a:lnTo>
                    <a:pt x="125" y="137"/>
                  </a:lnTo>
                  <a:lnTo>
                    <a:pt x="103" y="146"/>
                  </a:lnTo>
                  <a:lnTo>
                    <a:pt x="96" y="147"/>
                  </a:lnTo>
                  <a:lnTo>
                    <a:pt x="97" y="150"/>
                  </a:lnTo>
                  <a:lnTo>
                    <a:pt x="88" y="151"/>
                  </a:lnTo>
                  <a:lnTo>
                    <a:pt x="91" y="157"/>
                  </a:lnTo>
                  <a:lnTo>
                    <a:pt x="107" y="151"/>
                  </a:lnTo>
                  <a:lnTo>
                    <a:pt x="93" y="159"/>
                  </a:lnTo>
                  <a:lnTo>
                    <a:pt x="93" y="160"/>
                  </a:lnTo>
                  <a:lnTo>
                    <a:pt x="109" y="163"/>
                  </a:lnTo>
                  <a:lnTo>
                    <a:pt x="103" y="163"/>
                  </a:lnTo>
                  <a:lnTo>
                    <a:pt x="106" y="166"/>
                  </a:lnTo>
                  <a:lnTo>
                    <a:pt x="96" y="166"/>
                  </a:lnTo>
                  <a:lnTo>
                    <a:pt x="91" y="163"/>
                  </a:lnTo>
                  <a:lnTo>
                    <a:pt x="80" y="169"/>
                  </a:lnTo>
                  <a:lnTo>
                    <a:pt x="85" y="180"/>
                  </a:lnTo>
                  <a:lnTo>
                    <a:pt x="109" y="173"/>
                  </a:lnTo>
                  <a:lnTo>
                    <a:pt x="122" y="166"/>
                  </a:lnTo>
                  <a:lnTo>
                    <a:pt x="107" y="176"/>
                  </a:lnTo>
                  <a:lnTo>
                    <a:pt x="100" y="186"/>
                  </a:lnTo>
                  <a:lnTo>
                    <a:pt x="94" y="192"/>
                  </a:lnTo>
                  <a:lnTo>
                    <a:pt x="87" y="199"/>
                  </a:lnTo>
                  <a:lnTo>
                    <a:pt x="113" y="195"/>
                  </a:lnTo>
                  <a:lnTo>
                    <a:pt x="120" y="196"/>
                  </a:lnTo>
                  <a:lnTo>
                    <a:pt x="120" y="204"/>
                  </a:lnTo>
                  <a:lnTo>
                    <a:pt x="136" y="192"/>
                  </a:lnTo>
                  <a:lnTo>
                    <a:pt x="141" y="193"/>
                  </a:lnTo>
                  <a:lnTo>
                    <a:pt x="132" y="196"/>
                  </a:lnTo>
                  <a:lnTo>
                    <a:pt x="133" y="199"/>
                  </a:lnTo>
                  <a:lnTo>
                    <a:pt x="157" y="193"/>
                  </a:lnTo>
                  <a:lnTo>
                    <a:pt x="135" y="207"/>
                  </a:lnTo>
                  <a:lnTo>
                    <a:pt x="139" y="207"/>
                  </a:lnTo>
                  <a:lnTo>
                    <a:pt x="136" y="207"/>
                  </a:lnTo>
                  <a:lnTo>
                    <a:pt x="123" y="217"/>
                  </a:lnTo>
                  <a:lnTo>
                    <a:pt x="116" y="218"/>
                  </a:lnTo>
                  <a:lnTo>
                    <a:pt x="94" y="231"/>
                  </a:lnTo>
                  <a:lnTo>
                    <a:pt x="59" y="240"/>
                  </a:lnTo>
                  <a:lnTo>
                    <a:pt x="55" y="246"/>
                  </a:lnTo>
                  <a:lnTo>
                    <a:pt x="50" y="246"/>
                  </a:lnTo>
                  <a:lnTo>
                    <a:pt x="48" y="249"/>
                  </a:lnTo>
                  <a:lnTo>
                    <a:pt x="48" y="246"/>
                  </a:lnTo>
                  <a:lnTo>
                    <a:pt x="36" y="246"/>
                  </a:lnTo>
                  <a:lnTo>
                    <a:pt x="0" y="260"/>
                  </a:lnTo>
                  <a:lnTo>
                    <a:pt x="1" y="259"/>
                  </a:lnTo>
                  <a:lnTo>
                    <a:pt x="4" y="262"/>
                  </a:lnTo>
                  <a:lnTo>
                    <a:pt x="11" y="257"/>
                  </a:lnTo>
                  <a:lnTo>
                    <a:pt x="14" y="259"/>
                  </a:lnTo>
                  <a:lnTo>
                    <a:pt x="30" y="252"/>
                  </a:lnTo>
                  <a:lnTo>
                    <a:pt x="37" y="252"/>
                  </a:lnTo>
                  <a:lnTo>
                    <a:pt x="33" y="252"/>
                  </a:lnTo>
                  <a:lnTo>
                    <a:pt x="49" y="249"/>
                  </a:lnTo>
                  <a:lnTo>
                    <a:pt x="61" y="249"/>
                  </a:lnTo>
                  <a:lnTo>
                    <a:pt x="64" y="247"/>
                  </a:lnTo>
                  <a:lnTo>
                    <a:pt x="80" y="243"/>
                  </a:lnTo>
                  <a:lnTo>
                    <a:pt x="84" y="241"/>
                  </a:lnTo>
                  <a:lnTo>
                    <a:pt x="88" y="239"/>
                  </a:lnTo>
                  <a:lnTo>
                    <a:pt x="130" y="223"/>
                  </a:lnTo>
                  <a:lnTo>
                    <a:pt x="167" y="209"/>
                  </a:lnTo>
                  <a:lnTo>
                    <a:pt x="200" y="196"/>
                  </a:lnTo>
                  <a:lnTo>
                    <a:pt x="193" y="191"/>
                  </a:lnTo>
                  <a:lnTo>
                    <a:pt x="220" y="179"/>
                  </a:lnTo>
                  <a:lnTo>
                    <a:pt x="226" y="178"/>
                  </a:lnTo>
                  <a:lnTo>
                    <a:pt x="231" y="173"/>
                  </a:lnTo>
                  <a:lnTo>
                    <a:pt x="255" y="163"/>
                  </a:lnTo>
                  <a:lnTo>
                    <a:pt x="279" y="156"/>
                  </a:lnTo>
                  <a:lnTo>
                    <a:pt x="296" y="153"/>
                  </a:lnTo>
                  <a:lnTo>
                    <a:pt x="284" y="157"/>
                  </a:lnTo>
                  <a:lnTo>
                    <a:pt x="287" y="162"/>
                  </a:lnTo>
                  <a:lnTo>
                    <a:pt x="281" y="162"/>
                  </a:lnTo>
                  <a:lnTo>
                    <a:pt x="257" y="164"/>
                  </a:lnTo>
                  <a:lnTo>
                    <a:pt x="234" y="182"/>
                  </a:lnTo>
                  <a:lnTo>
                    <a:pt x="245" y="180"/>
                  </a:lnTo>
                  <a:lnTo>
                    <a:pt x="228" y="188"/>
                  </a:lnTo>
                  <a:lnTo>
                    <a:pt x="236" y="189"/>
                  </a:lnTo>
                  <a:lnTo>
                    <a:pt x="254" y="182"/>
                  </a:lnTo>
                  <a:lnTo>
                    <a:pt x="250" y="185"/>
                  </a:lnTo>
                  <a:lnTo>
                    <a:pt x="255" y="182"/>
                  </a:lnTo>
                  <a:lnTo>
                    <a:pt x="260" y="182"/>
                  </a:lnTo>
                  <a:lnTo>
                    <a:pt x="261" y="179"/>
                  </a:lnTo>
                  <a:lnTo>
                    <a:pt x="263" y="180"/>
                  </a:lnTo>
                  <a:lnTo>
                    <a:pt x="270" y="176"/>
                  </a:lnTo>
                  <a:lnTo>
                    <a:pt x="279" y="178"/>
                  </a:lnTo>
                  <a:lnTo>
                    <a:pt x="293" y="170"/>
                  </a:lnTo>
                  <a:lnTo>
                    <a:pt x="292" y="169"/>
                  </a:lnTo>
                  <a:lnTo>
                    <a:pt x="296" y="166"/>
                  </a:lnTo>
                  <a:lnTo>
                    <a:pt x="293" y="164"/>
                  </a:lnTo>
                  <a:lnTo>
                    <a:pt x="300" y="162"/>
                  </a:lnTo>
                  <a:lnTo>
                    <a:pt x="313" y="156"/>
                  </a:lnTo>
                  <a:lnTo>
                    <a:pt x="303" y="162"/>
                  </a:lnTo>
                  <a:lnTo>
                    <a:pt x="311" y="160"/>
                  </a:lnTo>
                  <a:lnTo>
                    <a:pt x="309" y="162"/>
                  </a:lnTo>
                  <a:lnTo>
                    <a:pt x="329" y="159"/>
                  </a:lnTo>
                  <a:lnTo>
                    <a:pt x="324" y="160"/>
                  </a:lnTo>
                  <a:lnTo>
                    <a:pt x="322" y="163"/>
                  </a:lnTo>
                  <a:lnTo>
                    <a:pt x="319" y="164"/>
                  </a:lnTo>
                  <a:lnTo>
                    <a:pt x="325" y="164"/>
                  </a:lnTo>
                  <a:lnTo>
                    <a:pt x="327" y="166"/>
                  </a:lnTo>
                  <a:lnTo>
                    <a:pt x="322" y="169"/>
                  </a:lnTo>
                  <a:lnTo>
                    <a:pt x="327" y="170"/>
                  </a:lnTo>
                  <a:lnTo>
                    <a:pt x="340" y="166"/>
                  </a:lnTo>
                  <a:lnTo>
                    <a:pt x="334" y="170"/>
                  </a:lnTo>
                  <a:lnTo>
                    <a:pt x="338" y="175"/>
                  </a:lnTo>
                  <a:lnTo>
                    <a:pt x="356" y="175"/>
                  </a:lnTo>
                  <a:lnTo>
                    <a:pt x="373" y="176"/>
                  </a:lnTo>
                  <a:lnTo>
                    <a:pt x="373" y="180"/>
                  </a:lnTo>
                  <a:lnTo>
                    <a:pt x="392" y="178"/>
                  </a:lnTo>
                  <a:lnTo>
                    <a:pt x="399" y="179"/>
                  </a:lnTo>
                  <a:lnTo>
                    <a:pt x="392" y="182"/>
                  </a:lnTo>
                  <a:lnTo>
                    <a:pt x="395" y="178"/>
                  </a:lnTo>
                  <a:lnTo>
                    <a:pt x="388" y="183"/>
                  </a:lnTo>
                  <a:lnTo>
                    <a:pt x="396" y="195"/>
                  </a:lnTo>
                  <a:lnTo>
                    <a:pt x="405" y="205"/>
                  </a:lnTo>
                  <a:lnTo>
                    <a:pt x="412" y="204"/>
                  </a:lnTo>
                  <a:lnTo>
                    <a:pt x="409" y="195"/>
                  </a:lnTo>
                  <a:lnTo>
                    <a:pt x="415" y="196"/>
                  </a:lnTo>
                  <a:lnTo>
                    <a:pt x="421" y="195"/>
                  </a:lnTo>
                  <a:lnTo>
                    <a:pt x="422" y="195"/>
                  </a:lnTo>
                  <a:lnTo>
                    <a:pt x="418" y="201"/>
                  </a:lnTo>
                  <a:lnTo>
                    <a:pt x="420" y="204"/>
                  </a:lnTo>
                  <a:lnTo>
                    <a:pt x="420" y="205"/>
                  </a:lnTo>
                  <a:lnTo>
                    <a:pt x="434" y="191"/>
                  </a:lnTo>
                  <a:lnTo>
                    <a:pt x="431" y="199"/>
                  </a:lnTo>
                  <a:lnTo>
                    <a:pt x="434" y="207"/>
                  </a:lnTo>
                  <a:lnTo>
                    <a:pt x="437" y="205"/>
                  </a:lnTo>
                  <a:lnTo>
                    <a:pt x="438" y="208"/>
                  </a:lnTo>
                  <a:lnTo>
                    <a:pt x="434" y="211"/>
                  </a:lnTo>
                  <a:lnTo>
                    <a:pt x="443" y="211"/>
                  </a:lnTo>
                  <a:lnTo>
                    <a:pt x="438" y="211"/>
                  </a:lnTo>
                  <a:lnTo>
                    <a:pt x="438" y="217"/>
                  </a:lnTo>
                  <a:lnTo>
                    <a:pt x="434" y="215"/>
                  </a:lnTo>
                  <a:lnTo>
                    <a:pt x="434" y="221"/>
                  </a:lnTo>
                  <a:lnTo>
                    <a:pt x="430" y="223"/>
                  </a:lnTo>
                  <a:lnTo>
                    <a:pt x="431" y="224"/>
                  </a:lnTo>
                  <a:lnTo>
                    <a:pt x="433" y="231"/>
                  </a:lnTo>
                  <a:lnTo>
                    <a:pt x="438" y="240"/>
                  </a:lnTo>
                  <a:lnTo>
                    <a:pt x="434" y="240"/>
                  </a:lnTo>
                  <a:lnTo>
                    <a:pt x="420" y="250"/>
                  </a:lnTo>
                  <a:lnTo>
                    <a:pt x="427" y="249"/>
                  </a:lnTo>
                  <a:lnTo>
                    <a:pt x="443" y="241"/>
                  </a:lnTo>
                  <a:lnTo>
                    <a:pt x="433" y="255"/>
                  </a:lnTo>
                  <a:lnTo>
                    <a:pt x="428" y="257"/>
                  </a:lnTo>
                  <a:lnTo>
                    <a:pt x="438" y="255"/>
                  </a:lnTo>
                  <a:lnTo>
                    <a:pt x="431" y="259"/>
                  </a:lnTo>
                  <a:lnTo>
                    <a:pt x="428" y="263"/>
                  </a:lnTo>
                  <a:lnTo>
                    <a:pt x="444" y="256"/>
                  </a:lnTo>
                  <a:close/>
                </a:path>
              </a:pathLst>
            </a:custGeom>
            <a:solidFill>
              <a:schemeClr val="bg1">
                <a:lumMod val="75000"/>
              </a:scheme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6" name="Freeform 386">
              <a:extLst>
                <a:ext uri="{FF2B5EF4-FFF2-40B4-BE49-F238E27FC236}">
                  <a16:creationId xmlns:a16="http://schemas.microsoft.com/office/drawing/2014/main" id="{346ACD1D-F6B9-34CC-B9D2-54875AFAE942}"/>
                </a:ext>
              </a:extLst>
            </p:cNvPr>
            <p:cNvSpPr>
              <a:spLocks/>
            </p:cNvSpPr>
            <p:nvPr/>
          </p:nvSpPr>
          <p:spPr bwMode="auto">
            <a:xfrm>
              <a:off x="451700" y="1912164"/>
              <a:ext cx="75160" cy="42522"/>
            </a:xfrm>
            <a:custGeom>
              <a:avLst/>
              <a:gdLst>
                <a:gd name="T0" fmla="*/ 12813 w 39"/>
                <a:gd name="T1" fmla="*/ 332609 h 22"/>
                <a:gd name="T2" fmla="*/ 11305 w 39"/>
                <a:gd name="T3" fmla="*/ 236045 h 22"/>
                <a:gd name="T4" fmla="*/ 12022 w 39"/>
                <a:gd name="T5" fmla="*/ 118882 h 22"/>
                <a:gd name="T6" fmla="*/ 11305 w 39"/>
                <a:gd name="T7" fmla="*/ 84368 h 22"/>
                <a:gd name="T8" fmla="*/ 9769 w 39"/>
                <a:gd name="T9" fmla="*/ 0 h 22"/>
                <a:gd name="T10" fmla="*/ 9381 w 39"/>
                <a:gd name="T11" fmla="*/ 206607 h 22"/>
                <a:gd name="T12" fmla="*/ 7784 w 39"/>
                <a:gd name="T13" fmla="*/ 206607 h 22"/>
                <a:gd name="T14" fmla="*/ 6299 w 39"/>
                <a:gd name="T15" fmla="*/ 206607 h 22"/>
                <a:gd name="T16" fmla="*/ 4337 w 39"/>
                <a:gd name="T17" fmla="*/ 507577 h 22"/>
                <a:gd name="T18" fmla="*/ 3599 w 39"/>
                <a:gd name="T19" fmla="*/ 236045 h 22"/>
                <a:gd name="T20" fmla="*/ 1 w 39"/>
                <a:gd name="T21" fmla="*/ 578046 h 22"/>
                <a:gd name="T22" fmla="*/ 1 w 39"/>
                <a:gd name="T23" fmla="*/ 799685 h 22"/>
                <a:gd name="T24" fmla="*/ 1000 w 39"/>
                <a:gd name="T25" fmla="*/ 619825 h 22"/>
                <a:gd name="T26" fmla="*/ 2109 w 39"/>
                <a:gd name="T27" fmla="*/ 660407 h 22"/>
                <a:gd name="T28" fmla="*/ 0 w 39"/>
                <a:gd name="T29" fmla="*/ 916600 h 22"/>
                <a:gd name="T30" fmla="*/ 2542 w 39"/>
                <a:gd name="T31" fmla="*/ 660407 h 22"/>
                <a:gd name="T32" fmla="*/ 7784 w 39"/>
                <a:gd name="T33" fmla="*/ 507577 h 22"/>
                <a:gd name="T34" fmla="*/ 8940 w 39"/>
                <a:gd name="T35" fmla="*/ 364986 h 22"/>
                <a:gd name="T36" fmla="*/ 12813 w 39"/>
                <a:gd name="T37" fmla="*/ 332609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
                <a:gd name="T58" fmla="*/ 0 h 22"/>
                <a:gd name="T59" fmla="*/ 39 w 39"/>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 h="22">
                  <a:moveTo>
                    <a:pt x="39" y="8"/>
                  </a:moveTo>
                  <a:lnTo>
                    <a:pt x="35" y="6"/>
                  </a:lnTo>
                  <a:lnTo>
                    <a:pt x="37" y="3"/>
                  </a:lnTo>
                  <a:lnTo>
                    <a:pt x="35" y="2"/>
                  </a:lnTo>
                  <a:lnTo>
                    <a:pt x="30" y="0"/>
                  </a:lnTo>
                  <a:lnTo>
                    <a:pt x="29" y="5"/>
                  </a:lnTo>
                  <a:lnTo>
                    <a:pt x="24" y="5"/>
                  </a:lnTo>
                  <a:lnTo>
                    <a:pt x="19" y="5"/>
                  </a:lnTo>
                  <a:lnTo>
                    <a:pt x="13" y="12"/>
                  </a:lnTo>
                  <a:lnTo>
                    <a:pt x="11" y="6"/>
                  </a:lnTo>
                  <a:lnTo>
                    <a:pt x="1" y="14"/>
                  </a:lnTo>
                  <a:lnTo>
                    <a:pt x="1" y="19"/>
                  </a:lnTo>
                  <a:lnTo>
                    <a:pt x="3" y="15"/>
                  </a:lnTo>
                  <a:lnTo>
                    <a:pt x="7" y="16"/>
                  </a:lnTo>
                  <a:lnTo>
                    <a:pt x="0" y="22"/>
                  </a:lnTo>
                  <a:lnTo>
                    <a:pt x="8" y="16"/>
                  </a:lnTo>
                  <a:lnTo>
                    <a:pt x="24" y="12"/>
                  </a:lnTo>
                  <a:lnTo>
                    <a:pt x="27" y="9"/>
                  </a:lnTo>
                  <a:lnTo>
                    <a:pt x="39" y="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7" name="Freeform 387">
              <a:extLst>
                <a:ext uri="{FF2B5EF4-FFF2-40B4-BE49-F238E27FC236}">
                  <a16:creationId xmlns:a16="http://schemas.microsoft.com/office/drawing/2014/main" id="{16FDED5A-4B96-F35B-3C2B-1C71428688A7}"/>
                </a:ext>
              </a:extLst>
            </p:cNvPr>
            <p:cNvSpPr>
              <a:spLocks/>
            </p:cNvSpPr>
            <p:nvPr/>
          </p:nvSpPr>
          <p:spPr bwMode="auto">
            <a:xfrm>
              <a:off x="272594" y="1723854"/>
              <a:ext cx="65565" cy="24297"/>
            </a:xfrm>
            <a:custGeom>
              <a:avLst/>
              <a:gdLst>
                <a:gd name="T0" fmla="*/ 27474 w 33"/>
                <a:gd name="T1" fmla="*/ 407261 h 12"/>
                <a:gd name="T2" fmla="*/ 13710 w 33"/>
                <a:gd name="T3" fmla="*/ 580607 h 12"/>
                <a:gd name="T4" fmla="*/ 8375 w 33"/>
                <a:gd name="T5" fmla="*/ 244447 h 12"/>
                <a:gd name="T6" fmla="*/ 9203 w 33"/>
                <a:gd name="T7" fmla="*/ 407261 h 12"/>
                <a:gd name="T8" fmla="*/ 0 w 33"/>
                <a:gd name="T9" fmla="*/ 407261 h 12"/>
                <a:gd name="T10" fmla="*/ 3109 w 33"/>
                <a:gd name="T11" fmla="*/ 111674 h 12"/>
                <a:gd name="T12" fmla="*/ 14206 w 33"/>
                <a:gd name="T13" fmla="*/ 0 h 12"/>
                <a:gd name="T14" fmla="*/ 27474 w 33"/>
                <a:gd name="T15" fmla="*/ 407261 h 12"/>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2"/>
                <a:gd name="T26" fmla="*/ 33 w 33"/>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2">
                  <a:moveTo>
                    <a:pt x="33" y="8"/>
                  </a:moveTo>
                  <a:lnTo>
                    <a:pt x="16" y="12"/>
                  </a:lnTo>
                  <a:lnTo>
                    <a:pt x="10" y="5"/>
                  </a:lnTo>
                  <a:lnTo>
                    <a:pt x="11" y="8"/>
                  </a:lnTo>
                  <a:lnTo>
                    <a:pt x="0" y="8"/>
                  </a:lnTo>
                  <a:lnTo>
                    <a:pt x="4" y="2"/>
                  </a:lnTo>
                  <a:lnTo>
                    <a:pt x="17" y="0"/>
                  </a:lnTo>
                  <a:lnTo>
                    <a:pt x="33" y="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8" name="Freeform 388">
              <a:extLst>
                <a:ext uri="{FF2B5EF4-FFF2-40B4-BE49-F238E27FC236}">
                  <a16:creationId xmlns:a16="http://schemas.microsoft.com/office/drawing/2014/main" id="{BF26FC60-62CC-D1C8-8867-07AC0CE56A2E}"/>
                </a:ext>
              </a:extLst>
            </p:cNvPr>
            <p:cNvSpPr>
              <a:spLocks/>
            </p:cNvSpPr>
            <p:nvPr/>
          </p:nvSpPr>
          <p:spPr bwMode="auto">
            <a:xfrm>
              <a:off x="928249" y="1966833"/>
              <a:ext cx="30383" cy="59227"/>
            </a:xfrm>
            <a:custGeom>
              <a:avLst/>
              <a:gdLst>
                <a:gd name="T0" fmla="*/ 2002 w 16"/>
                <a:gd name="T1" fmla="*/ 2554195 h 29"/>
                <a:gd name="T2" fmla="*/ 1420 w 16"/>
                <a:gd name="T3" fmla="*/ 2792261 h 29"/>
                <a:gd name="T4" fmla="*/ 1196 w 16"/>
                <a:gd name="T5" fmla="*/ 2135214 h 29"/>
                <a:gd name="T6" fmla="*/ 0 w 16"/>
                <a:gd name="T7" fmla="*/ 1873837 h 29"/>
                <a:gd name="T8" fmla="*/ 1196 w 16"/>
                <a:gd name="T9" fmla="*/ 1763611 h 29"/>
                <a:gd name="T10" fmla="*/ 1879 w 16"/>
                <a:gd name="T11" fmla="*/ 1293840 h 29"/>
                <a:gd name="T12" fmla="*/ 848 w 16"/>
                <a:gd name="T13" fmla="*/ 1293840 h 29"/>
                <a:gd name="T14" fmla="*/ 2002 w 16"/>
                <a:gd name="T15" fmla="*/ 893366 h 29"/>
                <a:gd name="T16" fmla="*/ 1879 w 16"/>
                <a:gd name="T17" fmla="*/ 294087 h 29"/>
                <a:gd name="T18" fmla="*/ 3146 w 16"/>
                <a:gd name="T19" fmla="*/ 0 h 29"/>
                <a:gd name="T20" fmla="*/ 3305 w 16"/>
                <a:gd name="T21" fmla="*/ 1474314 h 29"/>
                <a:gd name="T22" fmla="*/ 3146 w 16"/>
                <a:gd name="T23" fmla="*/ 1293840 h 29"/>
                <a:gd name="T24" fmla="*/ 2649 w 16"/>
                <a:gd name="T25" fmla="*/ 1533332 h 29"/>
                <a:gd name="T26" fmla="*/ 2002 w 16"/>
                <a:gd name="T27" fmla="*/ 2554195 h 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29"/>
                <a:gd name="T44" fmla="*/ 16 w 16"/>
                <a:gd name="T45" fmla="*/ 29 h 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29">
                  <a:moveTo>
                    <a:pt x="10" y="26"/>
                  </a:moveTo>
                  <a:lnTo>
                    <a:pt x="7" y="29"/>
                  </a:lnTo>
                  <a:lnTo>
                    <a:pt x="6" y="22"/>
                  </a:lnTo>
                  <a:lnTo>
                    <a:pt x="0" y="19"/>
                  </a:lnTo>
                  <a:lnTo>
                    <a:pt x="6" y="18"/>
                  </a:lnTo>
                  <a:lnTo>
                    <a:pt x="9" y="13"/>
                  </a:lnTo>
                  <a:lnTo>
                    <a:pt x="4" y="13"/>
                  </a:lnTo>
                  <a:lnTo>
                    <a:pt x="10" y="9"/>
                  </a:lnTo>
                  <a:lnTo>
                    <a:pt x="9" y="3"/>
                  </a:lnTo>
                  <a:lnTo>
                    <a:pt x="15" y="0"/>
                  </a:lnTo>
                  <a:lnTo>
                    <a:pt x="16" y="15"/>
                  </a:lnTo>
                  <a:lnTo>
                    <a:pt x="15" y="13"/>
                  </a:lnTo>
                  <a:lnTo>
                    <a:pt x="13" y="16"/>
                  </a:lnTo>
                  <a:lnTo>
                    <a:pt x="10" y="26"/>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29" name="Freeform 389">
              <a:extLst>
                <a:ext uri="{FF2B5EF4-FFF2-40B4-BE49-F238E27FC236}">
                  <a16:creationId xmlns:a16="http://schemas.microsoft.com/office/drawing/2014/main" id="{1BEC6322-AB01-F97C-CD3D-AC95BD11597E}"/>
                </a:ext>
              </a:extLst>
            </p:cNvPr>
            <p:cNvSpPr>
              <a:spLocks/>
            </p:cNvSpPr>
            <p:nvPr/>
          </p:nvSpPr>
          <p:spPr bwMode="auto">
            <a:xfrm>
              <a:off x="945839" y="1903051"/>
              <a:ext cx="38380" cy="39484"/>
            </a:xfrm>
            <a:custGeom>
              <a:avLst/>
              <a:gdLst>
                <a:gd name="T0" fmla="*/ 26007 w 19"/>
                <a:gd name="T1" fmla="*/ 424689 h 20"/>
                <a:gd name="T2" fmla="*/ 17414 w 19"/>
                <a:gd name="T3" fmla="*/ 435694 h 20"/>
                <a:gd name="T4" fmla="*/ 0 w 19"/>
                <a:gd name="T5" fmla="*/ 676796 h 20"/>
                <a:gd name="T6" fmla="*/ 4287 w 19"/>
                <a:gd name="T7" fmla="*/ 529249 h 20"/>
                <a:gd name="T8" fmla="*/ 17414 w 19"/>
                <a:gd name="T9" fmla="*/ 0 h 20"/>
                <a:gd name="T10" fmla="*/ 26453 w 19"/>
                <a:gd name="T11" fmla="*/ 67036 h 20"/>
                <a:gd name="T12" fmla="*/ 26007 w 19"/>
                <a:gd name="T13" fmla="*/ 424689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18" y="12"/>
                  </a:moveTo>
                  <a:lnTo>
                    <a:pt x="13" y="13"/>
                  </a:lnTo>
                  <a:lnTo>
                    <a:pt x="0" y="20"/>
                  </a:lnTo>
                  <a:lnTo>
                    <a:pt x="3" y="16"/>
                  </a:lnTo>
                  <a:lnTo>
                    <a:pt x="13" y="0"/>
                  </a:lnTo>
                  <a:lnTo>
                    <a:pt x="19" y="2"/>
                  </a:lnTo>
                  <a:lnTo>
                    <a:pt x="18" y="12"/>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0" name="Freeform 390">
              <a:extLst>
                <a:ext uri="{FF2B5EF4-FFF2-40B4-BE49-F238E27FC236}">
                  <a16:creationId xmlns:a16="http://schemas.microsoft.com/office/drawing/2014/main" id="{E2E422F8-A4FB-D52B-3674-6F56FC731BCD}"/>
                </a:ext>
              </a:extLst>
            </p:cNvPr>
            <p:cNvSpPr>
              <a:spLocks/>
            </p:cNvSpPr>
            <p:nvPr/>
          </p:nvSpPr>
          <p:spPr bwMode="auto">
            <a:xfrm>
              <a:off x="101483" y="2010874"/>
              <a:ext cx="49575" cy="21260"/>
            </a:xfrm>
            <a:custGeom>
              <a:avLst/>
              <a:gdLst>
                <a:gd name="T0" fmla="*/ 6002 w 26"/>
                <a:gd name="T1" fmla="*/ 1888110 h 10"/>
                <a:gd name="T2" fmla="*/ 4962 w 26"/>
                <a:gd name="T3" fmla="*/ 0 h 10"/>
                <a:gd name="T4" fmla="*/ 0 w 26"/>
                <a:gd name="T5" fmla="*/ 2622415 h 10"/>
                <a:gd name="T6" fmla="*/ 1213 w 26"/>
                <a:gd name="T7" fmla="*/ 2832165 h 10"/>
                <a:gd name="T8" fmla="*/ 6002 w 26"/>
                <a:gd name="T9" fmla="*/ 1888110 h 10"/>
                <a:gd name="T10" fmla="*/ 0 60000 65536"/>
                <a:gd name="T11" fmla="*/ 0 60000 65536"/>
                <a:gd name="T12" fmla="*/ 0 60000 65536"/>
                <a:gd name="T13" fmla="*/ 0 60000 65536"/>
                <a:gd name="T14" fmla="*/ 0 60000 65536"/>
                <a:gd name="T15" fmla="*/ 0 w 26"/>
                <a:gd name="T16" fmla="*/ 0 h 10"/>
                <a:gd name="T17" fmla="*/ 26 w 26"/>
                <a:gd name="T18" fmla="*/ 10 h 10"/>
              </a:gdLst>
              <a:ahLst/>
              <a:cxnLst>
                <a:cxn ang="T10">
                  <a:pos x="T0" y="T1"/>
                </a:cxn>
                <a:cxn ang="T11">
                  <a:pos x="T2" y="T3"/>
                </a:cxn>
                <a:cxn ang="T12">
                  <a:pos x="T4" y="T5"/>
                </a:cxn>
                <a:cxn ang="T13">
                  <a:pos x="T6" y="T7"/>
                </a:cxn>
                <a:cxn ang="T14">
                  <a:pos x="T8" y="T9"/>
                </a:cxn>
              </a:cxnLst>
              <a:rect l="T15" t="T16" r="T17" b="T18"/>
              <a:pathLst>
                <a:path w="26" h="10">
                  <a:moveTo>
                    <a:pt x="26" y="7"/>
                  </a:moveTo>
                  <a:lnTo>
                    <a:pt x="21" y="0"/>
                  </a:lnTo>
                  <a:lnTo>
                    <a:pt x="0" y="9"/>
                  </a:lnTo>
                  <a:lnTo>
                    <a:pt x="5" y="10"/>
                  </a:lnTo>
                  <a:lnTo>
                    <a:pt x="26" y="7"/>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1" name="Freeform 391">
              <a:extLst>
                <a:ext uri="{FF2B5EF4-FFF2-40B4-BE49-F238E27FC236}">
                  <a16:creationId xmlns:a16="http://schemas.microsoft.com/office/drawing/2014/main" id="{79723B0D-0C67-7453-7AFA-2AD5F6F850E7}"/>
                </a:ext>
              </a:extLst>
            </p:cNvPr>
            <p:cNvSpPr>
              <a:spLocks/>
            </p:cNvSpPr>
            <p:nvPr/>
          </p:nvSpPr>
          <p:spPr bwMode="auto">
            <a:xfrm>
              <a:off x="243808" y="1831677"/>
              <a:ext cx="36780" cy="19741"/>
            </a:xfrm>
            <a:custGeom>
              <a:avLst/>
              <a:gdLst>
                <a:gd name="T0" fmla="*/ 1502 w 20"/>
                <a:gd name="T1" fmla="*/ 7131942 h 9"/>
                <a:gd name="T2" fmla="*/ 988 w 20"/>
                <a:gd name="T3" fmla="*/ 8027183 h 9"/>
                <a:gd name="T4" fmla="*/ 0 w 20"/>
                <a:gd name="T5" fmla="*/ 4584822 h 9"/>
                <a:gd name="T6" fmla="*/ 1502 w 20"/>
                <a:gd name="T7" fmla="*/ 0 h 9"/>
                <a:gd name="T8" fmla="*/ 1502 w 20"/>
                <a:gd name="T9" fmla="*/ 7131942 h 9"/>
                <a:gd name="T10" fmla="*/ 0 60000 65536"/>
                <a:gd name="T11" fmla="*/ 0 60000 65536"/>
                <a:gd name="T12" fmla="*/ 0 60000 65536"/>
                <a:gd name="T13" fmla="*/ 0 60000 65536"/>
                <a:gd name="T14" fmla="*/ 0 60000 65536"/>
                <a:gd name="T15" fmla="*/ 0 w 20"/>
                <a:gd name="T16" fmla="*/ 0 h 9"/>
                <a:gd name="T17" fmla="*/ 20 w 20"/>
                <a:gd name="T18" fmla="*/ 9 h 9"/>
              </a:gdLst>
              <a:ahLst/>
              <a:cxnLst>
                <a:cxn ang="T10">
                  <a:pos x="T0" y="T1"/>
                </a:cxn>
                <a:cxn ang="T11">
                  <a:pos x="T2" y="T3"/>
                </a:cxn>
                <a:cxn ang="T12">
                  <a:pos x="T4" y="T5"/>
                </a:cxn>
                <a:cxn ang="T13">
                  <a:pos x="T6" y="T7"/>
                </a:cxn>
                <a:cxn ang="T14">
                  <a:pos x="T8" y="T9"/>
                </a:cxn>
              </a:cxnLst>
              <a:rect l="T15" t="T16" r="T17" b="T18"/>
              <a:pathLst>
                <a:path w="20" h="9">
                  <a:moveTo>
                    <a:pt x="20" y="8"/>
                  </a:moveTo>
                  <a:lnTo>
                    <a:pt x="13" y="9"/>
                  </a:lnTo>
                  <a:lnTo>
                    <a:pt x="0" y="5"/>
                  </a:lnTo>
                  <a:lnTo>
                    <a:pt x="20" y="0"/>
                  </a:lnTo>
                  <a:lnTo>
                    <a:pt x="20" y="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2" name="Freeform 392">
              <a:extLst>
                <a:ext uri="{FF2B5EF4-FFF2-40B4-BE49-F238E27FC236}">
                  <a16:creationId xmlns:a16="http://schemas.microsoft.com/office/drawing/2014/main" id="{84D9355C-EDD6-C68F-7C24-B73D800C7001}"/>
                </a:ext>
              </a:extLst>
            </p:cNvPr>
            <p:cNvSpPr>
              <a:spLocks/>
            </p:cNvSpPr>
            <p:nvPr/>
          </p:nvSpPr>
          <p:spPr bwMode="auto">
            <a:xfrm>
              <a:off x="926650" y="1903051"/>
              <a:ext cx="31983" cy="30373"/>
            </a:xfrm>
            <a:custGeom>
              <a:avLst/>
              <a:gdLst>
                <a:gd name="T0" fmla="*/ 2073 w 17"/>
                <a:gd name="T1" fmla="*/ 1851165 h 15"/>
                <a:gd name="T2" fmla="*/ 1964 w 17"/>
                <a:gd name="T3" fmla="*/ 1449602 h 15"/>
                <a:gd name="T4" fmla="*/ 1206 w 17"/>
                <a:gd name="T5" fmla="*/ 860562 h 15"/>
                <a:gd name="T6" fmla="*/ 2674 w 17"/>
                <a:gd name="T7" fmla="*/ 988365 h 15"/>
                <a:gd name="T8" fmla="*/ 2439 w 17"/>
                <a:gd name="T9" fmla="*/ 860562 h 15"/>
                <a:gd name="T10" fmla="*/ 1669 w 17"/>
                <a:gd name="T11" fmla="*/ 860562 h 15"/>
                <a:gd name="T12" fmla="*/ 2073 w 17"/>
                <a:gd name="T13" fmla="*/ 0 h 15"/>
                <a:gd name="T14" fmla="*/ 740 w 17"/>
                <a:gd name="T15" fmla="*/ 400055 h 15"/>
                <a:gd name="T16" fmla="*/ 629 w 17"/>
                <a:gd name="T17" fmla="*/ 988365 h 15"/>
                <a:gd name="T18" fmla="*/ 0 w 17"/>
                <a:gd name="T19" fmla="*/ 988365 h 15"/>
                <a:gd name="T20" fmla="*/ 535 w 17"/>
                <a:gd name="T21" fmla="*/ 2126083 h 15"/>
                <a:gd name="T22" fmla="*/ 740 w 17"/>
                <a:gd name="T23" fmla="*/ 1262158 h 15"/>
                <a:gd name="T24" fmla="*/ 2073 w 17"/>
                <a:gd name="T25" fmla="*/ 185116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15"/>
                <a:gd name="T41" fmla="*/ 17 w 17"/>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15">
                  <a:moveTo>
                    <a:pt x="14" y="13"/>
                  </a:moveTo>
                  <a:lnTo>
                    <a:pt x="13" y="10"/>
                  </a:lnTo>
                  <a:lnTo>
                    <a:pt x="8" y="6"/>
                  </a:lnTo>
                  <a:lnTo>
                    <a:pt x="17" y="7"/>
                  </a:lnTo>
                  <a:lnTo>
                    <a:pt x="16" y="6"/>
                  </a:lnTo>
                  <a:lnTo>
                    <a:pt x="11" y="6"/>
                  </a:lnTo>
                  <a:lnTo>
                    <a:pt x="14" y="0"/>
                  </a:lnTo>
                  <a:lnTo>
                    <a:pt x="5" y="3"/>
                  </a:lnTo>
                  <a:lnTo>
                    <a:pt x="4" y="7"/>
                  </a:lnTo>
                  <a:lnTo>
                    <a:pt x="0" y="7"/>
                  </a:lnTo>
                  <a:lnTo>
                    <a:pt x="3" y="15"/>
                  </a:lnTo>
                  <a:lnTo>
                    <a:pt x="5" y="9"/>
                  </a:lnTo>
                  <a:lnTo>
                    <a:pt x="14" y="1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3" name="Freeform 393">
              <a:extLst>
                <a:ext uri="{FF2B5EF4-FFF2-40B4-BE49-F238E27FC236}">
                  <a16:creationId xmlns:a16="http://schemas.microsoft.com/office/drawing/2014/main" id="{751DC28B-9FE3-DBD6-326D-73402BCE537E}"/>
                </a:ext>
              </a:extLst>
            </p:cNvPr>
            <p:cNvSpPr>
              <a:spLocks/>
            </p:cNvSpPr>
            <p:nvPr/>
          </p:nvSpPr>
          <p:spPr bwMode="auto">
            <a:xfrm>
              <a:off x="920252" y="1928869"/>
              <a:ext cx="20790" cy="42522"/>
            </a:xfrm>
            <a:custGeom>
              <a:avLst/>
              <a:gdLst>
                <a:gd name="T0" fmla="*/ 0 w 11"/>
                <a:gd name="T1" fmla="*/ 3690016 h 21"/>
                <a:gd name="T2" fmla="*/ 1889 w 11"/>
                <a:gd name="T3" fmla="*/ 0 h 21"/>
                <a:gd name="T4" fmla="*/ 693 w 11"/>
                <a:gd name="T5" fmla="*/ 794263 h 21"/>
                <a:gd name="T6" fmla="*/ 0 w 11"/>
                <a:gd name="T7" fmla="*/ 3690016 h 21"/>
                <a:gd name="T8" fmla="*/ 0 60000 65536"/>
                <a:gd name="T9" fmla="*/ 0 60000 65536"/>
                <a:gd name="T10" fmla="*/ 0 60000 65536"/>
                <a:gd name="T11" fmla="*/ 0 60000 65536"/>
                <a:gd name="T12" fmla="*/ 0 w 11"/>
                <a:gd name="T13" fmla="*/ 0 h 21"/>
                <a:gd name="T14" fmla="*/ 11 w 11"/>
                <a:gd name="T15" fmla="*/ 21 h 21"/>
              </a:gdLst>
              <a:ahLst/>
              <a:cxnLst>
                <a:cxn ang="T8">
                  <a:pos x="T0" y="T1"/>
                </a:cxn>
                <a:cxn ang="T9">
                  <a:pos x="T2" y="T3"/>
                </a:cxn>
                <a:cxn ang="T10">
                  <a:pos x="T4" y="T5"/>
                </a:cxn>
                <a:cxn ang="T11">
                  <a:pos x="T6" y="T7"/>
                </a:cxn>
              </a:cxnLst>
              <a:rect l="T12" t="T13" r="T14" b="T15"/>
              <a:pathLst>
                <a:path w="11" h="21">
                  <a:moveTo>
                    <a:pt x="0" y="21"/>
                  </a:moveTo>
                  <a:lnTo>
                    <a:pt x="11" y="0"/>
                  </a:lnTo>
                  <a:lnTo>
                    <a:pt x="4" y="5"/>
                  </a:lnTo>
                  <a:lnTo>
                    <a:pt x="0" y="21"/>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4" name="Freeform 394">
              <a:extLst>
                <a:ext uri="{FF2B5EF4-FFF2-40B4-BE49-F238E27FC236}">
                  <a16:creationId xmlns:a16="http://schemas.microsoft.com/office/drawing/2014/main" id="{3F2CC8B8-18F2-8939-6626-5BF443EE160E}"/>
                </a:ext>
              </a:extLst>
            </p:cNvPr>
            <p:cNvSpPr>
              <a:spLocks/>
            </p:cNvSpPr>
            <p:nvPr/>
          </p:nvSpPr>
          <p:spPr bwMode="auto">
            <a:xfrm>
              <a:off x="957034" y="1942536"/>
              <a:ext cx="20789" cy="22779"/>
            </a:xfrm>
            <a:custGeom>
              <a:avLst/>
              <a:gdLst>
                <a:gd name="T0" fmla="*/ 1824 w 11"/>
                <a:gd name="T1" fmla="*/ 889308 h 11"/>
                <a:gd name="T2" fmla="*/ 1889 w 11"/>
                <a:gd name="T3" fmla="*/ 545951 h 11"/>
                <a:gd name="T4" fmla="*/ 693 w 11"/>
                <a:gd name="T5" fmla="*/ 0 h 11"/>
                <a:gd name="T6" fmla="*/ 0 w 11"/>
                <a:gd name="T7" fmla="*/ 889308 h 11"/>
                <a:gd name="T8" fmla="*/ 693 w 11"/>
                <a:gd name="T9" fmla="*/ 1189809 h 11"/>
                <a:gd name="T10" fmla="*/ 1144 w 11"/>
                <a:gd name="T11" fmla="*/ 703069 h 11"/>
                <a:gd name="T12" fmla="*/ 1824 w 11"/>
                <a:gd name="T13" fmla="*/ 889308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10" y="8"/>
                  </a:moveTo>
                  <a:lnTo>
                    <a:pt x="11" y="5"/>
                  </a:lnTo>
                  <a:lnTo>
                    <a:pt x="4" y="0"/>
                  </a:lnTo>
                  <a:lnTo>
                    <a:pt x="0" y="8"/>
                  </a:lnTo>
                  <a:lnTo>
                    <a:pt x="4" y="11"/>
                  </a:lnTo>
                  <a:lnTo>
                    <a:pt x="7" y="6"/>
                  </a:lnTo>
                  <a:lnTo>
                    <a:pt x="10" y="8"/>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5" name="Freeform 395">
              <a:extLst>
                <a:ext uri="{FF2B5EF4-FFF2-40B4-BE49-F238E27FC236}">
                  <a16:creationId xmlns:a16="http://schemas.microsoft.com/office/drawing/2014/main" id="{398D380C-7AD7-2843-9A03-6C4C0756F284}"/>
                </a:ext>
              </a:extLst>
            </p:cNvPr>
            <p:cNvSpPr>
              <a:spLocks/>
            </p:cNvSpPr>
            <p:nvPr/>
          </p:nvSpPr>
          <p:spPr bwMode="auto">
            <a:xfrm>
              <a:off x="931447" y="1951647"/>
              <a:ext cx="22389" cy="21260"/>
            </a:xfrm>
            <a:custGeom>
              <a:avLst/>
              <a:gdLst>
                <a:gd name="T0" fmla="*/ 19632 w 11"/>
                <a:gd name="T1" fmla="*/ 777012 h 10"/>
                <a:gd name="T2" fmla="*/ 0 w 11"/>
                <a:gd name="T3" fmla="*/ 2832165 h 10"/>
                <a:gd name="T4" fmla="*/ 9271 w 11"/>
                <a:gd name="T5" fmla="*/ 0 h 10"/>
                <a:gd name="T6" fmla="*/ 19632 w 11"/>
                <a:gd name="T7" fmla="*/ 777012 h 10"/>
                <a:gd name="T8" fmla="*/ 0 60000 65536"/>
                <a:gd name="T9" fmla="*/ 0 60000 65536"/>
                <a:gd name="T10" fmla="*/ 0 60000 65536"/>
                <a:gd name="T11" fmla="*/ 0 60000 65536"/>
                <a:gd name="T12" fmla="*/ 0 w 11"/>
                <a:gd name="T13" fmla="*/ 0 h 10"/>
                <a:gd name="T14" fmla="*/ 11 w 11"/>
                <a:gd name="T15" fmla="*/ 10 h 10"/>
              </a:gdLst>
              <a:ahLst/>
              <a:cxnLst>
                <a:cxn ang="T8">
                  <a:pos x="T0" y="T1"/>
                </a:cxn>
                <a:cxn ang="T9">
                  <a:pos x="T2" y="T3"/>
                </a:cxn>
                <a:cxn ang="T10">
                  <a:pos x="T4" y="T5"/>
                </a:cxn>
                <a:cxn ang="T11">
                  <a:pos x="T6" y="T7"/>
                </a:cxn>
              </a:cxnLst>
              <a:rect l="T12" t="T13" r="T14" b="T15"/>
              <a:pathLst>
                <a:path w="11" h="10">
                  <a:moveTo>
                    <a:pt x="11" y="3"/>
                  </a:moveTo>
                  <a:lnTo>
                    <a:pt x="0" y="10"/>
                  </a:lnTo>
                  <a:lnTo>
                    <a:pt x="5" y="0"/>
                  </a:lnTo>
                  <a:lnTo>
                    <a:pt x="11" y="3"/>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6" name="Freeform 396">
              <a:extLst>
                <a:ext uri="{FF2B5EF4-FFF2-40B4-BE49-F238E27FC236}">
                  <a16:creationId xmlns:a16="http://schemas.microsoft.com/office/drawing/2014/main" id="{8538CAB0-38B9-C623-53B6-52C73548C33A}"/>
                </a:ext>
              </a:extLst>
            </p:cNvPr>
            <p:cNvSpPr>
              <a:spLocks/>
            </p:cNvSpPr>
            <p:nvPr/>
          </p:nvSpPr>
          <p:spPr bwMode="auto">
            <a:xfrm>
              <a:off x="2233164" y="2501387"/>
              <a:ext cx="65565" cy="15186"/>
            </a:xfrm>
            <a:custGeom>
              <a:avLst/>
              <a:gdLst>
                <a:gd name="T0" fmla="*/ 4700 w 35"/>
                <a:gd name="T1" fmla="*/ 0 h 7"/>
                <a:gd name="T2" fmla="*/ 3425 w 35"/>
                <a:gd name="T3" fmla="*/ 204471 h 7"/>
                <a:gd name="T4" fmla="*/ 3863 w 35"/>
                <a:gd name="T5" fmla="*/ 0 h 7"/>
                <a:gd name="T6" fmla="*/ 0 w 35"/>
                <a:gd name="T7" fmla="*/ 438027 h 7"/>
                <a:gd name="T8" fmla="*/ 2249 w 35"/>
                <a:gd name="T9" fmla="*/ 292101 h 7"/>
                <a:gd name="T10" fmla="*/ 4700 w 35"/>
                <a:gd name="T11" fmla="*/ 0 h 7"/>
                <a:gd name="T12" fmla="*/ 0 60000 65536"/>
                <a:gd name="T13" fmla="*/ 0 60000 65536"/>
                <a:gd name="T14" fmla="*/ 0 60000 65536"/>
                <a:gd name="T15" fmla="*/ 0 60000 65536"/>
                <a:gd name="T16" fmla="*/ 0 60000 65536"/>
                <a:gd name="T17" fmla="*/ 0 60000 65536"/>
                <a:gd name="T18" fmla="*/ 0 w 35"/>
                <a:gd name="T19" fmla="*/ 0 h 7"/>
                <a:gd name="T20" fmla="*/ 35 w 35"/>
                <a:gd name="T21" fmla="*/ 7 h 7"/>
              </a:gdLst>
              <a:ahLst/>
              <a:cxnLst>
                <a:cxn ang="T12">
                  <a:pos x="T0" y="T1"/>
                </a:cxn>
                <a:cxn ang="T13">
                  <a:pos x="T2" y="T3"/>
                </a:cxn>
                <a:cxn ang="T14">
                  <a:pos x="T4" y="T5"/>
                </a:cxn>
                <a:cxn ang="T15">
                  <a:pos x="T6" y="T7"/>
                </a:cxn>
                <a:cxn ang="T16">
                  <a:pos x="T8" y="T9"/>
                </a:cxn>
                <a:cxn ang="T17">
                  <a:pos x="T10" y="T11"/>
                </a:cxn>
              </a:cxnLst>
              <a:rect l="T18" t="T19" r="T20" b="T21"/>
              <a:pathLst>
                <a:path w="35" h="7">
                  <a:moveTo>
                    <a:pt x="35" y="0"/>
                  </a:moveTo>
                  <a:lnTo>
                    <a:pt x="26" y="3"/>
                  </a:lnTo>
                  <a:lnTo>
                    <a:pt x="28" y="0"/>
                  </a:lnTo>
                  <a:lnTo>
                    <a:pt x="0" y="7"/>
                  </a:lnTo>
                  <a:lnTo>
                    <a:pt x="17" y="4"/>
                  </a:lnTo>
                  <a:lnTo>
                    <a:pt x="35" y="0"/>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sp>
          <p:nvSpPr>
            <p:cNvPr id="337" name="Freeform 397">
              <a:extLst>
                <a:ext uri="{FF2B5EF4-FFF2-40B4-BE49-F238E27FC236}">
                  <a16:creationId xmlns:a16="http://schemas.microsoft.com/office/drawing/2014/main" id="{00F06EB3-2641-AEB2-7356-6C88E552CF2E}"/>
                </a:ext>
              </a:extLst>
            </p:cNvPr>
            <p:cNvSpPr>
              <a:spLocks/>
            </p:cNvSpPr>
            <p:nvPr/>
          </p:nvSpPr>
          <p:spPr bwMode="auto">
            <a:xfrm>
              <a:off x="3793945" y="2985827"/>
              <a:ext cx="252668" cy="252090"/>
            </a:xfrm>
            <a:custGeom>
              <a:avLst/>
              <a:gdLst>
                <a:gd name="T0" fmla="*/ 1 w 132"/>
                <a:gd name="T1" fmla="*/ 9253418 h 125"/>
                <a:gd name="T2" fmla="*/ 0 w 132"/>
                <a:gd name="T3" fmla="*/ 10131097 h 125"/>
                <a:gd name="T4" fmla="*/ 0 w 132"/>
                <a:gd name="T5" fmla="*/ 9253418 h 125"/>
                <a:gd name="T6" fmla="*/ 2614 w 132"/>
                <a:gd name="T7" fmla="*/ 7388860 h 125"/>
                <a:gd name="T8" fmla="*/ 5366 w 132"/>
                <a:gd name="T9" fmla="*/ 5604339 h 125"/>
                <a:gd name="T10" fmla="*/ 4483 w 132"/>
                <a:gd name="T11" fmla="*/ 5873057 h 125"/>
                <a:gd name="T12" fmla="*/ 7740 w 132"/>
                <a:gd name="T13" fmla="*/ 4737330 h 125"/>
                <a:gd name="T14" fmla="*/ 9265 w 132"/>
                <a:gd name="T15" fmla="*/ 3474772 h 125"/>
                <a:gd name="T16" fmla="*/ 11015 w 132"/>
                <a:gd name="T17" fmla="*/ 2413037 h 125"/>
                <a:gd name="T18" fmla="*/ 13721 w 132"/>
                <a:gd name="T19" fmla="*/ 1525830 h 125"/>
                <a:gd name="T20" fmla="*/ 16406 w 132"/>
                <a:gd name="T21" fmla="*/ 0 h 125"/>
                <a:gd name="T22" fmla="*/ 20905 w 132"/>
                <a:gd name="T23" fmla="*/ 0 h 125"/>
                <a:gd name="T24" fmla="*/ 25482 w 132"/>
                <a:gd name="T25" fmla="*/ 0 h 125"/>
                <a:gd name="T26" fmla="*/ 29952 w 132"/>
                <a:gd name="T27" fmla="*/ 0 h 125"/>
                <a:gd name="T28" fmla="*/ 34728 w 132"/>
                <a:gd name="T29" fmla="*/ 0 h 125"/>
                <a:gd name="T30" fmla="*/ 34728 w 132"/>
                <a:gd name="T31" fmla="*/ 547092 h 125"/>
                <a:gd name="T32" fmla="*/ 34472 w 132"/>
                <a:gd name="T33" fmla="*/ 2413037 h 125"/>
                <a:gd name="T34" fmla="*/ 30851 w 132"/>
                <a:gd name="T35" fmla="*/ 2413037 h 125"/>
                <a:gd name="T36" fmla="*/ 27868 w 132"/>
                <a:gd name="T37" fmla="*/ 2413037 h 125"/>
                <a:gd name="T38" fmla="*/ 24399 w 132"/>
                <a:gd name="T39" fmla="*/ 2413037 h 125"/>
                <a:gd name="T40" fmla="*/ 20905 w 132"/>
                <a:gd name="T41" fmla="*/ 2413037 h 125"/>
                <a:gd name="T42" fmla="*/ 20905 w 132"/>
                <a:gd name="T43" fmla="*/ 4261067 h 125"/>
                <a:gd name="T44" fmla="*/ 20384 w 132"/>
                <a:gd name="T45" fmla="*/ 6116885 h 125"/>
                <a:gd name="T46" fmla="*/ 16918 w 132"/>
                <a:gd name="T47" fmla="*/ 6821754 h 125"/>
                <a:gd name="T48" fmla="*/ 16406 w 132"/>
                <a:gd name="T49" fmla="*/ 7926896 h 125"/>
                <a:gd name="T50" fmla="*/ 16406 w 132"/>
                <a:gd name="T51" fmla="*/ 9253418 h 125"/>
                <a:gd name="T52" fmla="*/ 12414 w 132"/>
                <a:gd name="T53" fmla="*/ 9253418 h 125"/>
                <a:gd name="T54" fmla="*/ 8297 w 132"/>
                <a:gd name="T55" fmla="*/ 9253418 h 125"/>
                <a:gd name="T56" fmla="*/ 4437 w 132"/>
                <a:gd name="T57" fmla="*/ 9253418 h 125"/>
                <a:gd name="T58" fmla="*/ 1 w 132"/>
                <a:gd name="T59" fmla="*/ 9253418 h 12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2"/>
                <a:gd name="T91" fmla="*/ 0 h 125"/>
                <a:gd name="T92" fmla="*/ 132 w 132"/>
                <a:gd name="T93" fmla="*/ 125 h 12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2" h="125">
                  <a:moveTo>
                    <a:pt x="1" y="114"/>
                  </a:moveTo>
                  <a:lnTo>
                    <a:pt x="0" y="125"/>
                  </a:lnTo>
                  <a:lnTo>
                    <a:pt x="0" y="114"/>
                  </a:lnTo>
                  <a:lnTo>
                    <a:pt x="10" y="91"/>
                  </a:lnTo>
                  <a:lnTo>
                    <a:pt x="20" y="69"/>
                  </a:lnTo>
                  <a:lnTo>
                    <a:pt x="17" y="72"/>
                  </a:lnTo>
                  <a:lnTo>
                    <a:pt x="30" y="58"/>
                  </a:lnTo>
                  <a:lnTo>
                    <a:pt x="36" y="43"/>
                  </a:lnTo>
                  <a:lnTo>
                    <a:pt x="42" y="30"/>
                  </a:lnTo>
                  <a:lnTo>
                    <a:pt x="53" y="19"/>
                  </a:lnTo>
                  <a:lnTo>
                    <a:pt x="62" y="0"/>
                  </a:lnTo>
                  <a:lnTo>
                    <a:pt x="79" y="0"/>
                  </a:lnTo>
                  <a:lnTo>
                    <a:pt x="97" y="0"/>
                  </a:lnTo>
                  <a:lnTo>
                    <a:pt x="114" y="0"/>
                  </a:lnTo>
                  <a:lnTo>
                    <a:pt x="132" y="0"/>
                  </a:lnTo>
                  <a:lnTo>
                    <a:pt x="132" y="7"/>
                  </a:lnTo>
                  <a:lnTo>
                    <a:pt x="130" y="30"/>
                  </a:lnTo>
                  <a:lnTo>
                    <a:pt x="117" y="30"/>
                  </a:lnTo>
                  <a:lnTo>
                    <a:pt x="106" y="30"/>
                  </a:lnTo>
                  <a:lnTo>
                    <a:pt x="93" y="30"/>
                  </a:lnTo>
                  <a:lnTo>
                    <a:pt x="79" y="30"/>
                  </a:lnTo>
                  <a:lnTo>
                    <a:pt x="79" y="53"/>
                  </a:lnTo>
                  <a:lnTo>
                    <a:pt x="78" y="75"/>
                  </a:lnTo>
                  <a:lnTo>
                    <a:pt x="64" y="84"/>
                  </a:lnTo>
                  <a:lnTo>
                    <a:pt x="62" y="98"/>
                  </a:lnTo>
                  <a:lnTo>
                    <a:pt x="62" y="114"/>
                  </a:lnTo>
                  <a:lnTo>
                    <a:pt x="48" y="114"/>
                  </a:lnTo>
                  <a:lnTo>
                    <a:pt x="32" y="114"/>
                  </a:lnTo>
                  <a:lnTo>
                    <a:pt x="16" y="114"/>
                  </a:lnTo>
                  <a:lnTo>
                    <a:pt x="1" y="114"/>
                  </a:lnTo>
                  <a:close/>
                </a:path>
              </a:pathLst>
            </a:custGeom>
            <a:solidFill>
              <a:srgbClr val="8B8D8D">
                <a:lumMod val="40000"/>
                <a:lumOff val="60000"/>
              </a:srgbClr>
            </a:solidFill>
            <a:ln w="1651" cap="flat" cmpd="sng">
              <a:solidFill>
                <a:schemeClr val="bg1"/>
              </a:solidFill>
              <a:prstDash val="solid"/>
              <a:round/>
              <a:headEnd type="none" w="med" len="med"/>
              <a:tailEnd type="none" w="med" len="med"/>
            </a:ln>
          </p:spPr>
          <p:txBody>
            <a:bodyPr/>
            <a:lstStyle/>
            <a:p>
              <a:pPr marL="0" marR="0" lvl="0" indent="0" defTabSz="457200" eaLnBrk="0"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S PGothic" pitchFamily="34" charset="-128"/>
              </a:endParaRPr>
            </a:p>
          </p:txBody>
        </p:sp>
      </p:grpSp>
      <p:pic>
        <p:nvPicPr>
          <p:cNvPr id="461" name="Picture 460">
            <a:extLst>
              <a:ext uri="{FF2B5EF4-FFF2-40B4-BE49-F238E27FC236}">
                <a16:creationId xmlns:a16="http://schemas.microsoft.com/office/drawing/2014/main" id="{005DE31E-B699-21A2-F730-A3DFB39A09E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18233" y="3055883"/>
            <a:ext cx="231397" cy="285616"/>
          </a:xfrm>
          <a:prstGeom prst="rect">
            <a:avLst/>
          </a:prstGeom>
        </p:spPr>
      </p:pic>
      <p:pic>
        <p:nvPicPr>
          <p:cNvPr id="462" name="Picture 461">
            <a:extLst>
              <a:ext uri="{FF2B5EF4-FFF2-40B4-BE49-F238E27FC236}">
                <a16:creationId xmlns:a16="http://schemas.microsoft.com/office/drawing/2014/main" id="{4572503F-2353-B255-2CC4-DC04AC49D2C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83043" y="3262908"/>
            <a:ext cx="231397" cy="285616"/>
          </a:xfrm>
          <a:prstGeom prst="rect">
            <a:avLst/>
          </a:prstGeom>
        </p:spPr>
      </p:pic>
      <p:pic>
        <p:nvPicPr>
          <p:cNvPr id="463" name="Picture 462">
            <a:extLst>
              <a:ext uri="{FF2B5EF4-FFF2-40B4-BE49-F238E27FC236}">
                <a16:creationId xmlns:a16="http://schemas.microsoft.com/office/drawing/2014/main" id="{B3311104-6635-1503-5EB8-8FEA8F2A175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43011" y="3284768"/>
            <a:ext cx="231397" cy="285616"/>
          </a:xfrm>
          <a:prstGeom prst="rect">
            <a:avLst/>
          </a:prstGeom>
        </p:spPr>
      </p:pic>
      <p:pic>
        <p:nvPicPr>
          <p:cNvPr id="464" name="Picture 463">
            <a:extLst>
              <a:ext uri="{FF2B5EF4-FFF2-40B4-BE49-F238E27FC236}">
                <a16:creationId xmlns:a16="http://schemas.microsoft.com/office/drawing/2014/main" id="{1DE5D0E4-BF00-2417-D5E9-8BB8A7B25D3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14111" y="2014172"/>
            <a:ext cx="231397" cy="285616"/>
          </a:xfrm>
          <a:prstGeom prst="rect">
            <a:avLst/>
          </a:prstGeom>
        </p:spPr>
      </p:pic>
      <p:pic>
        <p:nvPicPr>
          <p:cNvPr id="465" name="Picture 464">
            <a:extLst>
              <a:ext uri="{FF2B5EF4-FFF2-40B4-BE49-F238E27FC236}">
                <a16:creationId xmlns:a16="http://schemas.microsoft.com/office/drawing/2014/main" id="{CF24DE11-C0A0-F049-FFC5-970828510A9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419295" y="2121086"/>
            <a:ext cx="231397" cy="285616"/>
          </a:xfrm>
          <a:prstGeom prst="rect">
            <a:avLst/>
          </a:prstGeom>
        </p:spPr>
      </p:pic>
      <p:pic>
        <p:nvPicPr>
          <p:cNvPr id="466" name="Picture 465">
            <a:extLst>
              <a:ext uri="{FF2B5EF4-FFF2-40B4-BE49-F238E27FC236}">
                <a16:creationId xmlns:a16="http://schemas.microsoft.com/office/drawing/2014/main" id="{99AE5263-E287-D5DD-367C-82247107E8A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82693" y="4777181"/>
            <a:ext cx="231397" cy="285616"/>
          </a:xfrm>
          <a:prstGeom prst="rect">
            <a:avLst/>
          </a:prstGeom>
        </p:spPr>
      </p:pic>
      <p:pic>
        <p:nvPicPr>
          <p:cNvPr id="467" name="Picture 466">
            <a:extLst>
              <a:ext uri="{FF2B5EF4-FFF2-40B4-BE49-F238E27FC236}">
                <a16:creationId xmlns:a16="http://schemas.microsoft.com/office/drawing/2014/main" id="{979B30AC-8B00-F046-B36A-7D61CB7D9C7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97693" y="5088657"/>
            <a:ext cx="231397" cy="285616"/>
          </a:xfrm>
          <a:prstGeom prst="rect">
            <a:avLst/>
          </a:prstGeom>
        </p:spPr>
      </p:pic>
      <p:pic>
        <p:nvPicPr>
          <p:cNvPr id="469" name="Picture 468">
            <a:extLst>
              <a:ext uri="{FF2B5EF4-FFF2-40B4-BE49-F238E27FC236}">
                <a16:creationId xmlns:a16="http://schemas.microsoft.com/office/drawing/2014/main" id="{D3032139-3A6A-E833-0FA5-3171517C674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39143" y="3128743"/>
            <a:ext cx="254349" cy="313946"/>
          </a:xfrm>
          <a:prstGeom prst="rect">
            <a:avLst/>
          </a:prstGeom>
        </p:spPr>
      </p:pic>
      <p:pic>
        <p:nvPicPr>
          <p:cNvPr id="470" name="Picture 469">
            <a:extLst>
              <a:ext uri="{FF2B5EF4-FFF2-40B4-BE49-F238E27FC236}">
                <a16:creationId xmlns:a16="http://schemas.microsoft.com/office/drawing/2014/main" id="{7CDDBF9F-216D-7EFA-E504-A1EBE9638B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95731" y="2488049"/>
            <a:ext cx="200895" cy="247967"/>
          </a:xfrm>
          <a:prstGeom prst="rect">
            <a:avLst/>
          </a:prstGeom>
        </p:spPr>
      </p:pic>
      <p:pic>
        <p:nvPicPr>
          <p:cNvPr id="471" name="Picture 470">
            <a:extLst>
              <a:ext uri="{FF2B5EF4-FFF2-40B4-BE49-F238E27FC236}">
                <a16:creationId xmlns:a16="http://schemas.microsoft.com/office/drawing/2014/main" id="{EB3483A0-1C1B-0A13-7D5A-1A881977703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902915" y="2613783"/>
            <a:ext cx="177676" cy="219307"/>
          </a:xfrm>
          <a:prstGeom prst="rect">
            <a:avLst/>
          </a:prstGeom>
        </p:spPr>
      </p:pic>
      <p:pic>
        <p:nvPicPr>
          <p:cNvPr id="472" name="Picture 471">
            <a:extLst>
              <a:ext uri="{FF2B5EF4-FFF2-40B4-BE49-F238E27FC236}">
                <a16:creationId xmlns:a16="http://schemas.microsoft.com/office/drawing/2014/main" id="{C1596865-5BA6-AF24-E1E0-8A740AFAE49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54458" y="4003554"/>
            <a:ext cx="235473" cy="290647"/>
          </a:xfrm>
          <a:prstGeom prst="rect">
            <a:avLst/>
          </a:prstGeom>
        </p:spPr>
      </p:pic>
      <p:pic>
        <p:nvPicPr>
          <p:cNvPr id="473" name="Picture 472">
            <a:extLst>
              <a:ext uri="{FF2B5EF4-FFF2-40B4-BE49-F238E27FC236}">
                <a16:creationId xmlns:a16="http://schemas.microsoft.com/office/drawing/2014/main" id="{B34AFBCF-6801-B34C-3151-945D135CF1E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46373" y="2050883"/>
            <a:ext cx="195898" cy="241799"/>
          </a:xfrm>
          <a:prstGeom prst="rect">
            <a:avLst/>
          </a:prstGeom>
        </p:spPr>
      </p:pic>
      <p:pic>
        <p:nvPicPr>
          <p:cNvPr id="4" name="Picture 3">
            <a:extLst>
              <a:ext uri="{FF2B5EF4-FFF2-40B4-BE49-F238E27FC236}">
                <a16:creationId xmlns:a16="http://schemas.microsoft.com/office/drawing/2014/main" id="{252FEBFC-4D30-1AC6-BAF7-5055040158A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502601" y="3618043"/>
            <a:ext cx="235473" cy="290647"/>
          </a:xfrm>
          <a:prstGeom prst="rect">
            <a:avLst/>
          </a:prstGeom>
        </p:spPr>
      </p:pic>
      <p:pic>
        <p:nvPicPr>
          <p:cNvPr id="5" name="Picture 4">
            <a:extLst>
              <a:ext uri="{FF2B5EF4-FFF2-40B4-BE49-F238E27FC236}">
                <a16:creationId xmlns:a16="http://schemas.microsoft.com/office/drawing/2014/main" id="{8F891A12-61B5-4017-F0EB-3B37FE07A12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80623" y="2868668"/>
            <a:ext cx="235473" cy="290647"/>
          </a:xfrm>
          <a:prstGeom prst="rect">
            <a:avLst/>
          </a:prstGeom>
        </p:spPr>
      </p:pic>
      <p:pic>
        <p:nvPicPr>
          <p:cNvPr id="6" name="Picture 5">
            <a:extLst>
              <a:ext uri="{FF2B5EF4-FFF2-40B4-BE49-F238E27FC236}">
                <a16:creationId xmlns:a16="http://schemas.microsoft.com/office/drawing/2014/main" id="{1A7F5DF5-2F80-D66C-1DDE-977026DFDA1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99525" y="1864756"/>
            <a:ext cx="195898" cy="241799"/>
          </a:xfrm>
          <a:prstGeom prst="rect">
            <a:avLst/>
          </a:prstGeom>
        </p:spPr>
      </p:pic>
      <p:pic>
        <p:nvPicPr>
          <p:cNvPr id="7" name="Picture 6">
            <a:extLst>
              <a:ext uri="{FF2B5EF4-FFF2-40B4-BE49-F238E27FC236}">
                <a16:creationId xmlns:a16="http://schemas.microsoft.com/office/drawing/2014/main" id="{8843424E-3300-EC10-D1BD-E5A87CE2555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47211" y="3027881"/>
            <a:ext cx="195898" cy="241799"/>
          </a:xfrm>
          <a:prstGeom prst="rect">
            <a:avLst/>
          </a:prstGeom>
        </p:spPr>
      </p:pic>
      <p:pic>
        <p:nvPicPr>
          <p:cNvPr id="8" name="Picture 7">
            <a:extLst>
              <a:ext uri="{FF2B5EF4-FFF2-40B4-BE49-F238E27FC236}">
                <a16:creationId xmlns:a16="http://schemas.microsoft.com/office/drawing/2014/main" id="{3C6D9B2C-967C-9443-2B50-4CC3135FB79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09271" y="2382042"/>
            <a:ext cx="231397" cy="285616"/>
          </a:xfrm>
          <a:prstGeom prst="rect">
            <a:avLst/>
          </a:prstGeom>
        </p:spPr>
      </p:pic>
      <p:pic>
        <p:nvPicPr>
          <p:cNvPr id="9" name="Picture 8">
            <a:extLst>
              <a:ext uri="{FF2B5EF4-FFF2-40B4-BE49-F238E27FC236}">
                <a16:creationId xmlns:a16="http://schemas.microsoft.com/office/drawing/2014/main" id="{6C524EE6-5BCD-8FF7-4F86-F4BDBFB1214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45453" y="2608319"/>
            <a:ext cx="231397" cy="285616"/>
          </a:xfrm>
          <a:prstGeom prst="rect">
            <a:avLst/>
          </a:prstGeom>
        </p:spPr>
      </p:pic>
      <p:pic>
        <p:nvPicPr>
          <p:cNvPr id="10" name="Picture 9">
            <a:extLst>
              <a:ext uri="{FF2B5EF4-FFF2-40B4-BE49-F238E27FC236}">
                <a16:creationId xmlns:a16="http://schemas.microsoft.com/office/drawing/2014/main" id="{FBC6CE32-2B8E-EFF8-6E27-924B6052D47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38424" y="2446118"/>
            <a:ext cx="231397" cy="285616"/>
          </a:xfrm>
          <a:prstGeom prst="rect">
            <a:avLst/>
          </a:prstGeom>
        </p:spPr>
      </p:pic>
      <p:pic>
        <p:nvPicPr>
          <p:cNvPr id="11" name="Picture 10">
            <a:extLst>
              <a:ext uri="{FF2B5EF4-FFF2-40B4-BE49-F238E27FC236}">
                <a16:creationId xmlns:a16="http://schemas.microsoft.com/office/drawing/2014/main" id="{7A3C1DF9-1A98-F94C-287C-1533D1E5447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059488" y="2644894"/>
            <a:ext cx="231397" cy="285616"/>
          </a:xfrm>
          <a:prstGeom prst="rect">
            <a:avLst/>
          </a:prstGeom>
        </p:spPr>
      </p:pic>
      <p:pic>
        <p:nvPicPr>
          <p:cNvPr id="12" name="Picture 11">
            <a:extLst>
              <a:ext uri="{FF2B5EF4-FFF2-40B4-BE49-F238E27FC236}">
                <a16:creationId xmlns:a16="http://schemas.microsoft.com/office/drawing/2014/main" id="{C274AB76-D16B-6F1F-D302-87D4780E87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12654" y="2725945"/>
            <a:ext cx="231397" cy="285616"/>
          </a:xfrm>
          <a:prstGeom prst="rect">
            <a:avLst/>
          </a:prstGeom>
        </p:spPr>
      </p:pic>
      <p:pic>
        <p:nvPicPr>
          <p:cNvPr id="13" name="Picture 12">
            <a:extLst>
              <a:ext uri="{FF2B5EF4-FFF2-40B4-BE49-F238E27FC236}">
                <a16:creationId xmlns:a16="http://schemas.microsoft.com/office/drawing/2014/main" id="{23E12382-5AE9-32D6-58D2-CA719D99DEC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41521" y="2182998"/>
            <a:ext cx="231397" cy="285616"/>
          </a:xfrm>
          <a:prstGeom prst="rect">
            <a:avLst/>
          </a:prstGeom>
        </p:spPr>
      </p:pic>
      <p:pic>
        <p:nvPicPr>
          <p:cNvPr id="14" name="Picture 13">
            <a:extLst>
              <a:ext uri="{FF2B5EF4-FFF2-40B4-BE49-F238E27FC236}">
                <a16:creationId xmlns:a16="http://schemas.microsoft.com/office/drawing/2014/main" id="{3D023DEB-B52E-FA4D-2A2D-42797E0F945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76033" y="2518065"/>
            <a:ext cx="231397" cy="285616"/>
          </a:xfrm>
          <a:prstGeom prst="rect">
            <a:avLst/>
          </a:prstGeom>
        </p:spPr>
      </p:pic>
      <p:pic>
        <p:nvPicPr>
          <p:cNvPr id="15" name="Picture 14">
            <a:extLst>
              <a:ext uri="{FF2B5EF4-FFF2-40B4-BE49-F238E27FC236}">
                <a16:creationId xmlns:a16="http://schemas.microsoft.com/office/drawing/2014/main" id="{22BD7616-DF0C-056B-9A12-F06E2C5A00C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29577" y="2135553"/>
            <a:ext cx="231397" cy="285616"/>
          </a:xfrm>
          <a:prstGeom prst="rect">
            <a:avLst/>
          </a:prstGeom>
        </p:spPr>
      </p:pic>
      <p:pic>
        <p:nvPicPr>
          <p:cNvPr id="16" name="Picture 15">
            <a:extLst>
              <a:ext uri="{FF2B5EF4-FFF2-40B4-BE49-F238E27FC236}">
                <a16:creationId xmlns:a16="http://schemas.microsoft.com/office/drawing/2014/main" id="{EA913482-3749-17BC-D930-67CDB4FB106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84581" y="2690282"/>
            <a:ext cx="231397" cy="285616"/>
          </a:xfrm>
          <a:prstGeom prst="rect">
            <a:avLst/>
          </a:prstGeom>
        </p:spPr>
      </p:pic>
      <p:sp>
        <p:nvSpPr>
          <p:cNvPr id="28" name="Title 2">
            <a:extLst>
              <a:ext uri="{FF2B5EF4-FFF2-40B4-BE49-F238E27FC236}">
                <a16:creationId xmlns:a16="http://schemas.microsoft.com/office/drawing/2014/main" id="{772EEF5B-A738-16B9-E01D-1B309562D43D}"/>
              </a:ext>
            </a:extLst>
          </p:cNvPr>
          <p:cNvSpPr txBox="1">
            <a:spLocks/>
          </p:cNvSpPr>
          <p:nvPr/>
        </p:nvSpPr>
        <p:spPr>
          <a:xfrm>
            <a:off x="1" y="256002"/>
            <a:ext cx="12192000" cy="898057"/>
          </a:xfrm>
          <a:prstGeom prst="rect">
            <a:avLst/>
          </a:prstGeom>
        </p:spPr>
        <p:txBody>
          <a:bodyPr vert="horz" wrap="square" lIns="0" tIns="0" rIns="0" bIns="0" rtlCol="0" anchor="t">
            <a:noAutofit/>
          </a:bodyPr>
          <a:lstStyle>
            <a:lvl1pPr marL="0" algn="l" defTabSz="913486" rtl="0" eaLnBrk="1" latinLnBrk="0" hangingPunct="1">
              <a:lnSpc>
                <a:spcPct val="90000"/>
              </a:lnSpc>
              <a:spcBef>
                <a:spcPct val="0"/>
              </a:spcBef>
              <a:buNone/>
              <a:defRPr lang="en-IN" sz="3196" b="1" i="0" kern="1200" dirty="0">
                <a:solidFill>
                  <a:schemeClr val="tx1"/>
                </a:solidFill>
                <a:latin typeface="Gazpacho Light" pitchFamily="2" charset="77"/>
                <a:ea typeface="+mj-ea"/>
                <a:cs typeface="+mj-cs"/>
              </a:defRPr>
            </a:lvl1pPr>
          </a:lstStyle>
          <a:p>
            <a:pPr algn="ctr"/>
            <a:endParaRPr lang="en-US" sz="3198" b="0" dirty="0">
              <a:solidFill>
                <a:srgbClr val="4A101A"/>
              </a:solidFill>
              <a:latin typeface="+mj-lt"/>
            </a:endParaRPr>
          </a:p>
        </p:txBody>
      </p:sp>
      <p:sp>
        <p:nvSpPr>
          <p:cNvPr id="29" name="Title 1">
            <a:extLst>
              <a:ext uri="{FF2B5EF4-FFF2-40B4-BE49-F238E27FC236}">
                <a16:creationId xmlns:a16="http://schemas.microsoft.com/office/drawing/2014/main" id="{F37A7CFB-77AF-52A0-369A-3DC4C5B7A8F6}"/>
              </a:ext>
            </a:extLst>
          </p:cNvPr>
          <p:cNvSpPr txBox="1">
            <a:spLocks/>
          </p:cNvSpPr>
          <p:nvPr/>
        </p:nvSpPr>
        <p:spPr>
          <a:xfrm>
            <a:off x="347146" y="171452"/>
            <a:ext cx="11501955" cy="786369"/>
          </a:xfrm>
          <a:prstGeom prst="rect">
            <a:avLst/>
          </a:prstGeom>
        </p:spPr>
        <p:txBody>
          <a:bodyPr vert="horz" wrap="square" lIns="0" tIns="0" rIns="0" bIns="0" rtlCol="0" anchor="t">
            <a:spAutoFit/>
          </a:bodyPr>
          <a:lstStyle>
            <a:lvl1pPr marL="0" algn="l" defTabSz="913486" rtl="0" eaLnBrk="1" latinLnBrk="0" hangingPunct="1">
              <a:lnSpc>
                <a:spcPct val="90000"/>
              </a:lnSpc>
              <a:spcBef>
                <a:spcPct val="0"/>
              </a:spcBef>
              <a:buNone/>
              <a:defRPr lang="en-IN" sz="3198" b="1" i="0" kern="1200">
                <a:solidFill>
                  <a:schemeClr val="tx1"/>
                </a:solidFill>
                <a:latin typeface="+mj-lt"/>
                <a:ea typeface="+mj-ea"/>
                <a:cs typeface="+mj-cs"/>
              </a:defRPr>
            </a:lvl1pPr>
          </a:lstStyle>
          <a:p>
            <a:pPr algn="ctr"/>
            <a:r>
              <a:rPr lang="en-US" sz="2800" dirty="0">
                <a:solidFill>
                  <a:srgbClr val="4A101A"/>
                </a:solidFill>
                <a:latin typeface="+mj-lt"/>
              </a:rPr>
              <a:t>Hershey is a global company, with multiple offices or manufacturing sites across the world</a:t>
            </a:r>
            <a:endParaRPr lang="en-US" sz="2800" b="0" dirty="0">
              <a:solidFill>
                <a:srgbClr val="4A101A"/>
              </a:solidFill>
              <a:latin typeface="+mj-lt"/>
            </a:endParaRPr>
          </a:p>
        </p:txBody>
      </p:sp>
    </p:spTree>
    <p:extLst>
      <p:ext uri="{BB962C8B-B14F-4D97-AF65-F5344CB8AC3E}">
        <p14:creationId xmlns:p14="http://schemas.microsoft.com/office/powerpoint/2010/main" val="2336311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ADD2DB-4EEC-9278-2AA7-E700DB9501E6}"/>
              </a:ext>
            </a:extLst>
          </p:cNvPr>
          <p:cNvGraphicFramePr>
            <a:graphicFrameLocks noChangeAspect="1"/>
          </p:cNvGraphicFramePr>
          <p:nvPr>
            <p:custDataLst>
              <p:tags r:id="rId1"/>
            </p:custDataLst>
            <p:extLst>
              <p:ext uri="{D42A27DB-BD31-4B8C-83A1-F6EECF244321}">
                <p14:modId xmlns:p14="http://schemas.microsoft.com/office/powerpoint/2010/main" val="4060288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42ADD2DB-4EEC-9278-2AA7-E700DB9501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Freeform: Shape 22">
            <a:extLst>
              <a:ext uri="{FF2B5EF4-FFF2-40B4-BE49-F238E27FC236}">
                <a16:creationId xmlns:a16="http://schemas.microsoft.com/office/drawing/2014/main" id="{1A263DC9-0BDB-4B98-9D9E-E35CD3D7358B}"/>
              </a:ext>
            </a:extLst>
          </p:cNvPr>
          <p:cNvSpPr/>
          <p:nvPr/>
        </p:nvSpPr>
        <p:spPr>
          <a:xfrm>
            <a:off x="0" y="-25390"/>
            <a:ext cx="12192001" cy="4748344"/>
          </a:xfrm>
          <a:custGeom>
            <a:avLst/>
            <a:gdLst>
              <a:gd name="connsiteX0" fmla="*/ 0 w 12198351"/>
              <a:gd name="connsiteY0" fmla="*/ 0 h 4750817"/>
              <a:gd name="connsiteX1" fmla="*/ 1466850 w 12198351"/>
              <a:gd name="connsiteY1" fmla="*/ 0 h 4750817"/>
              <a:gd name="connsiteX2" fmla="*/ 1693157 w 12198351"/>
              <a:gd name="connsiteY2" fmla="*/ 0 h 4750817"/>
              <a:gd name="connsiteX3" fmla="*/ 12198351 w 12198351"/>
              <a:gd name="connsiteY3" fmla="*/ 0 h 4750817"/>
              <a:gd name="connsiteX4" fmla="*/ 12198351 w 12198351"/>
              <a:gd name="connsiteY4" fmla="*/ 4370603 h 4750817"/>
              <a:gd name="connsiteX5" fmla="*/ 8273395 w 12198351"/>
              <a:gd name="connsiteY5" fmla="*/ 4370603 h 4750817"/>
              <a:gd name="connsiteX6" fmla="*/ 7566025 w 12198351"/>
              <a:gd name="connsiteY6" fmla="*/ 4750817 h 4750817"/>
              <a:gd name="connsiteX7" fmla="*/ 6858656 w 12198351"/>
              <a:gd name="connsiteY7" fmla="*/ 4370603 h 4750817"/>
              <a:gd name="connsiteX8" fmla="*/ 1466850 w 12198351"/>
              <a:gd name="connsiteY8" fmla="*/ 4370603 h 4750817"/>
              <a:gd name="connsiteX9" fmla="*/ 1466850 w 12198351"/>
              <a:gd name="connsiteY9" fmla="*/ 4365624 h 4750817"/>
              <a:gd name="connsiteX10" fmla="*/ 0 w 12198351"/>
              <a:gd name="connsiteY10" fmla="*/ 4365624 h 4750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8351" h="4750817">
                <a:moveTo>
                  <a:pt x="0" y="0"/>
                </a:moveTo>
                <a:lnTo>
                  <a:pt x="1466850" y="0"/>
                </a:lnTo>
                <a:lnTo>
                  <a:pt x="1693157" y="0"/>
                </a:lnTo>
                <a:lnTo>
                  <a:pt x="12198351" y="0"/>
                </a:lnTo>
                <a:lnTo>
                  <a:pt x="12198351" y="4370603"/>
                </a:lnTo>
                <a:lnTo>
                  <a:pt x="8273395" y="4370603"/>
                </a:lnTo>
                <a:lnTo>
                  <a:pt x="7566025" y="4750817"/>
                </a:lnTo>
                <a:lnTo>
                  <a:pt x="6858656" y="4370603"/>
                </a:lnTo>
                <a:lnTo>
                  <a:pt x="1466850" y="4370603"/>
                </a:lnTo>
                <a:lnTo>
                  <a:pt x="1466850" y="4365624"/>
                </a:lnTo>
                <a:lnTo>
                  <a:pt x="0" y="436562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FEF0DC"/>
              </a:solidFill>
              <a:effectLst/>
              <a:uLnTx/>
              <a:uFillTx/>
              <a:latin typeface="Calibri"/>
              <a:ea typeface="+mn-ea"/>
              <a:cs typeface="+mn-cs"/>
            </a:endParaRPr>
          </a:p>
        </p:txBody>
      </p:sp>
      <p:sp>
        <p:nvSpPr>
          <p:cNvPr id="3" name="Title 2">
            <a:extLst>
              <a:ext uri="{FF2B5EF4-FFF2-40B4-BE49-F238E27FC236}">
                <a16:creationId xmlns:a16="http://schemas.microsoft.com/office/drawing/2014/main" id="{2908726A-FA5E-4B27-ABD5-A1E3743F36EE}"/>
              </a:ext>
            </a:extLst>
          </p:cNvPr>
          <p:cNvSpPr>
            <a:spLocks noGrp="1"/>
          </p:cNvSpPr>
          <p:nvPr>
            <p:ph type="title" idx="4294967295"/>
          </p:nvPr>
        </p:nvSpPr>
        <p:spPr>
          <a:xfrm>
            <a:off x="1" y="103602"/>
            <a:ext cx="12192000" cy="898057"/>
          </a:xfrm>
          <a:prstGeom prst="rect">
            <a:avLst/>
          </a:prstGeom>
        </p:spPr>
        <p:txBody>
          <a:bodyPr vert="horz">
            <a:noAutofit/>
          </a:bodyPr>
          <a:lstStyle/>
          <a:p>
            <a:pPr algn="ctr"/>
            <a:r>
              <a:rPr lang="en-IN" sz="2800" dirty="0">
                <a:solidFill>
                  <a:schemeClr val="bg1">
                    <a:lumMod val="90000"/>
                  </a:schemeClr>
                </a:solidFill>
                <a:latin typeface="+mj-lt"/>
              </a:rPr>
              <a:t>“Doing Well by Doing Good”</a:t>
            </a:r>
            <a:br>
              <a:rPr lang="en-IN" sz="2800" dirty="0">
                <a:solidFill>
                  <a:schemeClr val="bg1">
                    <a:lumMod val="90000"/>
                  </a:schemeClr>
                </a:solidFill>
                <a:latin typeface="+mj-lt"/>
              </a:rPr>
            </a:br>
            <a:r>
              <a:rPr lang="en-IN" sz="2400" b="0" dirty="0">
                <a:solidFill>
                  <a:schemeClr val="bg1">
                    <a:lumMod val="90000"/>
                  </a:schemeClr>
                </a:solidFill>
                <a:latin typeface="+mj-lt"/>
              </a:rPr>
              <a:t>A Purpose Driven Workforce Creating Moments of Goodness</a:t>
            </a:r>
            <a:endParaRPr lang="en-IN" sz="2800" b="0" dirty="0">
              <a:solidFill>
                <a:schemeClr val="bg1">
                  <a:lumMod val="90000"/>
                </a:schemeClr>
              </a:solidFill>
              <a:latin typeface="+mj-lt"/>
            </a:endParaRPr>
          </a:p>
        </p:txBody>
      </p:sp>
      <p:sp>
        <p:nvSpPr>
          <p:cNvPr id="29" name="Slide Number Placeholder 24">
            <a:extLst>
              <a:ext uri="{FF2B5EF4-FFF2-40B4-BE49-F238E27FC236}">
                <a16:creationId xmlns:a16="http://schemas.microsoft.com/office/drawing/2014/main" id="{B7035E02-ED2D-F861-3156-7F4A246C3980}"/>
              </a:ext>
            </a:extLst>
          </p:cNvPr>
          <p:cNvSpPr>
            <a:spLocks noGrp="1"/>
          </p:cNvSpPr>
          <p:nvPr>
            <p:ph type="sldNum" sz="quarter" idx="4"/>
          </p:nvPr>
        </p:nvSpPr>
        <p:spPr>
          <a:xfrm>
            <a:off x="11355858" y="3144391"/>
            <a:ext cx="768350" cy="169277"/>
          </a:xfrm>
          <a:prstGeom prst="rect">
            <a:avLst/>
          </a:prstGeom>
        </p:spPr>
        <p:txBody>
          <a:bodyPr vert="horz" wrap="square" lIns="0" tIns="0" rIns="0" bIns="0" rtlCol="0" anchor="ctr">
            <a:spAutoFit/>
          </a:bodyPr>
          <a:lstStyle>
            <a:defPPr>
              <a:defRPr lang="en-US"/>
            </a:defPPr>
            <a:lvl1pPr marL="0" algn="ctr" defTabSz="914400" rtl="0" eaLnBrk="1" latinLnBrk="0" hangingPunct="1">
              <a:defRPr sz="1098" kern="1200">
                <a:solidFill>
                  <a:schemeClr val="bg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8468" rtl="0" eaLnBrk="1" fontAlgn="auto" latinLnBrk="0" hangingPunct="1">
              <a:lnSpc>
                <a:spcPct val="100000"/>
              </a:lnSpc>
              <a:spcBef>
                <a:spcPts val="0"/>
              </a:spcBef>
              <a:spcAft>
                <a:spcPts val="0"/>
              </a:spcAft>
              <a:buClrTx/>
              <a:buSzTx/>
              <a:buFontTx/>
              <a:buNone/>
              <a:tabLst/>
              <a:defRPr/>
            </a:pPr>
            <a:fld id="{1C897F9F-178E-40FE-BBF0-CD11DAF3CBDC}" type="slidenum">
              <a:rPr kumimoji="0" lang="en-IN" sz="1098" b="0" i="0" u="none" strike="noStrike" kern="1200" cap="none" spc="0" normalizeH="0" baseline="0" noProof="0" smtClean="0">
                <a:ln>
                  <a:noFill/>
                </a:ln>
                <a:solidFill>
                  <a:srgbClr val="FEF0DC"/>
                </a:solidFill>
                <a:effectLst/>
                <a:uLnTx/>
                <a:uFillTx/>
                <a:latin typeface="Gazpacho Bold"/>
                <a:ea typeface="+mn-ea"/>
                <a:cs typeface="+mn-cs"/>
              </a:rPr>
              <a:pPr marL="0" marR="0" lvl="0" indent="0" algn="ctr" defTabSz="1218468" rtl="0" eaLnBrk="1" fontAlgn="auto" latinLnBrk="0" hangingPunct="1">
                <a:lnSpc>
                  <a:spcPct val="100000"/>
                </a:lnSpc>
                <a:spcBef>
                  <a:spcPts val="0"/>
                </a:spcBef>
                <a:spcAft>
                  <a:spcPts val="0"/>
                </a:spcAft>
                <a:buClrTx/>
                <a:buSzTx/>
                <a:buFontTx/>
                <a:buNone/>
                <a:tabLst/>
                <a:defRPr/>
              </a:pPr>
              <a:t>3</a:t>
            </a:fld>
            <a:endParaRPr kumimoji="0" lang="en-IN" sz="1098" b="1" i="0" u="none" strike="noStrike" kern="1200" cap="none" spc="0" normalizeH="0" baseline="0" noProof="0">
              <a:ln>
                <a:noFill/>
              </a:ln>
              <a:solidFill>
                <a:srgbClr val="FEF0DC"/>
              </a:solidFill>
              <a:effectLst/>
              <a:uLnTx/>
              <a:uFillTx/>
              <a:latin typeface="Gazpacho Bold"/>
              <a:ea typeface="+mn-ea"/>
              <a:cs typeface="+mn-cs"/>
            </a:endParaRPr>
          </a:p>
        </p:txBody>
      </p:sp>
      <p:pic>
        <p:nvPicPr>
          <p:cNvPr id="8" name="Picture 7">
            <a:extLst>
              <a:ext uri="{FF2B5EF4-FFF2-40B4-BE49-F238E27FC236}">
                <a16:creationId xmlns:a16="http://schemas.microsoft.com/office/drawing/2014/main" id="{076C5DF5-93CB-4041-F2DF-69A735BB89CF}"/>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86814" y="1135933"/>
            <a:ext cx="3819718" cy="5718140"/>
          </a:xfrm>
          <a:prstGeom prst="rect">
            <a:avLst/>
          </a:prstGeom>
        </p:spPr>
      </p:pic>
      <p:sp>
        <p:nvSpPr>
          <p:cNvPr id="2" name="TextBox 1">
            <a:extLst>
              <a:ext uri="{FF2B5EF4-FFF2-40B4-BE49-F238E27FC236}">
                <a16:creationId xmlns:a16="http://schemas.microsoft.com/office/drawing/2014/main" id="{22E048E9-6A8A-651F-9B19-BE986778B8FB}"/>
              </a:ext>
            </a:extLst>
          </p:cNvPr>
          <p:cNvSpPr txBox="1"/>
          <p:nvPr/>
        </p:nvSpPr>
        <p:spPr>
          <a:xfrm>
            <a:off x="4605875" y="4891434"/>
            <a:ext cx="6380658" cy="107721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3F000B"/>
                </a:solidFill>
                <a:effectLst/>
                <a:uLnTx/>
                <a:uFillTx/>
                <a:latin typeface="TT Norms Pro"/>
                <a:ea typeface="+mn-ea"/>
                <a:cs typeface="+mn-cs"/>
              </a:rPr>
              <a:t>And Making Hershey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srgbClr val="F26726"/>
                </a:solidFill>
                <a:effectLst/>
                <a:uLnTx/>
                <a:uFillTx/>
                <a:latin typeface="TT Norms Pro"/>
                <a:ea typeface="+mn-ea"/>
                <a:cs typeface="+mn-cs"/>
              </a:rPr>
              <a:t>Leading Snacking Powerhouse</a:t>
            </a:r>
          </a:p>
        </p:txBody>
      </p:sp>
      <p:sp>
        <p:nvSpPr>
          <p:cNvPr id="31" name="Rectangle 30">
            <a:extLst>
              <a:ext uri="{FF2B5EF4-FFF2-40B4-BE49-F238E27FC236}">
                <a16:creationId xmlns:a16="http://schemas.microsoft.com/office/drawing/2014/main" id="{E329F031-E6F5-4EBE-E74A-A5C213C47B31}"/>
              </a:ext>
            </a:extLst>
          </p:cNvPr>
          <p:cNvSpPr/>
          <p:nvPr/>
        </p:nvSpPr>
        <p:spPr>
          <a:xfrm>
            <a:off x="3579175" y="1193221"/>
            <a:ext cx="1935529" cy="1212231"/>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19,000</a:t>
            </a:r>
            <a:r>
              <a:rPr lang="en-US" sz="2400" dirty="0">
                <a:solidFill>
                  <a:srgbClr val="FDDCAE"/>
                </a:solidFill>
                <a:latin typeface="TT Norms Pro" panose="02000503030000020003" pitchFamily="2" charset="0"/>
              </a:rPr>
              <a:t> </a:t>
            </a:r>
            <a:r>
              <a:rPr lang="en-US" sz="2000" b="1" dirty="0">
                <a:solidFill>
                  <a:srgbClr val="FDDCAE"/>
                </a:solidFill>
                <a:latin typeface="TT Norms Pro" panose="02000503030000020003" pitchFamily="2" charset="0"/>
              </a:rPr>
              <a:t>Employees</a:t>
            </a:r>
            <a:endParaRPr lang="en-US" sz="2400" b="1" dirty="0">
              <a:solidFill>
                <a:srgbClr val="FDDCAE"/>
              </a:solidFill>
              <a:latin typeface="TT Norms Pro" panose="02000503030000020003" pitchFamily="2" charset="0"/>
            </a:endParaRPr>
          </a:p>
        </p:txBody>
      </p:sp>
      <p:sp>
        <p:nvSpPr>
          <p:cNvPr id="33" name="Rectangle 32">
            <a:extLst>
              <a:ext uri="{FF2B5EF4-FFF2-40B4-BE49-F238E27FC236}">
                <a16:creationId xmlns:a16="http://schemas.microsoft.com/office/drawing/2014/main" id="{2A394820-ABFE-5B9A-5502-71CA06DB2D91}"/>
              </a:ext>
            </a:extLst>
          </p:cNvPr>
          <p:cNvSpPr/>
          <p:nvPr/>
        </p:nvSpPr>
        <p:spPr>
          <a:xfrm>
            <a:off x="5699069" y="1193221"/>
            <a:ext cx="1935529" cy="1212231"/>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11</a:t>
            </a:r>
          </a:p>
          <a:p>
            <a:pPr algn="ctr"/>
            <a:r>
              <a:rPr lang="en-US" sz="2400" dirty="0">
                <a:solidFill>
                  <a:srgbClr val="FDDCAE"/>
                </a:solidFill>
                <a:latin typeface="TT Norms Pro" panose="02000503030000020003" pitchFamily="2" charset="0"/>
              </a:rPr>
              <a:t> </a:t>
            </a:r>
            <a:r>
              <a:rPr lang="en-US" sz="2000" b="1" dirty="0">
                <a:solidFill>
                  <a:srgbClr val="FDDCAE"/>
                </a:solidFill>
                <a:latin typeface="TT Norms Pro" panose="02000503030000020003" pitchFamily="2" charset="0"/>
              </a:rPr>
              <a:t>Countries</a:t>
            </a:r>
            <a:endParaRPr lang="en-US" sz="2400" b="1" dirty="0">
              <a:solidFill>
                <a:srgbClr val="FDDCAE"/>
              </a:solidFill>
              <a:latin typeface="TT Norms Pro" panose="02000503030000020003" pitchFamily="2" charset="0"/>
            </a:endParaRPr>
          </a:p>
        </p:txBody>
      </p:sp>
      <p:sp>
        <p:nvSpPr>
          <p:cNvPr id="34" name="Rectangle 33">
            <a:extLst>
              <a:ext uri="{FF2B5EF4-FFF2-40B4-BE49-F238E27FC236}">
                <a16:creationId xmlns:a16="http://schemas.microsoft.com/office/drawing/2014/main" id="{529835E2-03C4-5E02-ED39-F4F1588917E6}"/>
              </a:ext>
            </a:extLst>
          </p:cNvPr>
          <p:cNvSpPr/>
          <p:nvPr/>
        </p:nvSpPr>
        <p:spPr>
          <a:xfrm>
            <a:off x="7899118" y="1193221"/>
            <a:ext cx="1935529" cy="1212231"/>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25+</a:t>
            </a:r>
            <a:r>
              <a:rPr lang="en-US" sz="2400" dirty="0">
                <a:solidFill>
                  <a:srgbClr val="FDDCAE"/>
                </a:solidFill>
                <a:latin typeface="TT Norms Pro" panose="02000503030000020003" pitchFamily="2" charset="0"/>
              </a:rPr>
              <a:t> </a:t>
            </a:r>
            <a:r>
              <a:rPr lang="en-US" sz="2000" b="1" dirty="0">
                <a:solidFill>
                  <a:srgbClr val="FDDCAE"/>
                </a:solidFill>
                <a:latin typeface="TT Norms Pro" panose="02000503030000020003" pitchFamily="2" charset="0"/>
              </a:rPr>
              <a:t>Locations in US</a:t>
            </a:r>
            <a:endParaRPr lang="en-US" sz="2400" b="1" dirty="0">
              <a:solidFill>
                <a:srgbClr val="FDDCAE"/>
              </a:solidFill>
              <a:latin typeface="TT Norms Pro" panose="02000503030000020003" pitchFamily="2" charset="0"/>
            </a:endParaRPr>
          </a:p>
        </p:txBody>
      </p:sp>
      <p:sp>
        <p:nvSpPr>
          <p:cNvPr id="40" name="Rectangle 39">
            <a:extLst>
              <a:ext uri="{FF2B5EF4-FFF2-40B4-BE49-F238E27FC236}">
                <a16:creationId xmlns:a16="http://schemas.microsoft.com/office/drawing/2014/main" id="{AA062D30-2908-4DC7-76FE-38FFD1E69CF9}"/>
              </a:ext>
            </a:extLst>
          </p:cNvPr>
          <p:cNvSpPr/>
          <p:nvPr/>
        </p:nvSpPr>
        <p:spPr>
          <a:xfrm>
            <a:off x="3579175" y="2598207"/>
            <a:ext cx="1935529" cy="1212231"/>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48%</a:t>
            </a:r>
            <a:r>
              <a:rPr lang="en-US" sz="2400" dirty="0">
                <a:solidFill>
                  <a:srgbClr val="FDDCAE"/>
                </a:solidFill>
                <a:latin typeface="TT Norms Pro" panose="02000503030000020003" pitchFamily="2" charset="0"/>
              </a:rPr>
              <a:t> </a:t>
            </a:r>
            <a:r>
              <a:rPr lang="en-US" sz="2000" b="1" dirty="0">
                <a:solidFill>
                  <a:srgbClr val="FDDCAE"/>
                </a:solidFill>
                <a:latin typeface="TT Norms Pro" panose="02000503030000020003" pitchFamily="2" charset="0"/>
              </a:rPr>
              <a:t>Women</a:t>
            </a:r>
            <a:endParaRPr lang="en-US" sz="2400" b="1" dirty="0">
              <a:solidFill>
                <a:srgbClr val="FDDCAE"/>
              </a:solidFill>
              <a:latin typeface="TT Norms Pro" panose="02000503030000020003" pitchFamily="2" charset="0"/>
            </a:endParaRPr>
          </a:p>
        </p:txBody>
      </p:sp>
      <p:sp>
        <p:nvSpPr>
          <p:cNvPr id="41" name="Rectangle 40">
            <a:extLst>
              <a:ext uri="{FF2B5EF4-FFF2-40B4-BE49-F238E27FC236}">
                <a16:creationId xmlns:a16="http://schemas.microsoft.com/office/drawing/2014/main" id="{56649067-D358-2ED8-5CFF-4BA895B9FD17}"/>
              </a:ext>
            </a:extLst>
          </p:cNvPr>
          <p:cNvSpPr/>
          <p:nvPr/>
        </p:nvSpPr>
        <p:spPr>
          <a:xfrm>
            <a:off x="5699069" y="2598207"/>
            <a:ext cx="1935529" cy="1212231"/>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27%</a:t>
            </a:r>
            <a:r>
              <a:rPr lang="en-US" sz="2400" dirty="0">
                <a:solidFill>
                  <a:srgbClr val="FDDCAE"/>
                </a:solidFill>
                <a:latin typeface="TT Norms Pro" panose="02000503030000020003" pitchFamily="2" charset="0"/>
              </a:rPr>
              <a:t> </a:t>
            </a:r>
            <a:r>
              <a:rPr lang="en-US" sz="2000" b="1" dirty="0">
                <a:solidFill>
                  <a:srgbClr val="FDDCAE"/>
                </a:solidFill>
                <a:latin typeface="TT Norms Pro" panose="02000503030000020003" pitchFamily="2" charset="0"/>
              </a:rPr>
              <a:t>People of Color</a:t>
            </a:r>
            <a:endParaRPr lang="en-US" sz="2400" b="1" dirty="0">
              <a:solidFill>
                <a:srgbClr val="FDDCAE"/>
              </a:solidFill>
              <a:latin typeface="TT Norms Pro" panose="02000503030000020003" pitchFamily="2" charset="0"/>
            </a:endParaRPr>
          </a:p>
        </p:txBody>
      </p:sp>
      <p:sp>
        <p:nvSpPr>
          <p:cNvPr id="42" name="Rectangle 41">
            <a:extLst>
              <a:ext uri="{FF2B5EF4-FFF2-40B4-BE49-F238E27FC236}">
                <a16:creationId xmlns:a16="http://schemas.microsoft.com/office/drawing/2014/main" id="{263C5CC3-5201-B8C4-8B2E-91422DD02C05}"/>
              </a:ext>
            </a:extLst>
          </p:cNvPr>
          <p:cNvSpPr/>
          <p:nvPr/>
        </p:nvSpPr>
        <p:spPr>
          <a:xfrm>
            <a:off x="9876147" y="2598207"/>
            <a:ext cx="2289179" cy="1374918"/>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90%</a:t>
            </a:r>
            <a:r>
              <a:rPr lang="en-US" sz="2400" dirty="0">
                <a:solidFill>
                  <a:srgbClr val="FDDCAE"/>
                </a:solidFill>
                <a:latin typeface="TT Norms Pro" panose="02000503030000020003" pitchFamily="2" charset="0"/>
              </a:rPr>
              <a:t> </a:t>
            </a:r>
          </a:p>
          <a:p>
            <a:pPr algn="ctr"/>
            <a:r>
              <a:rPr lang="en-US" sz="2000" b="1" dirty="0">
                <a:solidFill>
                  <a:srgbClr val="FDDCAE"/>
                </a:solidFill>
                <a:latin typeface="TT Norms Pro" panose="02000503030000020003" pitchFamily="2" charset="0"/>
              </a:rPr>
              <a:t>EC Promoted from within</a:t>
            </a:r>
            <a:endParaRPr lang="en-US" sz="2400" b="1" dirty="0">
              <a:solidFill>
                <a:srgbClr val="FDDCAE"/>
              </a:solidFill>
              <a:latin typeface="TT Norms Pro" panose="02000503030000020003" pitchFamily="2" charset="0"/>
            </a:endParaRPr>
          </a:p>
        </p:txBody>
      </p:sp>
      <p:sp>
        <p:nvSpPr>
          <p:cNvPr id="43" name="Rectangle 42">
            <a:extLst>
              <a:ext uri="{FF2B5EF4-FFF2-40B4-BE49-F238E27FC236}">
                <a16:creationId xmlns:a16="http://schemas.microsoft.com/office/drawing/2014/main" id="{0FB3A286-0ED3-C88E-1CEF-ED344A9D5FCE}"/>
              </a:ext>
            </a:extLst>
          </p:cNvPr>
          <p:cNvSpPr/>
          <p:nvPr/>
        </p:nvSpPr>
        <p:spPr>
          <a:xfrm>
            <a:off x="10151787" y="1193221"/>
            <a:ext cx="1737899" cy="1374918"/>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10B</a:t>
            </a:r>
            <a:endParaRPr lang="en-US" sz="2400" dirty="0">
              <a:solidFill>
                <a:srgbClr val="FDDCAE"/>
              </a:solidFill>
              <a:latin typeface="TT Norms Pro" panose="02000503030000020003" pitchFamily="2" charset="0"/>
            </a:endParaRPr>
          </a:p>
          <a:p>
            <a:pPr algn="ctr"/>
            <a:r>
              <a:rPr lang="en-US" sz="2000" b="1" dirty="0">
                <a:solidFill>
                  <a:srgbClr val="FDDCAE"/>
                </a:solidFill>
                <a:latin typeface="TT Norms Pro" panose="02000503030000020003" pitchFamily="2" charset="0"/>
              </a:rPr>
              <a:t>Net Sales</a:t>
            </a:r>
            <a:endParaRPr lang="en-US" sz="2400" b="1" dirty="0">
              <a:solidFill>
                <a:srgbClr val="FDDCAE"/>
              </a:solidFill>
              <a:latin typeface="TT Norms Pro" panose="02000503030000020003" pitchFamily="2" charset="0"/>
            </a:endParaRPr>
          </a:p>
        </p:txBody>
      </p:sp>
      <p:sp>
        <p:nvSpPr>
          <p:cNvPr id="44" name="Rectangle 43">
            <a:extLst>
              <a:ext uri="{FF2B5EF4-FFF2-40B4-BE49-F238E27FC236}">
                <a16:creationId xmlns:a16="http://schemas.microsoft.com/office/drawing/2014/main" id="{698A4E0A-47E0-7AF2-F724-A00955550BED}"/>
              </a:ext>
            </a:extLst>
          </p:cNvPr>
          <p:cNvSpPr/>
          <p:nvPr/>
        </p:nvSpPr>
        <p:spPr>
          <a:xfrm>
            <a:off x="7684891" y="2645832"/>
            <a:ext cx="2363983" cy="1298668"/>
          </a:xfrm>
          <a:prstGeom prst="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dirty="0">
                <a:solidFill>
                  <a:srgbClr val="FDDCAE"/>
                </a:solidFill>
                <a:latin typeface="TT Norms Pro" panose="02000503030000020003" pitchFamily="2" charset="0"/>
              </a:rPr>
              <a:t>8X</a:t>
            </a:r>
            <a:endParaRPr lang="en-US" sz="2400" dirty="0">
              <a:solidFill>
                <a:srgbClr val="FDDCAE"/>
              </a:solidFill>
              <a:latin typeface="TT Norms Pro" panose="02000503030000020003" pitchFamily="2" charset="0"/>
            </a:endParaRPr>
          </a:p>
          <a:p>
            <a:pPr algn="ctr"/>
            <a:r>
              <a:rPr lang="en-US" sz="2000" b="1" dirty="0">
                <a:solidFill>
                  <a:srgbClr val="FDDCAE"/>
                </a:solidFill>
                <a:latin typeface="TT Norms Pro" panose="02000503030000020003" pitchFamily="2" charset="0"/>
              </a:rPr>
              <a:t>Voted Best place for LGBTQ+ equality</a:t>
            </a:r>
            <a:endParaRPr lang="en-US" sz="2400" b="1" dirty="0">
              <a:solidFill>
                <a:srgbClr val="FDDCAE"/>
              </a:solidFill>
              <a:latin typeface="TT Norms Pro" panose="02000503030000020003" pitchFamily="2" charset="0"/>
            </a:endParaRPr>
          </a:p>
        </p:txBody>
      </p:sp>
      <p:graphicFrame>
        <p:nvGraphicFramePr>
          <p:cNvPr id="20" name="Table 26">
            <a:extLst>
              <a:ext uri="{FF2B5EF4-FFF2-40B4-BE49-F238E27FC236}">
                <a16:creationId xmlns:a16="http://schemas.microsoft.com/office/drawing/2014/main" id="{E904A22F-5268-9622-0F07-22E20C7AC5BD}"/>
              </a:ext>
            </a:extLst>
          </p:cNvPr>
          <p:cNvGraphicFramePr>
            <a:graphicFrameLocks noGrp="1"/>
          </p:cNvGraphicFramePr>
          <p:nvPr>
            <p:extLst>
              <p:ext uri="{D42A27DB-BD31-4B8C-83A1-F6EECF244321}">
                <p14:modId xmlns:p14="http://schemas.microsoft.com/office/powerpoint/2010/main" val="1727424745"/>
              </p:ext>
            </p:extLst>
          </p:nvPr>
        </p:nvGraphicFramePr>
        <p:xfrm>
          <a:off x="3391735" y="1268202"/>
          <a:ext cx="8778240" cy="2804684"/>
        </p:xfrm>
        <a:graphic>
          <a:graphicData uri="http://schemas.openxmlformats.org/drawingml/2006/table">
            <a:tbl>
              <a:tblPr>
                <a:tableStyleId>{5C22544A-7EE6-4342-B048-85BDC9FD1C3A}</a:tableStyleId>
              </a:tblPr>
              <a:tblGrid>
                <a:gridCol w="2194560">
                  <a:extLst>
                    <a:ext uri="{9D8B030D-6E8A-4147-A177-3AD203B41FA5}">
                      <a16:colId xmlns:a16="http://schemas.microsoft.com/office/drawing/2014/main" val="3852798699"/>
                    </a:ext>
                  </a:extLst>
                </a:gridCol>
                <a:gridCol w="2194560">
                  <a:extLst>
                    <a:ext uri="{9D8B030D-6E8A-4147-A177-3AD203B41FA5}">
                      <a16:colId xmlns:a16="http://schemas.microsoft.com/office/drawing/2014/main" val="3355027908"/>
                    </a:ext>
                  </a:extLst>
                </a:gridCol>
                <a:gridCol w="2194560">
                  <a:extLst>
                    <a:ext uri="{9D8B030D-6E8A-4147-A177-3AD203B41FA5}">
                      <a16:colId xmlns:a16="http://schemas.microsoft.com/office/drawing/2014/main" val="4092201125"/>
                    </a:ext>
                  </a:extLst>
                </a:gridCol>
                <a:gridCol w="2194560">
                  <a:extLst>
                    <a:ext uri="{9D8B030D-6E8A-4147-A177-3AD203B41FA5}">
                      <a16:colId xmlns:a16="http://schemas.microsoft.com/office/drawing/2014/main" val="3502374096"/>
                    </a:ext>
                  </a:extLst>
                </a:gridCol>
              </a:tblGrid>
              <a:tr h="1365066">
                <a:tc>
                  <a:txBody>
                    <a:bodyPr/>
                    <a:lstStyle/>
                    <a:p>
                      <a:r>
                        <a:rPr lang="en-US" dirty="0"/>
                        <a:t> </a:t>
                      </a:r>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tc>
                  <a:txBody>
                    <a:bodyPr/>
                    <a:lstStyle/>
                    <a:p>
                      <a:endParaRPr lang="en-US" dirty="0"/>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tc>
                  <a:txBody>
                    <a:bodyPr/>
                    <a:lstStyle/>
                    <a:p>
                      <a:endParaRPr lang="en-US" dirty="0"/>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tc>
                  <a:txBody>
                    <a:bodyPr/>
                    <a:lstStyle/>
                    <a:p>
                      <a:endParaRPr lang="en-US"/>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968556355"/>
                  </a:ext>
                </a:extLst>
              </a:tr>
              <a:tr h="1439618">
                <a:tc>
                  <a:txBody>
                    <a:bodyPr/>
                    <a:lstStyle/>
                    <a:p>
                      <a:endParaRPr lang="en-US" dirty="0"/>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tc>
                  <a:txBody>
                    <a:bodyPr/>
                    <a:lstStyle/>
                    <a:p>
                      <a:endParaRPr lang="en-US" dirty="0"/>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tc>
                  <a:txBody>
                    <a:bodyPr/>
                    <a:lstStyle/>
                    <a:p>
                      <a:endParaRPr lang="en-US" dirty="0"/>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tc>
                  <a:txBody>
                    <a:bodyPr/>
                    <a:lstStyle/>
                    <a:p>
                      <a:endParaRPr lang="en-US" dirty="0"/>
                    </a:p>
                  </a:txBody>
                  <a:tcPr>
                    <a:lnL w="3175" cap="flat" cmpd="sng" algn="ctr">
                      <a:solidFill>
                        <a:schemeClr val="bg1">
                          <a:lumMod val="90000"/>
                        </a:schemeClr>
                      </a:solidFill>
                      <a:prstDash val="solid"/>
                      <a:round/>
                      <a:headEnd type="none" w="med" len="med"/>
                      <a:tailEnd type="none" w="med" len="med"/>
                    </a:lnL>
                    <a:lnR w="3175" cap="flat" cmpd="sng" algn="ctr">
                      <a:solidFill>
                        <a:schemeClr val="bg1">
                          <a:lumMod val="90000"/>
                        </a:schemeClr>
                      </a:solidFill>
                      <a:prstDash val="solid"/>
                      <a:round/>
                      <a:headEnd type="none" w="med" len="med"/>
                      <a:tailEnd type="none" w="med" len="med"/>
                    </a:lnR>
                    <a:lnT w="3175" cap="flat" cmpd="sng" algn="ctr">
                      <a:solidFill>
                        <a:schemeClr val="bg1">
                          <a:lumMod val="90000"/>
                        </a:schemeClr>
                      </a:solidFill>
                      <a:prstDash val="solid"/>
                      <a:round/>
                      <a:headEnd type="none" w="med" len="med"/>
                      <a:tailEnd type="none" w="med" len="med"/>
                    </a:lnT>
                    <a:lnB w="3175"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555076446"/>
                  </a:ext>
                </a:extLst>
              </a:tr>
            </a:tbl>
          </a:graphicData>
        </a:graphic>
      </p:graphicFrame>
    </p:spTree>
    <p:extLst>
      <p:ext uri="{BB962C8B-B14F-4D97-AF65-F5344CB8AC3E}">
        <p14:creationId xmlns:p14="http://schemas.microsoft.com/office/powerpoint/2010/main" val="2828467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2EC39C54-9427-BC00-7699-806ECB64BA11}"/>
              </a:ext>
            </a:extLst>
          </p:cNvPr>
          <p:cNvGraphicFramePr>
            <a:graphicFrameLocks noChangeAspect="1"/>
          </p:cNvGraphicFramePr>
          <p:nvPr>
            <p:custDataLst>
              <p:tags r:id="rId1"/>
            </p:custDataLst>
            <p:extLst>
              <p:ext uri="{D42A27DB-BD31-4B8C-83A1-F6EECF244321}">
                <p14:modId xmlns:p14="http://schemas.microsoft.com/office/powerpoint/2010/main" val="171270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7" name="Object 26" hidden="1">
                        <a:extLst>
                          <a:ext uri="{FF2B5EF4-FFF2-40B4-BE49-F238E27FC236}">
                            <a16:creationId xmlns:a16="http://schemas.microsoft.com/office/drawing/2014/main" id="{2EC39C54-9427-BC00-7699-806ECB64BA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02E75FCE-53E7-944F-D75F-D1ED4EFBD693}"/>
              </a:ext>
            </a:extLst>
          </p:cNvPr>
          <p:cNvSpPr/>
          <p:nvPr/>
        </p:nvSpPr>
        <p:spPr>
          <a:xfrm>
            <a:off x="199176" y="6043034"/>
            <a:ext cx="1623020" cy="626729"/>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5" name="TextBox 4">
            <a:extLst>
              <a:ext uri="{FF2B5EF4-FFF2-40B4-BE49-F238E27FC236}">
                <a16:creationId xmlns:a16="http://schemas.microsoft.com/office/drawing/2014/main" id="{478EBAAF-7C89-24C2-120A-3086C7C1B673}"/>
              </a:ext>
            </a:extLst>
          </p:cNvPr>
          <p:cNvSpPr txBox="1"/>
          <p:nvPr/>
        </p:nvSpPr>
        <p:spPr>
          <a:xfrm>
            <a:off x="3943065" y="2636005"/>
            <a:ext cx="1751011" cy="1236236"/>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100" b="0" i="0" u="none" strike="noStrike" kern="0" cap="none" spc="0" normalizeH="0" baseline="0" noProof="0">
                <a:ln>
                  <a:noFill/>
                </a:ln>
                <a:solidFill>
                  <a:srgbClr val="000000"/>
                </a:solidFill>
                <a:effectLst/>
                <a:uLnTx/>
                <a:uFillTx/>
                <a:latin typeface="Calibri"/>
                <a:ea typeface="+mn-ea"/>
                <a:cs typeface="+mn-cs"/>
              </a:rPr>
              <a:t>2021 Named #1</a:t>
            </a:r>
            <a:r>
              <a:rPr kumimoji="0" lang="en-US" sz="1100" b="1" i="0" u="none" strike="noStrike" kern="0" cap="none" spc="0" normalizeH="0" baseline="0" noProof="0">
                <a:ln>
                  <a:noFill/>
                </a:ln>
                <a:solidFill>
                  <a:srgbClr val="000000"/>
                </a:solidFill>
                <a:effectLst/>
                <a:uLnTx/>
                <a:uFillTx/>
                <a:latin typeface="Calibri"/>
                <a:ea typeface="+mn-ea"/>
                <a:cs typeface="+mn-cs"/>
              </a:rPr>
              <a:t>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World’s Top Female Friendly Company</a:t>
            </a:r>
          </a:p>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2022 Named Best Employer for Women</a:t>
            </a:r>
            <a:r>
              <a:rPr kumimoji="0" lang="en-US" sz="1100" b="1" i="0" u="none" strike="noStrike" kern="0" cap="none" spc="0" normalizeH="0" baseline="0" noProof="0">
                <a:ln>
                  <a:noFill/>
                </a:ln>
                <a:solidFill>
                  <a:srgbClr val="003594"/>
                </a:solidFill>
                <a:effectLst/>
                <a:uLnTx/>
                <a:uFillTx/>
                <a:latin typeface="Calibri"/>
                <a:ea typeface="+mn-ea"/>
                <a:cs typeface="+mn-cs"/>
              </a:rPr>
              <a:t> </a:t>
            </a:r>
            <a:r>
              <a:rPr kumimoji="0" lang="en-US" sz="1100" b="0" i="0" u="none" strike="noStrike" kern="0" cap="none" spc="0" normalizeH="0" baseline="0" noProof="0">
                <a:ln>
                  <a:noFill/>
                </a:ln>
                <a:solidFill>
                  <a:srgbClr val="000000"/>
                </a:solidFill>
                <a:effectLst/>
                <a:uLnTx/>
                <a:uFillTx/>
                <a:latin typeface="Calibri"/>
                <a:ea typeface="+mn-ea"/>
                <a:cs typeface="+mn-cs"/>
              </a:rPr>
              <a:t>by Forbes </a:t>
            </a:r>
            <a:endParaRPr kumimoji="0" lang="en-US" sz="1100" b="0" i="0" u="none" strike="noStrike" kern="0" cap="none" spc="0" normalizeH="0" baseline="0" noProof="0">
              <a:ln>
                <a:noFill/>
              </a:ln>
              <a:solidFill>
                <a:srgbClr val="000000"/>
              </a:solidFill>
              <a:effectLst/>
              <a:uLnTx/>
              <a:uFillTx/>
              <a:latin typeface="Calibri"/>
              <a:ea typeface="+mn-ea"/>
              <a:cs typeface="Calibri"/>
            </a:endParaRPr>
          </a:p>
        </p:txBody>
      </p:sp>
      <p:cxnSp>
        <p:nvCxnSpPr>
          <p:cNvPr id="6" name="Straight Connector 5">
            <a:extLst>
              <a:ext uri="{FF2B5EF4-FFF2-40B4-BE49-F238E27FC236}">
                <a16:creationId xmlns:a16="http://schemas.microsoft.com/office/drawing/2014/main" id="{655F11DD-A534-7629-7D80-5EAC5D4D3C63}"/>
              </a:ext>
            </a:extLst>
          </p:cNvPr>
          <p:cNvCxnSpPr>
            <a:cxnSpLocks/>
          </p:cNvCxnSpPr>
          <p:nvPr/>
        </p:nvCxnSpPr>
        <p:spPr>
          <a:xfrm>
            <a:off x="338667" y="3864365"/>
            <a:ext cx="11422409" cy="0"/>
          </a:xfrm>
          <a:prstGeom prst="line">
            <a:avLst/>
          </a:prstGeom>
          <a:noFill/>
          <a:ln w="9525" cap="flat" cmpd="sng" algn="ctr">
            <a:solidFill>
              <a:srgbClr val="8B8D8D">
                <a:lumMod val="60000"/>
                <a:lumOff val="40000"/>
              </a:srgbClr>
            </a:solidFill>
            <a:prstDash val="solid"/>
          </a:ln>
          <a:effectLst/>
        </p:spPr>
      </p:cxnSp>
      <p:cxnSp>
        <p:nvCxnSpPr>
          <p:cNvPr id="7" name="Straight Connector 6">
            <a:extLst>
              <a:ext uri="{FF2B5EF4-FFF2-40B4-BE49-F238E27FC236}">
                <a16:creationId xmlns:a16="http://schemas.microsoft.com/office/drawing/2014/main" id="{D588CCDB-6120-20CC-97DB-5F5EBAF30F49}"/>
              </a:ext>
            </a:extLst>
          </p:cNvPr>
          <p:cNvCxnSpPr>
            <a:cxnSpLocks/>
          </p:cNvCxnSpPr>
          <p:nvPr/>
        </p:nvCxnSpPr>
        <p:spPr>
          <a:xfrm>
            <a:off x="5676496" y="1483019"/>
            <a:ext cx="0" cy="2381345"/>
          </a:xfrm>
          <a:prstGeom prst="line">
            <a:avLst/>
          </a:prstGeom>
          <a:noFill/>
          <a:ln w="9525" cap="flat" cmpd="sng" algn="ctr">
            <a:solidFill>
              <a:srgbClr val="8B8D8D">
                <a:lumMod val="60000"/>
                <a:lumOff val="40000"/>
              </a:srgbClr>
            </a:solidFill>
            <a:prstDash val="solid"/>
          </a:ln>
          <a:effectLst/>
        </p:spPr>
      </p:cxnSp>
      <p:cxnSp>
        <p:nvCxnSpPr>
          <p:cNvPr id="8" name="Straight Connector 7">
            <a:extLst>
              <a:ext uri="{FF2B5EF4-FFF2-40B4-BE49-F238E27FC236}">
                <a16:creationId xmlns:a16="http://schemas.microsoft.com/office/drawing/2014/main" id="{3C58FC8A-0C17-9A9C-7E58-D984FA3F2324}"/>
              </a:ext>
            </a:extLst>
          </p:cNvPr>
          <p:cNvCxnSpPr>
            <a:cxnSpLocks/>
          </p:cNvCxnSpPr>
          <p:nvPr/>
        </p:nvCxnSpPr>
        <p:spPr>
          <a:xfrm>
            <a:off x="5197458" y="3864364"/>
            <a:ext cx="0" cy="2381345"/>
          </a:xfrm>
          <a:prstGeom prst="line">
            <a:avLst/>
          </a:prstGeom>
          <a:noFill/>
          <a:ln w="9525" cap="flat" cmpd="sng" algn="ctr">
            <a:solidFill>
              <a:srgbClr val="8B8D8D">
                <a:lumMod val="60000"/>
                <a:lumOff val="40000"/>
              </a:srgbClr>
            </a:solidFill>
            <a:prstDash val="solid"/>
          </a:ln>
          <a:effectLst/>
        </p:spPr>
      </p:cxnSp>
      <p:cxnSp>
        <p:nvCxnSpPr>
          <p:cNvPr id="9" name="Straight Connector 8">
            <a:extLst>
              <a:ext uri="{FF2B5EF4-FFF2-40B4-BE49-F238E27FC236}">
                <a16:creationId xmlns:a16="http://schemas.microsoft.com/office/drawing/2014/main" id="{96F85F43-2F8A-DD01-68D6-F3AD288EA05E}"/>
              </a:ext>
            </a:extLst>
          </p:cNvPr>
          <p:cNvCxnSpPr>
            <a:cxnSpLocks/>
          </p:cNvCxnSpPr>
          <p:nvPr/>
        </p:nvCxnSpPr>
        <p:spPr>
          <a:xfrm>
            <a:off x="3943065" y="1538105"/>
            <a:ext cx="0" cy="2409519"/>
          </a:xfrm>
          <a:prstGeom prst="line">
            <a:avLst/>
          </a:prstGeom>
          <a:noFill/>
          <a:ln w="9525" cap="flat" cmpd="sng" algn="ctr">
            <a:solidFill>
              <a:srgbClr val="8B8D8D">
                <a:lumMod val="60000"/>
                <a:lumOff val="40000"/>
              </a:srgbClr>
            </a:solidFill>
            <a:prstDash val="solid"/>
          </a:ln>
          <a:effectLst/>
        </p:spPr>
      </p:cxnSp>
      <p:sp>
        <p:nvSpPr>
          <p:cNvPr id="10" name="TextBox 9">
            <a:extLst>
              <a:ext uri="{FF2B5EF4-FFF2-40B4-BE49-F238E27FC236}">
                <a16:creationId xmlns:a16="http://schemas.microsoft.com/office/drawing/2014/main" id="{5DE18FD2-3AFA-195E-40B4-5BC551555F9A}"/>
              </a:ext>
            </a:extLst>
          </p:cNvPr>
          <p:cNvSpPr txBox="1"/>
          <p:nvPr/>
        </p:nvSpPr>
        <p:spPr>
          <a:xfrm>
            <a:off x="5974431" y="3052896"/>
            <a:ext cx="3467616" cy="725840"/>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100" b="1" i="0" u="none" strike="noStrike" kern="0" cap="none" spc="0" normalizeH="0" baseline="0" noProof="0" dirty="0">
                <a:ln>
                  <a:noFill/>
                </a:ln>
                <a:solidFill>
                  <a:srgbClr val="003594">
                    <a:lumMod val="60000"/>
                    <a:lumOff val="40000"/>
                  </a:srgbClr>
                </a:solidFill>
                <a:effectLst/>
                <a:uLnTx/>
                <a:uFillTx/>
                <a:latin typeface="Calibri"/>
                <a:ea typeface="+mn-ea"/>
                <a:cs typeface="+mn-cs"/>
              </a:rPr>
              <a:t>#6</a:t>
            </a:r>
            <a:r>
              <a:rPr kumimoji="0" lang="en-US" sz="1200" b="1" i="0" u="none" strike="noStrike" kern="0" cap="none" spc="0" normalizeH="0" baseline="0" noProof="0" dirty="0">
                <a:ln>
                  <a:noFill/>
                </a:ln>
                <a:solidFill>
                  <a:srgbClr val="003594"/>
                </a:solidFill>
                <a:effectLst/>
                <a:uLnTx/>
                <a:uFillTx/>
                <a:latin typeface="Calibri"/>
                <a:ea typeface="+mn-ea"/>
                <a:cs typeface="+mn-cs"/>
              </a:rPr>
              <a:t> </a:t>
            </a:r>
            <a:r>
              <a:rPr kumimoji="0" lang="en-US" sz="1200" b="0" i="0" u="none" strike="noStrike" kern="0" cap="none" spc="0" normalizeH="0" baseline="0" noProof="0" dirty="0">
                <a:ln>
                  <a:noFill/>
                </a:ln>
                <a:solidFill>
                  <a:srgbClr val="000000"/>
                </a:solidFill>
                <a:effectLst/>
                <a:uLnTx/>
                <a:uFillTx/>
                <a:latin typeface="Calibri"/>
                <a:ea typeface="+mn-ea"/>
                <a:cs typeface="+mn-cs"/>
              </a:rPr>
              <a:t>on DiversityInc’s Top 50 Companies for Diversity</a:t>
            </a:r>
          </a:p>
          <a:p>
            <a:pPr marL="0" marR="0" lvl="0" indent="0" algn="l" defTabSz="457200" rtl="0" eaLnBrk="1" fontAlgn="auto" latinLnBrk="0" hangingPunct="1">
              <a:lnSpc>
                <a:spcPct val="100000"/>
              </a:lnSpc>
              <a:spcBef>
                <a:spcPts val="0"/>
              </a:spcBef>
              <a:spcAft>
                <a:spcPts val="400"/>
              </a:spcAft>
              <a:buClrTx/>
              <a:buSzTx/>
              <a:buFontTx/>
              <a:buNone/>
              <a:tabLst/>
              <a:defRPr/>
            </a:pPr>
            <a:r>
              <a:rPr kumimoji="0" lang="en-US" sz="1100" b="1" i="0" u="none" strike="noStrike" kern="0" cap="none" spc="0" normalizeH="0" baseline="0" noProof="0" dirty="0">
                <a:ln>
                  <a:noFill/>
                </a:ln>
                <a:solidFill>
                  <a:srgbClr val="003594">
                    <a:lumMod val="60000"/>
                    <a:lumOff val="40000"/>
                  </a:srgbClr>
                </a:solidFill>
                <a:effectLst/>
                <a:uLnTx/>
                <a:uFillTx/>
                <a:latin typeface="Calibri"/>
                <a:ea typeface="+mn-ea"/>
                <a:cs typeface="+mn-cs"/>
              </a:rPr>
              <a:t>10</a:t>
            </a:r>
            <a:r>
              <a:rPr kumimoji="0" lang="en-US" sz="1200" b="1" i="0" u="none" strike="noStrike" kern="0" cap="none" spc="0" normalizeH="0" baseline="0" noProof="0" dirty="0">
                <a:ln>
                  <a:noFill/>
                </a:ln>
                <a:solidFill>
                  <a:srgbClr val="000000"/>
                </a:solidFill>
                <a:effectLst/>
                <a:uLnTx/>
                <a:uFillTx/>
                <a:latin typeface="Calibri"/>
                <a:ea typeface="+mn-ea"/>
                <a:cs typeface="+mn-cs"/>
              </a:rPr>
              <a:t> </a:t>
            </a:r>
            <a:r>
              <a:rPr kumimoji="0" lang="en-US" sz="1200" b="0" i="0" u="none" strike="noStrike" kern="0" cap="none" spc="0" normalizeH="0" baseline="0" noProof="0" dirty="0">
                <a:ln>
                  <a:noFill/>
                </a:ln>
                <a:solidFill>
                  <a:srgbClr val="000000"/>
                </a:solidFill>
                <a:effectLst/>
                <a:uLnTx/>
                <a:uFillTx/>
                <a:latin typeface="Calibri"/>
                <a:ea typeface="+mn-ea"/>
                <a:cs typeface="+mn-cs"/>
              </a:rPr>
              <a:t>Top Company Designations</a:t>
            </a:r>
            <a:endParaRPr kumimoji="0" lang="en-US" sz="1200" b="0" i="0" u="none" strike="noStrike" kern="0" cap="none" spc="0" normalizeH="0" baseline="0" noProof="0" dirty="0">
              <a:ln>
                <a:noFill/>
              </a:ln>
              <a:solidFill>
                <a:srgbClr val="000000"/>
              </a:solidFill>
              <a:effectLst/>
              <a:uLnTx/>
              <a:uFillTx/>
              <a:latin typeface="Calibri"/>
              <a:ea typeface="+mn-ea"/>
              <a:cs typeface="Calibri"/>
            </a:endParaRPr>
          </a:p>
          <a:p>
            <a:pPr marL="460375" marR="0" lvl="0" indent="-169545" algn="l" defTabSz="457200" rtl="0" eaLnBrk="1" fontAlgn="auto" latinLnBrk="0" hangingPunct="1">
              <a:lnSpc>
                <a:spcPct val="100000"/>
              </a:lnSpc>
              <a:spcBef>
                <a:spcPts val="0"/>
              </a:spcBef>
              <a:spcAft>
                <a:spcPts val="200"/>
              </a:spcAft>
              <a:buClr>
                <a:srgbClr val="8B8D8D"/>
              </a:buClr>
              <a:buSzTx/>
              <a:buFont typeface="Arial" panose="020B0604020202020204" pitchFamily="34" charset="0"/>
              <a:buChar char="•"/>
              <a:tabLst/>
              <a:defRPr/>
            </a:pPr>
            <a:endParaRPr kumimoji="0" lang="en-US" sz="1050" b="0" i="1" u="none" strike="noStrike" kern="0" cap="none" spc="0" normalizeH="0" baseline="0" noProof="0" dirty="0">
              <a:ln>
                <a:noFill/>
              </a:ln>
              <a:solidFill>
                <a:srgbClr val="000000"/>
              </a:solidFill>
              <a:effectLst/>
              <a:uLnTx/>
              <a:uFillTx/>
              <a:latin typeface="Calibri"/>
              <a:ea typeface="+mn-ea"/>
              <a:cs typeface="Calibri"/>
            </a:endParaRPr>
          </a:p>
        </p:txBody>
      </p:sp>
      <p:sp>
        <p:nvSpPr>
          <p:cNvPr id="11" name="TextBox 10">
            <a:extLst>
              <a:ext uri="{FF2B5EF4-FFF2-40B4-BE49-F238E27FC236}">
                <a16:creationId xmlns:a16="http://schemas.microsoft.com/office/drawing/2014/main" id="{BD40E38B-A7FA-3E98-E697-6A0653162645}"/>
              </a:ext>
            </a:extLst>
          </p:cNvPr>
          <p:cNvSpPr txBox="1"/>
          <p:nvPr/>
        </p:nvSpPr>
        <p:spPr>
          <a:xfrm>
            <a:off x="2523014" y="5169362"/>
            <a:ext cx="2559620" cy="728405"/>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Lead Sponsor of NOD’s 40th Anniversary</a:t>
            </a:r>
            <a:r>
              <a:rPr kumimoji="0" lang="en-US" sz="1100" b="1" i="0" u="none" strike="noStrike" kern="0" cap="none" spc="0" normalizeH="0" baseline="0" noProof="0">
                <a:ln>
                  <a:noFill/>
                </a:ln>
                <a:solidFill>
                  <a:srgbClr val="003594"/>
                </a:solidFill>
                <a:effectLst/>
                <a:uLnTx/>
                <a:uFillTx/>
                <a:latin typeface="Calibri"/>
                <a:ea typeface="+mn-ea"/>
                <a:cs typeface="+mn-cs"/>
              </a:rPr>
              <a:t> </a:t>
            </a:r>
            <a:r>
              <a:rPr kumimoji="0" lang="en-US" sz="1100" b="0" i="0" u="none" strike="noStrike" kern="0" cap="none" spc="0" normalizeH="0" baseline="0" noProof="0">
                <a:ln>
                  <a:noFill/>
                </a:ln>
                <a:solidFill>
                  <a:srgbClr val="000000"/>
                </a:solidFill>
                <a:effectLst/>
                <a:uLnTx/>
                <a:uFillTx/>
                <a:latin typeface="Calibri"/>
                <a:ea typeface="+mn-ea"/>
                <a:cs typeface="+mn-cs"/>
              </a:rPr>
              <a:t>event honoring Governor Tom Ridge </a:t>
            </a:r>
            <a:r>
              <a:rPr kumimoji="0" lang="en-US" sz="1100" b="1" i="0" u="none" strike="noStrike" kern="0" cap="none" spc="0" normalizeH="0" baseline="0" noProof="0">
                <a:ln>
                  <a:noFill/>
                </a:ln>
                <a:solidFill>
                  <a:srgbClr val="003594"/>
                </a:solidFill>
                <a:effectLst/>
                <a:uLnTx/>
                <a:uFillTx/>
                <a:latin typeface="Calibri"/>
                <a:ea typeface="+mn-ea"/>
                <a:cs typeface="+mn-cs"/>
              </a:rPr>
              <a:t> </a:t>
            </a:r>
            <a:endPar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100" b="0" i="0" u="none" strike="noStrike" kern="0" cap="none" spc="0" normalizeH="0" baseline="0" noProof="0">
                <a:ln>
                  <a:noFill/>
                </a:ln>
                <a:solidFill>
                  <a:srgbClr val="000000"/>
                </a:solidFill>
                <a:effectLst/>
                <a:uLnTx/>
                <a:uFillTx/>
                <a:latin typeface="Calibri"/>
                <a:ea typeface="+mn-ea"/>
                <a:cs typeface="+mn-cs"/>
              </a:rPr>
              <a:t>7x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Leading Disability Employer Seals</a:t>
            </a:r>
          </a:p>
        </p:txBody>
      </p:sp>
      <p:sp>
        <p:nvSpPr>
          <p:cNvPr id="12" name="TextBox 11">
            <a:extLst>
              <a:ext uri="{FF2B5EF4-FFF2-40B4-BE49-F238E27FC236}">
                <a16:creationId xmlns:a16="http://schemas.microsoft.com/office/drawing/2014/main" id="{D0B855CF-05C5-4BC3-8D11-0B6B65774367}"/>
              </a:ext>
            </a:extLst>
          </p:cNvPr>
          <p:cNvSpPr txBox="1"/>
          <p:nvPr/>
        </p:nvSpPr>
        <p:spPr>
          <a:xfrm>
            <a:off x="10628819" y="5097498"/>
            <a:ext cx="892894" cy="769441"/>
          </a:xfrm>
          <a:prstGeom prst="rect">
            <a:avLst/>
          </a:prstGeom>
          <a:noFill/>
        </p:spPr>
        <p:txBody>
          <a:bodyPr wrap="square" lIns="91440" tIns="45720" rIns="91440" bIns="45720" rtlCol="0" anchor="t">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solidFill>
                <a:effectLst/>
                <a:uLnTx/>
                <a:uFillTx/>
                <a:latin typeface="Calibri"/>
                <a:ea typeface="+mn-ea"/>
                <a:cs typeface="+mn-cs"/>
              </a:rPr>
              <a:t>2x Named</a:t>
            </a:r>
            <a:r>
              <a:rPr kumimoji="0" lang="en-US" sz="1100" b="1" i="0" u="none" strike="noStrike" kern="0" cap="none" spc="0" normalizeH="0" baseline="0" noProof="0">
                <a:ln>
                  <a:noFill/>
                </a:ln>
                <a:solidFill>
                  <a:srgbClr val="000000"/>
                </a:solidFill>
                <a:effectLst/>
                <a:uLnTx/>
                <a:uFillTx/>
                <a:latin typeface="Calibri"/>
                <a:ea typeface="+mn-ea"/>
                <a:cs typeface="+mn-cs"/>
              </a:rPr>
              <a:t>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Top Employers in Toronto</a:t>
            </a:r>
          </a:p>
        </p:txBody>
      </p:sp>
      <p:pic>
        <p:nvPicPr>
          <p:cNvPr id="13" name="Picture 12">
            <a:extLst>
              <a:ext uri="{FF2B5EF4-FFF2-40B4-BE49-F238E27FC236}">
                <a16:creationId xmlns:a16="http://schemas.microsoft.com/office/drawing/2014/main" id="{8709B4AB-A522-73AA-4D13-166903ADCBE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78422" y="3947624"/>
            <a:ext cx="1371699" cy="1215971"/>
          </a:xfrm>
          <a:prstGeom prst="rect">
            <a:avLst/>
          </a:prstGeom>
        </p:spPr>
      </p:pic>
      <p:sp>
        <p:nvSpPr>
          <p:cNvPr id="14" name="TextBox 13">
            <a:extLst>
              <a:ext uri="{FF2B5EF4-FFF2-40B4-BE49-F238E27FC236}">
                <a16:creationId xmlns:a16="http://schemas.microsoft.com/office/drawing/2014/main" id="{255B88D6-7AAA-2ECF-0754-796363886269}"/>
              </a:ext>
            </a:extLst>
          </p:cNvPr>
          <p:cNvSpPr txBox="1"/>
          <p:nvPr/>
        </p:nvSpPr>
        <p:spPr>
          <a:xfrm>
            <a:off x="407941" y="2849446"/>
            <a:ext cx="2490611" cy="938719"/>
          </a:xfrm>
          <a:prstGeom prst="rect">
            <a:avLst/>
          </a:prstGeom>
          <a:noFill/>
        </p:spPr>
        <p:txBody>
          <a:bodyPr wrap="square" lIns="91440" tIns="45720" rIns="91440" bIns="45720" rtlCol="0" anchor="t">
            <a:spAutoFit/>
          </a:bodyPr>
          <a:lstStyle/>
          <a:p>
            <a:pPr defTabSz="457200" eaLnBrk="0" fontAlgn="base" hangingPunct="0">
              <a:spcBef>
                <a:spcPct val="0"/>
              </a:spcBef>
              <a:spcAft>
                <a:spcPct val="0"/>
              </a:spcAft>
              <a:defRPr/>
            </a:pPr>
            <a:r>
              <a:rPr kumimoji="0" lang="en-US" sz="1100" b="0" i="0" u="none" strike="noStrike" kern="0" cap="none" spc="0" normalizeH="0" baseline="0" noProof="0" dirty="0">
                <a:ln>
                  <a:noFill/>
                </a:ln>
                <a:solidFill>
                  <a:srgbClr val="000000"/>
                </a:solidFill>
                <a:effectLst/>
                <a:uLnTx/>
                <a:uFillTx/>
                <a:latin typeface="Calibri"/>
                <a:ea typeface="+mn-ea"/>
                <a:cs typeface="+mn-cs"/>
              </a:rPr>
              <a:t>Named a </a:t>
            </a:r>
            <a:r>
              <a:rPr kumimoji="0" lang="en-US" sz="1100" b="1" i="0" u="none" strike="noStrike" kern="0" cap="none" spc="0" normalizeH="0" baseline="0" noProof="0" dirty="0">
                <a:ln>
                  <a:noFill/>
                </a:ln>
                <a:solidFill>
                  <a:srgbClr val="003594"/>
                </a:solidFill>
                <a:effectLst/>
                <a:uLnTx/>
                <a:uFillTx/>
                <a:latin typeface="Calibri"/>
                <a:ea typeface="+mn-ea"/>
                <a:cs typeface="+mn-cs"/>
              </a:rPr>
              <a:t>Great Place to Work in U.S.,</a:t>
            </a:r>
            <a:r>
              <a:rPr lang="en-US" sz="1100" b="1" kern="0" dirty="0">
                <a:solidFill>
                  <a:srgbClr val="003594"/>
                </a:solidFill>
                <a:latin typeface="Calibri"/>
              </a:rPr>
              <a:t> Mexico, </a:t>
            </a:r>
            <a:r>
              <a:rPr kumimoji="0" lang="en-US" sz="1100" b="1" i="0" u="none" strike="noStrike" kern="0" cap="none" spc="0" normalizeH="0" baseline="0" noProof="0" dirty="0">
                <a:ln>
                  <a:noFill/>
                </a:ln>
                <a:solidFill>
                  <a:srgbClr val="003594"/>
                </a:solidFill>
                <a:effectLst/>
                <a:uLnTx/>
                <a:uFillTx/>
                <a:latin typeface="Calibri"/>
                <a:ea typeface="+mn-ea"/>
                <a:cs typeface="+mn-cs"/>
              </a:rPr>
              <a:t>Brazil</a:t>
            </a:r>
            <a:r>
              <a:rPr lang="en-US" sz="1100" b="1" kern="0" dirty="0">
                <a:solidFill>
                  <a:srgbClr val="000000"/>
                </a:solidFill>
                <a:latin typeface="Calibri"/>
              </a:rPr>
              <a:t>, </a:t>
            </a:r>
            <a:r>
              <a:rPr kumimoji="0" lang="en-US" sz="1100" b="1" i="0" u="none" strike="noStrike" kern="0" cap="none" spc="0" normalizeH="0" baseline="0" noProof="0" dirty="0">
                <a:ln>
                  <a:noFill/>
                </a:ln>
                <a:solidFill>
                  <a:srgbClr val="003594"/>
                </a:solidFill>
                <a:effectLst/>
                <a:uLnTx/>
                <a:uFillTx/>
                <a:latin typeface="Calibri"/>
                <a:ea typeface="+mn-ea"/>
                <a:cs typeface="+mn-cs"/>
              </a:rPr>
              <a:t>India and Europe </a:t>
            </a: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0000">
                  <a:lumMod val="85000"/>
                  <a:lumOff val="15000"/>
                </a:srgbClr>
              </a:solidFill>
              <a:effectLst/>
              <a:uLnTx/>
              <a:uFillTx/>
              <a:latin typeface="Calibri"/>
              <a:ea typeface="+mn-ea"/>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003594"/>
                </a:solidFill>
                <a:effectLst/>
                <a:uLnTx/>
                <a:uFillTx/>
                <a:latin typeface="Calibri"/>
                <a:ea typeface="+mn-ea"/>
                <a:cs typeface="+mn-cs"/>
              </a:rPr>
              <a:t>HSY Brazil ranked 18th </a:t>
            </a:r>
            <a:r>
              <a:rPr kumimoji="0" lang="en-US" sz="1100" b="0" i="0" u="none" strike="noStrike" kern="0" cap="none" spc="0" normalizeH="0" baseline="0" noProof="0" dirty="0">
                <a:ln>
                  <a:noFill/>
                </a:ln>
                <a:solidFill>
                  <a:srgbClr val="000000"/>
                </a:solidFill>
                <a:effectLst/>
                <a:uLnTx/>
                <a:uFillTx/>
                <a:latin typeface="Calibri"/>
                <a:ea typeface="+mn-ea"/>
                <a:cs typeface="+mn-cs"/>
              </a:rPr>
              <a:t>across medium-sized Brazilian organizations</a:t>
            </a:r>
            <a:endParaRPr lang="en-US" sz="1100" b="0" i="0" u="none" strike="noStrike" kern="0" cap="none" spc="0" normalizeH="0" baseline="0" noProof="0" dirty="0">
              <a:ln>
                <a:noFill/>
              </a:ln>
              <a:solidFill>
                <a:srgbClr val="000000"/>
              </a:solidFill>
              <a:effectLst/>
              <a:uLnTx/>
              <a:uFillTx/>
              <a:latin typeface="Calibri"/>
              <a:cs typeface="Calibri"/>
            </a:endParaRPr>
          </a:p>
        </p:txBody>
      </p:sp>
      <p:sp>
        <p:nvSpPr>
          <p:cNvPr id="15" name="TextBox 14">
            <a:extLst>
              <a:ext uri="{FF2B5EF4-FFF2-40B4-BE49-F238E27FC236}">
                <a16:creationId xmlns:a16="http://schemas.microsoft.com/office/drawing/2014/main" id="{4A319111-48F1-0D7B-605A-3D689FA72EC5}"/>
              </a:ext>
            </a:extLst>
          </p:cNvPr>
          <p:cNvSpPr txBox="1"/>
          <p:nvPr/>
        </p:nvSpPr>
        <p:spPr>
          <a:xfrm>
            <a:off x="7434123" y="5513046"/>
            <a:ext cx="1621889" cy="600164"/>
          </a:xfrm>
          <a:prstGeom prst="rect">
            <a:avLst/>
          </a:prstGeom>
          <a:noFill/>
        </p:spPr>
        <p:txBody>
          <a:bodyPr wrap="square" lIns="91440" tIns="45720" rIns="91440" bIns="45720" rtlCol="0" anchor="t">
            <a:spAutoFit/>
          </a:bodyPr>
          <a:lstStyle/>
          <a:p>
            <a:pPr marL="0" marR="0" lvl="0" indent="0" algn="l" defTabSz="457200" rtl="0" eaLnBrk="0" fontAlgn="base" latinLnBrk="0" hangingPunct="0">
              <a:lnSpc>
                <a:spcPct val="100000"/>
              </a:lnSpc>
              <a:spcBef>
                <a:spcPct val="0"/>
              </a:spcBef>
              <a:spcAft>
                <a:spcPct val="0"/>
              </a:spcAft>
              <a:buClr>
                <a:srgbClr val="8B8D8D"/>
              </a:buClr>
              <a:buSzTx/>
              <a:buFontTx/>
              <a:buNone/>
              <a:tabLst/>
              <a:defRPr/>
            </a:pP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Wall Street Journal Management Top 250:</a:t>
            </a:r>
          </a:p>
          <a:p>
            <a:pPr marL="171450" marR="0" lvl="0" indent="-171450" algn="l" defTabSz="457200" rtl="0" eaLnBrk="0" fontAlgn="base" latinLnBrk="0" hangingPunct="0">
              <a:lnSpc>
                <a:spcPct val="100000"/>
              </a:lnSpc>
              <a:spcBef>
                <a:spcPct val="0"/>
              </a:spcBef>
              <a:spcAft>
                <a:spcPct val="0"/>
              </a:spcAft>
              <a:buClr>
                <a:srgbClr val="8B8D8D"/>
              </a:buClr>
              <a:buSzTx/>
              <a:buFont typeface="Arial" panose="020B0604020202020204" pitchFamily="34" charset="0"/>
              <a:buChar char="•"/>
              <a:tabLst/>
              <a:defRPr/>
            </a:pP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28 in 2022</a:t>
            </a:r>
            <a:endParaRPr kumimoji="0" lang="en-US" sz="1100" b="0" i="0" u="none" strike="noStrike" kern="0" cap="none" spc="0" normalizeH="0" baseline="0" noProof="0">
              <a:ln>
                <a:noFill/>
              </a:ln>
              <a:solidFill>
                <a:srgbClr val="000000"/>
              </a:solidFill>
              <a:effectLst/>
              <a:uLnTx/>
              <a:uFillTx/>
              <a:latin typeface="Calibri"/>
              <a:ea typeface="+mn-ea"/>
              <a:cs typeface="Calibri"/>
            </a:endParaRPr>
          </a:p>
        </p:txBody>
      </p:sp>
      <p:cxnSp>
        <p:nvCxnSpPr>
          <p:cNvPr id="16" name="Straight Connector 15">
            <a:extLst>
              <a:ext uri="{FF2B5EF4-FFF2-40B4-BE49-F238E27FC236}">
                <a16:creationId xmlns:a16="http://schemas.microsoft.com/office/drawing/2014/main" id="{13D260C3-8278-3F23-7B79-4AD846DAC58C}"/>
              </a:ext>
            </a:extLst>
          </p:cNvPr>
          <p:cNvCxnSpPr>
            <a:cxnSpLocks/>
          </p:cNvCxnSpPr>
          <p:nvPr/>
        </p:nvCxnSpPr>
        <p:spPr>
          <a:xfrm>
            <a:off x="2523014" y="3878450"/>
            <a:ext cx="0" cy="2381345"/>
          </a:xfrm>
          <a:prstGeom prst="line">
            <a:avLst/>
          </a:prstGeom>
          <a:noFill/>
          <a:ln w="9525" cap="flat" cmpd="sng" algn="ctr">
            <a:solidFill>
              <a:srgbClr val="8B8D8D">
                <a:lumMod val="60000"/>
                <a:lumOff val="40000"/>
              </a:srgbClr>
            </a:solidFill>
            <a:prstDash val="solid"/>
          </a:ln>
          <a:effectLst/>
        </p:spPr>
      </p:cxnSp>
      <p:sp>
        <p:nvSpPr>
          <p:cNvPr id="17" name="TextBox 16">
            <a:extLst>
              <a:ext uri="{FF2B5EF4-FFF2-40B4-BE49-F238E27FC236}">
                <a16:creationId xmlns:a16="http://schemas.microsoft.com/office/drawing/2014/main" id="{57979B63-A042-F6A7-5AD5-4106971ED54F}"/>
              </a:ext>
            </a:extLst>
          </p:cNvPr>
          <p:cNvSpPr txBox="1"/>
          <p:nvPr/>
        </p:nvSpPr>
        <p:spPr>
          <a:xfrm>
            <a:off x="5367043" y="5104315"/>
            <a:ext cx="1855144" cy="938719"/>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srgbClr val="000000">
                    <a:lumMod val="85000"/>
                    <a:lumOff val="15000"/>
                  </a:srgbClr>
                </a:solidFill>
                <a:effectLst/>
                <a:uLnTx/>
                <a:uFillTx/>
                <a:latin typeface="Calibri"/>
                <a:ea typeface="+mn-ea"/>
                <a:cs typeface="+mn-cs"/>
              </a:rPr>
              <a:t>Recognized on the</a:t>
            </a:r>
            <a:r>
              <a:rPr kumimoji="0" lang="en-US" sz="1100" b="1" i="0" u="none" strike="noStrike" kern="0" cap="none" spc="0" normalizeH="0" baseline="0" noProof="0">
                <a:ln>
                  <a:noFill/>
                </a:ln>
                <a:solidFill>
                  <a:srgbClr val="000000">
                    <a:lumMod val="85000"/>
                    <a:lumOff val="15000"/>
                  </a:srgbClr>
                </a:solidFill>
                <a:effectLst/>
                <a:uLnTx/>
                <a:uFillTx/>
                <a:latin typeface="Calibri"/>
                <a:ea typeface="+mn-ea"/>
                <a:cs typeface="+mn-cs"/>
              </a:rPr>
              <a:t>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Civic 50 list </a:t>
            </a:r>
            <a:r>
              <a:rPr kumimoji="0" lang="en-US" sz="1100" b="0" i="0" u="none" strike="noStrike" kern="0" cap="none" spc="0" normalizeH="0" baseline="0" noProof="0">
                <a:ln>
                  <a:noFill/>
                </a:ln>
                <a:solidFill>
                  <a:srgbClr val="000000"/>
                </a:solidFill>
                <a:effectLst/>
                <a:uLnTx/>
                <a:uFillTx/>
                <a:latin typeface="Calibri"/>
                <a:ea typeface="+mn-ea"/>
                <a:cs typeface="+mn-cs"/>
              </a:rPr>
              <a:t>as</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 Consumer Staples Sector Leader </a:t>
            </a:r>
            <a:r>
              <a:rPr kumimoji="0" lang="en-US" sz="1100" b="0" i="0" u="none" strike="noStrike" kern="0" cap="none" spc="0" normalizeH="0" baseline="0" noProof="0">
                <a:ln>
                  <a:noFill/>
                </a:ln>
                <a:solidFill>
                  <a:srgbClr val="000000">
                    <a:lumMod val="85000"/>
                    <a:lumOff val="15000"/>
                  </a:srgbClr>
                </a:solidFill>
                <a:effectLst/>
                <a:uLnTx/>
                <a:uFillTx/>
                <a:latin typeface="Calibri"/>
                <a:ea typeface="+mn-ea"/>
                <a:cs typeface="+mn-cs"/>
              </a:rPr>
              <a:t>by Points of Light for the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10</a:t>
            </a:r>
            <a:r>
              <a:rPr kumimoji="0" lang="en-US" sz="1100" b="1" i="0" u="none" strike="noStrike" kern="0" cap="none" spc="0" normalizeH="0" baseline="30000" noProof="0">
                <a:ln>
                  <a:noFill/>
                </a:ln>
                <a:solidFill>
                  <a:srgbClr val="003594">
                    <a:lumMod val="60000"/>
                    <a:lumOff val="40000"/>
                  </a:srgbClr>
                </a:solidFill>
                <a:effectLst/>
                <a:uLnTx/>
                <a:uFillTx/>
                <a:latin typeface="Calibri"/>
                <a:ea typeface="+mn-ea"/>
                <a:cs typeface="+mn-cs"/>
              </a:rPr>
              <a:t>th</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 straight year</a:t>
            </a:r>
          </a:p>
        </p:txBody>
      </p:sp>
      <p:sp>
        <p:nvSpPr>
          <p:cNvPr id="18" name="TextBox 17">
            <a:extLst>
              <a:ext uri="{FF2B5EF4-FFF2-40B4-BE49-F238E27FC236}">
                <a16:creationId xmlns:a16="http://schemas.microsoft.com/office/drawing/2014/main" id="{2559A78D-F0B2-7F59-0CEF-1120892616BB}"/>
              </a:ext>
            </a:extLst>
          </p:cNvPr>
          <p:cNvSpPr txBox="1"/>
          <p:nvPr/>
        </p:nvSpPr>
        <p:spPr>
          <a:xfrm>
            <a:off x="10019146" y="2797135"/>
            <a:ext cx="1817006" cy="769441"/>
          </a:xfrm>
          <a:prstGeom prst="rect">
            <a:avLst/>
          </a:prstGeom>
          <a:noFill/>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8X 100% rating </a:t>
            </a:r>
            <a:r>
              <a:rPr kumimoji="0" lang="en-US" sz="1100" b="0" i="0" u="none" strike="noStrike" kern="0" cap="none" spc="0" normalizeH="0" baseline="0" noProof="0">
                <a:ln>
                  <a:noFill/>
                </a:ln>
                <a:solidFill>
                  <a:srgbClr val="000000">
                    <a:lumMod val="85000"/>
                    <a:lumOff val="15000"/>
                  </a:srgbClr>
                </a:solidFill>
                <a:effectLst/>
                <a:uLnTx/>
                <a:uFillTx/>
                <a:latin typeface="Calibri"/>
                <a:ea typeface="+mn-ea"/>
                <a:cs typeface="+mn-cs"/>
              </a:rPr>
              <a:t>on HRC Corporate Equality Index and 2022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Best Places to Work for LGBTQ Equality </a:t>
            </a:r>
            <a:endParaRPr kumimoji="0" lang="en-US" sz="1100" b="0" i="0" u="none" strike="noStrike" kern="0" cap="none" spc="0" normalizeH="0" baseline="0" noProof="0">
              <a:ln>
                <a:noFill/>
              </a:ln>
              <a:solidFill>
                <a:srgbClr val="003594">
                  <a:lumMod val="60000"/>
                  <a:lumOff val="40000"/>
                </a:srgbClr>
              </a:solidFill>
              <a:effectLst/>
              <a:uLnTx/>
              <a:uFillTx/>
              <a:latin typeface="Calibri"/>
              <a:ea typeface="+mn-ea"/>
              <a:cs typeface="+mn-cs"/>
            </a:endParaRPr>
          </a:p>
        </p:txBody>
      </p:sp>
      <p:pic>
        <p:nvPicPr>
          <p:cNvPr id="19" name="Picture 2" descr="The Just 100 2021">
            <a:extLst>
              <a:ext uri="{FF2B5EF4-FFF2-40B4-BE49-F238E27FC236}">
                <a16:creationId xmlns:a16="http://schemas.microsoft.com/office/drawing/2014/main" id="{DD932B42-2B54-ED2E-0771-D3DDA40C17C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13100" y="3899314"/>
            <a:ext cx="909096" cy="909096"/>
          </a:xfrm>
          <a:prstGeom prst="rect">
            <a:avLst/>
          </a:prstGeom>
          <a:noFill/>
          <a:extLst>
            <a:ext uri="{909E8E84-426E-40DD-AFC4-6F175D3DCCD1}">
              <a14:hiddenFill xmlns:a14="http://schemas.microsoft.com/office/drawing/2010/main">
                <a:solidFill>
                  <a:srgbClr val="FFFFFF"/>
                </a:solidFill>
              </a14:hiddenFill>
            </a:ext>
          </a:extLst>
        </p:spPr>
      </p:pic>
      <p:cxnSp>
        <p:nvCxnSpPr>
          <p:cNvPr id="20" name="Straight Connector 19">
            <a:extLst>
              <a:ext uri="{FF2B5EF4-FFF2-40B4-BE49-F238E27FC236}">
                <a16:creationId xmlns:a16="http://schemas.microsoft.com/office/drawing/2014/main" id="{5979BC06-0425-A25F-B1B7-A30533364E2C}"/>
              </a:ext>
            </a:extLst>
          </p:cNvPr>
          <p:cNvCxnSpPr>
            <a:cxnSpLocks/>
          </p:cNvCxnSpPr>
          <p:nvPr/>
        </p:nvCxnSpPr>
        <p:spPr>
          <a:xfrm>
            <a:off x="9759157" y="1454845"/>
            <a:ext cx="0" cy="2409519"/>
          </a:xfrm>
          <a:prstGeom prst="line">
            <a:avLst/>
          </a:prstGeom>
          <a:noFill/>
          <a:ln w="9525" cap="flat" cmpd="sng" algn="ctr">
            <a:solidFill>
              <a:srgbClr val="8B8D8D">
                <a:lumMod val="60000"/>
                <a:lumOff val="40000"/>
              </a:srgbClr>
            </a:solidFill>
            <a:prstDash val="solid"/>
          </a:ln>
          <a:effectLst/>
        </p:spPr>
      </p:cxnSp>
      <p:cxnSp>
        <p:nvCxnSpPr>
          <p:cNvPr id="21" name="Straight Connector 20">
            <a:extLst>
              <a:ext uri="{FF2B5EF4-FFF2-40B4-BE49-F238E27FC236}">
                <a16:creationId xmlns:a16="http://schemas.microsoft.com/office/drawing/2014/main" id="{4E91A83A-2745-37C0-4FB0-920C0D80E048}"/>
              </a:ext>
            </a:extLst>
          </p:cNvPr>
          <p:cNvCxnSpPr>
            <a:cxnSpLocks/>
          </p:cNvCxnSpPr>
          <p:nvPr/>
        </p:nvCxnSpPr>
        <p:spPr>
          <a:xfrm>
            <a:off x="9207080" y="3850276"/>
            <a:ext cx="0" cy="2409519"/>
          </a:xfrm>
          <a:prstGeom prst="line">
            <a:avLst/>
          </a:prstGeom>
          <a:noFill/>
          <a:ln w="9525" cap="flat" cmpd="sng" algn="ctr">
            <a:solidFill>
              <a:srgbClr val="8B8D8D">
                <a:lumMod val="60000"/>
                <a:lumOff val="40000"/>
              </a:srgbClr>
            </a:solidFill>
            <a:prstDash val="solid"/>
          </a:ln>
          <a:effectLst/>
        </p:spPr>
      </p:cxnSp>
      <p:cxnSp>
        <p:nvCxnSpPr>
          <p:cNvPr id="22" name="Straight Connector 21">
            <a:extLst>
              <a:ext uri="{FF2B5EF4-FFF2-40B4-BE49-F238E27FC236}">
                <a16:creationId xmlns:a16="http://schemas.microsoft.com/office/drawing/2014/main" id="{44B6CBED-303B-0CCB-260A-9A640D235DE2}"/>
              </a:ext>
            </a:extLst>
          </p:cNvPr>
          <p:cNvCxnSpPr>
            <a:cxnSpLocks/>
          </p:cNvCxnSpPr>
          <p:nvPr/>
        </p:nvCxnSpPr>
        <p:spPr>
          <a:xfrm>
            <a:off x="7231199" y="3864364"/>
            <a:ext cx="0" cy="2409519"/>
          </a:xfrm>
          <a:prstGeom prst="line">
            <a:avLst/>
          </a:prstGeom>
          <a:noFill/>
          <a:ln w="9525" cap="flat" cmpd="sng" algn="ctr">
            <a:solidFill>
              <a:srgbClr val="8B8D8D">
                <a:lumMod val="60000"/>
                <a:lumOff val="40000"/>
              </a:srgbClr>
            </a:solidFill>
            <a:prstDash val="solid"/>
          </a:ln>
          <a:effectLst/>
        </p:spPr>
      </p:cxnSp>
      <p:sp>
        <p:nvSpPr>
          <p:cNvPr id="23" name="TextBox 22">
            <a:extLst>
              <a:ext uri="{FF2B5EF4-FFF2-40B4-BE49-F238E27FC236}">
                <a16:creationId xmlns:a16="http://schemas.microsoft.com/office/drawing/2014/main" id="{E2345932-1A6C-E8CC-FA55-2A03DCCF7053}"/>
              </a:ext>
            </a:extLst>
          </p:cNvPr>
          <p:cNvSpPr txBox="1"/>
          <p:nvPr/>
        </p:nvSpPr>
        <p:spPr>
          <a:xfrm>
            <a:off x="497174" y="4749787"/>
            <a:ext cx="1740948" cy="430887"/>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1000"/>
              </a:spcAft>
              <a:buClrTx/>
              <a:buSzTx/>
              <a:buFontTx/>
              <a:buNone/>
              <a:tabLst/>
              <a:defRPr/>
            </a:pPr>
            <a:r>
              <a:rPr kumimoji="0" lang="en-US" sz="1100" b="0" i="0" u="none" strike="noStrike" kern="0" cap="none" spc="0" normalizeH="0" baseline="0" noProof="0">
                <a:ln>
                  <a:noFill/>
                </a:ln>
                <a:solidFill>
                  <a:srgbClr val="000000"/>
                </a:solidFill>
                <a:effectLst/>
                <a:uLnTx/>
                <a:uFillTx/>
                <a:latin typeface="Calibri"/>
                <a:ea typeface="+mn-ea"/>
                <a:cs typeface="+mn-cs"/>
              </a:rPr>
              <a:t>2021 Named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America’s Most JUST Companies</a:t>
            </a:r>
          </a:p>
        </p:txBody>
      </p:sp>
      <p:sp>
        <p:nvSpPr>
          <p:cNvPr id="24" name="TextBox 23">
            <a:extLst>
              <a:ext uri="{FF2B5EF4-FFF2-40B4-BE49-F238E27FC236}">
                <a16:creationId xmlns:a16="http://schemas.microsoft.com/office/drawing/2014/main" id="{66B41460-ED54-C127-3CD5-9F7B0D74E1FE}"/>
              </a:ext>
            </a:extLst>
          </p:cNvPr>
          <p:cNvSpPr txBox="1"/>
          <p:nvPr/>
        </p:nvSpPr>
        <p:spPr>
          <a:xfrm>
            <a:off x="10264958" y="4117960"/>
            <a:ext cx="1620617" cy="430887"/>
          </a:xfrm>
          <a:prstGeom prst="rect">
            <a:avLst/>
          </a:prstGeom>
          <a:noFill/>
        </p:spPr>
        <p:txBody>
          <a:bodyPr wrap="square" lIns="91440" tIns="45720" rIns="91440" bIns="45720" anchor="t">
            <a:sp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100" b="0" i="0" u="none" strike="noStrike" kern="0" cap="none" spc="0" normalizeH="0" baseline="0" noProof="0">
                <a:ln>
                  <a:noFill/>
                </a:ln>
                <a:solidFill>
                  <a:srgbClr val="000000"/>
                </a:solidFill>
                <a:effectLst/>
                <a:uLnTx/>
                <a:uFillTx/>
                <a:latin typeface="Calibri"/>
                <a:ea typeface="+mn-ea"/>
                <a:cs typeface="+mn-cs"/>
              </a:rPr>
              <a:t>2022 Named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Canada’s Top 100 Employers</a:t>
            </a:r>
          </a:p>
        </p:txBody>
      </p:sp>
      <p:pic>
        <p:nvPicPr>
          <p:cNvPr id="25" name="Picture 2">
            <a:extLst>
              <a:ext uri="{FF2B5EF4-FFF2-40B4-BE49-F238E27FC236}">
                <a16:creationId xmlns:a16="http://schemas.microsoft.com/office/drawing/2014/main" id="{B84F3AD3-C4EE-D448-E596-67741F9520B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909031" y="1515098"/>
            <a:ext cx="1724025" cy="1076325"/>
          </a:xfrm>
          <a:prstGeom prst="rect">
            <a:avLst/>
          </a:prstGeom>
          <a:noFill/>
          <a:extLst>
            <a:ext uri="{909E8E84-426E-40DD-AFC4-6F175D3DCCD1}">
              <a14:hiddenFill xmlns:a14="http://schemas.microsoft.com/office/drawing/2010/main">
                <a:solidFill>
                  <a:srgbClr val="FFFFFF"/>
                </a:solidFill>
              </a14:hiddenFill>
            </a:ext>
          </a:extLst>
        </p:spPr>
      </p:pic>
      <p:pic>
        <p:nvPicPr>
          <p:cNvPr id="37" name="Graphic 36">
            <a:extLst>
              <a:ext uri="{FF2B5EF4-FFF2-40B4-BE49-F238E27FC236}">
                <a16:creationId xmlns:a16="http://schemas.microsoft.com/office/drawing/2014/main" id="{BFF61E76-09A0-8C8E-DC17-5586E20F3B2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8654" y="1547940"/>
            <a:ext cx="797881" cy="1089062"/>
          </a:xfrm>
          <a:prstGeom prst="rect">
            <a:avLst/>
          </a:prstGeom>
        </p:spPr>
      </p:pic>
      <p:pic>
        <p:nvPicPr>
          <p:cNvPr id="38" name="Picture 37">
            <a:extLst>
              <a:ext uri="{FF2B5EF4-FFF2-40B4-BE49-F238E27FC236}">
                <a16:creationId xmlns:a16="http://schemas.microsoft.com/office/drawing/2014/main" id="{76AF495B-F7A2-5900-9646-37DB2CE88C61}"/>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2431" b="3501"/>
          <a:stretch/>
        </p:blipFill>
        <p:spPr>
          <a:xfrm>
            <a:off x="1367648" y="1524651"/>
            <a:ext cx="727123" cy="1077402"/>
          </a:xfrm>
          <a:prstGeom prst="rect">
            <a:avLst/>
          </a:prstGeom>
        </p:spPr>
      </p:pic>
      <p:pic>
        <p:nvPicPr>
          <p:cNvPr id="39" name="Picture 38" descr="Text&#10;&#10;Description automatically generated">
            <a:extLst>
              <a:ext uri="{FF2B5EF4-FFF2-40B4-BE49-F238E27FC236}">
                <a16:creationId xmlns:a16="http://schemas.microsoft.com/office/drawing/2014/main" id="{34C5FC74-28EA-C20F-5CF5-10D112A63AF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234769" y="1549660"/>
            <a:ext cx="719686" cy="1052393"/>
          </a:xfrm>
          <a:prstGeom prst="rect">
            <a:avLst/>
          </a:prstGeom>
        </p:spPr>
      </p:pic>
      <p:pic>
        <p:nvPicPr>
          <p:cNvPr id="40" name="Picture 39" descr="Logo&#10;&#10;Description automatically generated">
            <a:extLst>
              <a:ext uri="{FF2B5EF4-FFF2-40B4-BE49-F238E27FC236}">
                <a16:creationId xmlns:a16="http://schemas.microsoft.com/office/drawing/2014/main" id="{C45F72C0-DD7A-3BA5-5361-293F590E26F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44728" y="5184867"/>
            <a:ext cx="1222149" cy="519252"/>
          </a:xfrm>
          <a:prstGeom prst="rect">
            <a:avLst/>
          </a:prstGeom>
        </p:spPr>
      </p:pic>
      <p:sp>
        <p:nvSpPr>
          <p:cNvPr id="41" name="TextBox 40">
            <a:extLst>
              <a:ext uri="{FF2B5EF4-FFF2-40B4-BE49-F238E27FC236}">
                <a16:creationId xmlns:a16="http://schemas.microsoft.com/office/drawing/2014/main" id="{C541E2F4-909E-2396-DB8A-D9CE32EA6CEC}"/>
              </a:ext>
            </a:extLst>
          </p:cNvPr>
          <p:cNvSpPr txBox="1"/>
          <p:nvPr/>
        </p:nvSpPr>
        <p:spPr>
          <a:xfrm>
            <a:off x="338667" y="5704119"/>
            <a:ext cx="2223438" cy="430887"/>
          </a:xfrm>
          <a:prstGeom prst="rect">
            <a:avLst/>
          </a:prstGeom>
          <a:noFill/>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1000"/>
              </a:spcAft>
              <a:buClrTx/>
              <a:buSzTx/>
              <a:buFontTx/>
              <a:buNone/>
              <a:tabLst/>
              <a:defRPr/>
            </a:pPr>
            <a:r>
              <a:rPr kumimoji="0" lang="en-US" sz="1100" b="0" i="0" u="none" strike="noStrike" kern="0" cap="none" spc="0" normalizeH="0" baseline="0" noProof="0">
                <a:ln>
                  <a:noFill/>
                </a:ln>
                <a:solidFill>
                  <a:srgbClr val="000000"/>
                </a:solidFill>
                <a:effectLst/>
                <a:uLnTx/>
                <a:uFillTx/>
                <a:latin typeface="Calibri"/>
                <a:ea typeface="+mn-ea"/>
                <a:cs typeface="+mn-cs"/>
              </a:rPr>
              <a:t>2022</a:t>
            </a:r>
            <a:r>
              <a:rPr kumimoji="0" lang="en-US" sz="1100" b="1" i="0" u="none" strike="noStrike" kern="0" cap="none" spc="0" normalizeH="0" baseline="0" noProof="0">
                <a:ln>
                  <a:noFill/>
                </a:ln>
                <a:solidFill>
                  <a:srgbClr val="000000"/>
                </a:solidFill>
                <a:effectLst/>
                <a:uLnTx/>
                <a:uFillTx/>
                <a:latin typeface="Calibri"/>
                <a:ea typeface="+mn-ea"/>
                <a:cs typeface="+mn-cs"/>
              </a:rPr>
              <a:t>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49</a:t>
            </a:r>
            <a:r>
              <a:rPr kumimoji="0" lang="en-US" sz="1100" b="1" i="0" u="none" strike="noStrike" kern="1200" cap="none" spc="0" normalizeH="0" baseline="0" noProof="0">
                <a:ln>
                  <a:noFill/>
                </a:ln>
                <a:solidFill>
                  <a:srgbClr val="003594"/>
                </a:solidFill>
                <a:effectLst/>
                <a:uLnTx/>
                <a:uFillTx/>
                <a:latin typeface="Calibri"/>
                <a:ea typeface="Calibri" panose="020F0502020204030204" pitchFamily="34" charset="0"/>
                <a:cs typeface="Calibri"/>
              </a:rPr>
              <a:t> </a:t>
            </a:r>
            <a:r>
              <a:rPr kumimoji="0" lang="en-US" sz="1100" b="0" i="0" u="none" strike="noStrike" kern="1200" cap="none" spc="0" normalizeH="0" baseline="0" noProof="0">
                <a:ln>
                  <a:noFill/>
                </a:ln>
                <a:solidFill>
                  <a:prstClr val="black"/>
                </a:solidFill>
                <a:effectLst/>
                <a:uLnTx/>
                <a:uFillTx/>
                <a:latin typeface="Calibri"/>
                <a:ea typeface="Calibri" panose="020F0502020204030204" pitchFamily="34" charset="0"/>
                <a:cs typeface="Calibri"/>
              </a:rPr>
              <a:t>on the</a:t>
            </a:r>
            <a:r>
              <a:rPr kumimoji="0" lang="en-US" sz="1100" b="1" i="0" u="none" strike="noStrike" kern="1200" cap="none" spc="0" normalizeH="0" baseline="0" noProof="0">
                <a:ln>
                  <a:noFill/>
                </a:ln>
                <a:solidFill>
                  <a:srgbClr val="003594"/>
                </a:solidFill>
                <a:effectLst/>
                <a:uLnTx/>
                <a:uFillTx/>
                <a:latin typeface="Calibri"/>
                <a:ea typeface="Calibri" panose="020F0502020204030204" pitchFamily="34" charset="0"/>
                <a:cs typeface="Calibri"/>
              </a:rPr>
              <a:t> </a:t>
            </a:r>
            <a:r>
              <a:rPr kumimoji="0" lang="en-US" sz="1100" b="1" i="0" u="none" strike="noStrike" kern="0" cap="none" spc="0" normalizeH="0" baseline="0" noProof="0">
                <a:ln>
                  <a:noFill/>
                </a:ln>
                <a:solidFill>
                  <a:srgbClr val="003594">
                    <a:lumMod val="60000"/>
                    <a:lumOff val="40000"/>
                  </a:srgbClr>
                </a:solidFill>
                <a:effectLst/>
                <a:uLnTx/>
                <a:uFillTx/>
                <a:latin typeface="Calibri"/>
                <a:ea typeface="+mn-ea"/>
                <a:cs typeface="+mn-cs"/>
              </a:rPr>
              <a:t>Workforce Equity and Mobility Ranking</a:t>
            </a:r>
          </a:p>
        </p:txBody>
      </p:sp>
      <p:pic>
        <p:nvPicPr>
          <p:cNvPr id="42" name="Picture 41" descr="A blue sign with white text&#10;&#10;Description automatically generated with medium confidence">
            <a:extLst>
              <a:ext uri="{FF2B5EF4-FFF2-40B4-BE49-F238E27FC236}">
                <a16:creationId xmlns:a16="http://schemas.microsoft.com/office/drawing/2014/main" id="{2E4DCFCE-BF03-999C-3E4D-86439301DC1D}"/>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437410" y="4178747"/>
            <a:ext cx="624223" cy="619918"/>
          </a:xfrm>
          <a:prstGeom prst="rect">
            <a:avLst/>
          </a:prstGeom>
        </p:spPr>
      </p:pic>
      <p:pic>
        <p:nvPicPr>
          <p:cNvPr id="44" name="Picture 43">
            <a:extLst>
              <a:ext uri="{FF2B5EF4-FFF2-40B4-BE49-F238E27FC236}">
                <a16:creationId xmlns:a16="http://schemas.microsoft.com/office/drawing/2014/main" id="{C0AF18B5-4818-8869-5F12-E62D7AD0160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2687128" y="3991022"/>
            <a:ext cx="1656365" cy="1109939"/>
          </a:xfrm>
          <a:prstGeom prst="rect">
            <a:avLst/>
          </a:prstGeom>
        </p:spPr>
      </p:pic>
      <p:pic>
        <p:nvPicPr>
          <p:cNvPr id="45" name="Picture 10" descr="Text, logo, company name&#10;&#10;Description automatically generated">
            <a:extLst>
              <a:ext uri="{FF2B5EF4-FFF2-40B4-BE49-F238E27FC236}">
                <a16:creationId xmlns:a16="http://schemas.microsoft.com/office/drawing/2014/main" id="{C1EAC09E-F9EA-D595-6034-A449324288D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346391" y="5120604"/>
            <a:ext cx="117475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3" descr="A picture containing icon&#10;&#10;Description automatically generated">
            <a:extLst>
              <a:ext uri="{FF2B5EF4-FFF2-40B4-BE49-F238E27FC236}">
                <a16:creationId xmlns:a16="http://schemas.microsoft.com/office/drawing/2014/main" id="{124EE08C-79C6-090F-223C-D2ABF8C4C22C}"/>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346391" y="3989909"/>
            <a:ext cx="946150" cy="88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a:extLst>
              <a:ext uri="{FF2B5EF4-FFF2-40B4-BE49-F238E27FC236}">
                <a16:creationId xmlns:a16="http://schemas.microsoft.com/office/drawing/2014/main" id="{0F1EBEA4-B555-8782-6E38-6F6CFDF015C2}"/>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060564" y="1547940"/>
            <a:ext cx="698897" cy="1109939"/>
          </a:xfrm>
          <a:prstGeom prst="rect">
            <a:avLst/>
          </a:prstGeom>
        </p:spPr>
      </p:pic>
      <p:pic>
        <p:nvPicPr>
          <p:cNvPr id="48" name="Picture 47">
            <a:extLst>
              <a:ext uri="{FF2B5EF4-FFF2-40B4-BE49-F238E27FC236}">
                <a16:creationId xmlns:a16="http://schemas.microsoft.com/office/drawing/2014/main" id="{6DB6BFB0-74E8-7744-EFEE-BF2688681F78}"/>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720260" y="3941930"/>
            <a:ext cx="923665" cy="1465916"/>
          </a:xfrm>
          <a:prstGeom prst="rect">
            <a:avLst/>
          </a:prstGeom>
        </p:spPr>
      </p:pic>
      <p:pic>
        <p:nvPicPr>
          <p:cNvPr id="4" name="Picture 3" descr="Text&#10;&#10;Description automatically generated">
            <a:extLst>
              <a:ext uri="{FF2B5EF4-FFF2-40B4-BE49-F238E27FC236}">
                <a16:creationId xmlns:a16="http://schemas.microsoft.com/office/drawing/2014/main" id="{632A516B-0897-4AA0-F544-3502DC1DE75A}"/>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010505" y="1296481"/>
            <a:ext cx="1526478" cy="1218005"/>
          </a:xfrm>
          <a:prstGeom prst="rect">
            <a:avLst/>
          </a:prstGeom>
        </p:spPr>
      </p:pic>
      <p:pic>
        <p:nvPicPr>
          <p:cNvPr id="49" name="Picture 48" descr="A blue sign with white text&#10;&#10;Description automatically generated with medium confidence">
            <a:extLst>
              <a:ext uri="{FF2B5EF4-FFF2-40B4-BE49-F238E27FC236}">
                <a16:creationId xmlns:a16="http://schemas.microsoft.com/office/drawing/2014/main" id="{F645F94F-A4D1-8502-A5B6-53FC95A6B6BA}"/>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808721" y="1239379"/>
            <a:ext cx="832724" cy="1658326"/>
          </a:xfrm>
          <a:prstGeom prst="rect">
            <a:avLst/>
          </a:prstGeom>
        </p:spPr>
      </p:pic>
      <p:pic>
        <p:nvPicPr>
          <p:cNvPr id="50" name="Picture 6">
            <a:extLst>
              <a:ext uri="{FF2B5EF4-FFF2-40B4-BE49-F238E27FC236}">
                <a16:creationId xmlns:a16="http://schemas.microsoft.com/office/drawing/2014/main" id="{DBECBF5F-3BE9-B8EB-B632-B642F36EE6F4}"/>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641680" y="1303837"/>
            <a:ext cx="603504" cy="84182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4">
            <a:extLst>
              <a:ext uri="{FF2B5EF4-FFF2-40B4-BE49-F238E27FC236}">
                <a16:creationId xmlns:a16="http://schemas.microsoft.com/office/drawing/2014/main" id="{F6AB9767-49A4-6F87-1BD4-85184364544C}"/>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231199" y="1239378"/>
            <a:ext cx="603504" cy="96980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6">
            <a:extLst>
              <a:ext uri="{FF2B5EF4-FFF2-40B4-BE49-F238E27FC236}">
                <a16:creationId xmlns:a16="http://schemas.microsoft.com/office/drawing/2014/main" id="{12D5B6E9-F64B-AB8C-42D7-5D40741D54C5}"/>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641445" y="2123920"/>
            <a:ext cx="629646" cy="91647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a:extLst>
              <a:ext uri="{FF2B5EF4-FFF2-40B4-BE49-F238E27FC236}">
                <a16:creationId xmlns:a16="http://schemas.microsoft.com/office/drawing/2014/main" id="{6747F2CB-E0D9-EBC0-ABD7-3BA3CA4DE372}"/>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080408" y="2234992"/>
            <a:ext cx="603504" cy="75763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2">
            <a:extLst>
              <a:ext uri="{FF2B5EF4-FFF2-40B4-BE49-F238E27FC236}">
                <a16:creationId xmlns:a16="http://schemas.microsoft.com/office/drawing/2014/main" id="{1D6EFA73-B072-AC41-D5D4-0F324E4703D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837236" y="1322703"/>
            <a:ext cx="608226" cy="82296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8">
            <a:extLst>
              <a:ext uri="{FF2B5EF4-FFF2-40B4-BE49-F238E27FC236}">
                <a16:creationId xmlns:a16="http://schemas.microsoft.com/office/drawing/2014/main" id="{242ACDB1-4E31-FA4F-5F47-3A7F0BC9A3FB}"/>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417204" y="1323494"/>
            <a:ext cx="647065" cy="82296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0">
            <a:extLst>
              <a:ext uri="{FF2B5EF4-FFF2-40B4-BE49-F238E27FC236}">
                <a16:creationId xmlns:a16="http://schemas.microsoft.com/office/drawing/2014/main" id="{EABB5FE8-E941-C2A1-F477-184C99B151C7}"/>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044803" y="1305810"/>
            <a:ext cx="603177" cy="88424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a:extLst>
              <a:ext uri="{FF2B5EF4-FFF2-40B4-BE49-F238E27FC236}">
                <a16:creationId xmlns:a16="http://schemas.microsoft.com/office/drawing/2014/main" id="{CB80C0CE-A9EC-0156-743F-356867ED64CB}"/>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32457" y="2115922"/>
            <a:ext cx="603504" cy="87661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8">
            <a:extLst>
              <a:ext uri="{FF2B5EF4-FFF2-40B4-BE49-F238E27FC236}">
                <a16:creationId xmlns:a16="http://schemas.microsoft.com/office/drawing/2014/main" id="{E52D7CF5-11BA-5D5D-446E-3E2EC3EC345D}"/>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851264" y="2133157"/>
            <a:ext cx="603504" cy="920664"/>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a:extLst>
              <a:ext uri="{FF2B5EF4-FFF2-40B4-BE49-F238E27FC236}">
                <a16:creationId xmlns:a16="http://schemas.microsoft.com/office/drawing/2014/main" id="{D74EF8DF-8F4A-56F8-ABC4-5AD9FB1DB1BB}"/>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452508" y="2213250"/>
            <a:ext cx="603504" cy="771616"/>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1">
            <a:extLst>
              <a:ext uri="{FF2B5EF4-FFF2-40B4-BE49-F238E27FC236}">
                <a16:creationId xmlns:a16="http://schemas.microsoft.com/office/drawing/2014/main" id="{DC3C7690-A7BC-400F-9B45-724146B27D64}"/>
              </a:ext>
            </a:extLst>
          </p:cNvPr>
          <p:cNvSpPr txBox="1">
            <a:spLocks/>
          </p:cNvSpPr>
          <p:nvPr/>
        </p:nvSpPr>
        <p:spPr>
          <a:xfrm>
            <a:off x="347146" y="171452"/>
            <a:ext cx="11501955" cy="398571"/>
          </a:xfrm>
          <a:prstGeom prst="rect">
            <a:avLst/>
          </a:prstGeom>
        </p:spPr>
        <p:txBody>
          <a:bodyPr vert="horz" wrap="square" lIns="0" tIns="0" rIns="0" bIns="0" rtlCol="0" anchor="t">
            <a:spAutoFit/>
          </a:bodyPr>
          <a:lstStyle>
            <a:lvl1pPr marL="0" algn="l" defTabSz="913486" rtl="0" eaLnBrk="1" latinLnBrk="0" hangingPunct="1">
              <a:lnSpc>
                <a:spcPct val="90000"/>
              </a:lnSpc>
              <a:spcBef>
                <a:spcPct val="0"/>
              </a:spcBef>
              <a:buNone/>
              <a:defRPr lang="en-IN" sz="3198" b="1" i="0" kern="1200">
                <a:solidFill>
                  <a:schemeClr val="tx1"/>
                </a:solidFill>
                <a:latin typeface="+mj-lt"/>
                <a:ea typeface="+mj-ea"/>
                <a:cs typeface="+mj-cs"/>
              </a:defRPr>
            </a:lvl1pPr>
          </a:lstStyle>
          <a:p>
            <a:pPr algn="ctr"/>
            <a:r>
              <a:rPr lang="en-US" sz="2800" dirty="0">
                <a:latin typeface="+mj-lt"/>
              </a:rPr>
              <a:t>Hershey Has Earned Recognition As A Top Company For People </a:t>
            </a:r>
            <a:endParaRPr lang="en-US" sz="2800" dirty="0"/>
          </a:p>
        </p:txBody>
      </p:sp>
    </p:spTree>
    <p:extLst>
      <p:ext uri="{BB962C8B-B14F-4D97-AF65-F5344CB8AC3E}">
        <p14:creationId xmlns:p14="http://schemas.microsoft.com/office/powerpoint/2010/main" val="287710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1C834D-B857-019E-D80B-6DB3655295B0}"/>
              </a:ext>
            </a:extLst>
          </p:cNvPr>
          <p:cNvGraphicFramePr>
            <a:graphicFrameLocks noChangeAspect="1"/>
          </p:cNvGraphicFramePr>
          <p:nvPr>
            <p:custDataLst>
              <p:tags r:id="rId1"/>
            </p:custDataLst>
            <p:extLst>
              <p:ext uri="{D42A27DB-BD31-4B8C-83A1-F6EECF244321}">
                <p14:modId xmlns:p14="http://schemas.microsoft.com/office/powerpoint/2010/main" val="346672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311C834D-B857-019E-D80B-6DB3655295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82609F6-F3D5-A2F1-F066-0C2CDF99C577}"/>
              </a:ext>
            </a:extLst>
          </p:cNvPr>
          <p:cNvPicPr>
            <a:picLocks noChangeAspect="1"/>
          </p:cNvPicPr>
          <p:nvPr/>
        </p:nvPicPr>
        <p:blipFill rotWithShape="1">
          <a:blip r:embed="rId6"/>
          <a:srcRect b="1421"/>
          <a:stretch/>
        </p:blipFill>
        <p:spPr>
          <a:xfrm>
            <a:off x="0" y="1"/>
            <a:ext cx="6553201" cy="6854433"/>
          </a:xfrm>
          <a:prstGeom prst="rect">
            <a:avLst/>
          </a:prstGeom>
        </p:spPr>
      </p:pic>
      <p:sp>
        <p:nvSpPr>
          <p:cNvPr id="63" name="Freeform: Shape 62">
            <a:extLst>
              <a:ext uri="{FF2B5EF4-FFF2-40B4-BE49-F238E27FC236}">
                <a16:creationId xmlns:a16="http://schemas.microsoft.com/office/drawing/2014/main" id="{8E6E3486-F49C-44D7-9784-9E17FE2F8DB4}"/>
              </a:ext>
            </a:extLst>
          </p:cNvPr>
          <p:cNvSpPr/>
          <p:nvPr/>
        </p:nvSpPr>
        <p:spPr>
          <a:xfrm rot="5400000">
            <a:off x="2639392" y="-818387"/>
            <a:ext cx="6854432" cy="8491206"/>
          </a:xfrm>
          <a:custGeom>
            <a:avLst/>
            <a:gdLst>
              <a:gd name="connsiteX0" fmla="*/ 0 w 6858000"/>
              <a:gd name="connsiteY0" fmla="*/ 7009569 h 7009569"/>
              <a:gd name="connsiteX1" fmla="*/ 0 w 6858000"/>
              <a:gd name="connsiteY1" fmla="*/ 392870 h 7009569"/>
              <a:gd name="connsiteX2" fmla="*/ 2700969 w 6858000"/>
              <a:gd name="connsiteY2" fmla="*/ 392870 h 7009569"/>
              <a:gd name="connsiteX3" fmla="*/ 3429001 w 6858000"/>
              <a:gd name="connsiteY3" fmla="*/ 0 h 7009569"/>
              <a:gd name="connsiteX4" fmla="*/ 4157032 w 6858000"/>
              <a:gd name="connsiteY4" fmla="*/ 392870 h 7009569"/>
              <a:gd name="connsiteX5" fmla="*/ 6858000 w 6858000"/>
              <a:gd name="connsiteY5" fmla="*/ 392870 h 7009569"/>
              <a:gd name="connsiteX6" fmla="*/ 6858000 w 6858000"/>
              <a:gd name="connsiteY6" fmla="*/ 7009569 h 7009569"/>
              <a:gd name="connsiteX7" fmla="*/ 4157034 w 6858000"/>
              <a:gd name="connsiteY7" fmla="*/ 7009569 h 7009569"/>
              <a:gd name="connsiteX8" fmla="*/ 3429001 w 6858000"/>
              <a:gd name="connsiteY8" fmla="*/ 6616698 h 7009569"/>
              <a:gd name="connsiteX9" fmla="*/ 2700967 w 6858000"/>
              <a:gd name="connsiteY9" fmla="*/ 7009569 h 7009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0" h="7009569">
                <a:moveTo>
                  <a:pt x="0" y="7009569"/>
                </a:moveTo>
                <a:lnTo>
                  <a:pt x="0" y="392870"/>
                </a:lnTo>
                <a:lnTo>
                  <a:pt x="2700969" y="392870"/>
                </a:lnTo>
                <a:lnTo>
                  <a:pt x="3429001" y="0"/>
                </a:lnTo>
                <a:lnTo>
                  <a:pt x="4157032" y="392870"/>
                </a:lnTo>
                <a:lnTo>
                  <a:pt x="6858000" y="392870"/>
                </a:lnTo>
                <a:lnTo>
                  <a:pt x="6858000" y="7009569"/>
                </a:lnTo>
                <a:lnTo>
                  <a:pt x="4157034" y="7009569"/>
                </a:lnTo>
                <a:lnTo>
                  <a:pt x="3429001" y="6616698"/>
                </a:lnTo>
                <a:lnTo>
                  <a:pt x="2700967" y="700956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FEF0DC"/>
              </a:solidFill>
              <a:effectLst/>
              <a:uLnTx/>
              <a:uFillTx/>
              <a:latin typeface="Calibri"/>
              <a:ea typeface="+mn-ea"/>
              <a:cs typeface="+mn-cs"/>
            </a:endParaRPr>
          </a:p>
        </p:txBody>
      </p:sp>
      <p:sp>
        <p:nvSpPr>
          <p:cNvPr id="5" name="Title 4">
            <a:extLst>
              <a:ext uri="{FF2B5EF4-FFF2-40B4-BE49-F238E27FC236}">
                <a16:creationId xmlns:a16="http://schemas.microsoft.com/office/drawing/2014/main" id="{FC3E3BD6-4F3F-4D01-9398-5271C33C0B3E}"/>
              </a:ext>
            </a:extLst>
          </p:cNvPr>
          <p:cNvSpPr>
            <a:spLocks noGrp="1"/>
          </p:cNvSpPr>
          <p:nvPr>
            <p:ph type="title"/>
          </p:nvPr>
        </p:nvSpPr>
        <p:spPr>
          <a:xfrm>
            <a:off x="2009869" y="125380"/>
            <a:ext cx="7836199" cy="861774"/>
          </a:xfrm>
        </p:spPr>
        <p:txBody>
          <a:bodyPr vert="horz" wrap="square">
            <a:spAutoFit/>
          </a:bodyPr>
          <a:lstStyle/>
          <a:p>
            <a:pPr>
              <a:lnSpc>
                <a:spcPct val="100000"/>
              </a:lnSpc>
            </a:pPr>
            <a:r>
              <a:rPr lang="en-US" sz="2800" dirty="0">
                <a:solidFill>
                  <a:schemeClr val="bg1"/>
                </a:solidFill>
                <a:latin typeface="Gazpacho Light" pitchFamily="2" charset="77"/>
              </a:rPr>
              <a:t>A History of goodness: What Is Unique About </a:t>
            </a:r>
            <a:r>
              <a:rPr lang="en-US" sz="2800" dirty="0">
                <a:solidFill>
                  <a:schemeClr val="bg1">
                    <a:lumMod val="50000"/>
                  </a:schemeClr>
                </a:solidFill>
                <a:latin typeface="Gazpacho Light" pitchFamily="2" charset="77"/>
              </a:rPr>
              <a:t>The Hershey Company?</a:t>
            </a:r>
            <a:endParaRPr lang="en-IN" sz="2800" dirty="0">
              <a:solidFill>
                <a:schemeClr val="bg1">
                  <a:lumMod val="50000"/>
                </a:schemeClr>
              </a:solidFill>
              <a:latin typeface="Gazpacho Light" pitchFamily="2" charset="77"/>
            </a:endParaRPr>
          </a:p>
        </p:txBody>
      </p:sp>
      <p:cxnSp>
        <p:nvCxnSpPr>
          <p:cNvPr id="59" name="Straight Connector 58">
            <a:extLst>
              <a:ext uri="{FF2B5EF4-FFF2-40B4-BE49-F238E27FC236}">
                <a16:creationId xmlns:a16="http://schemas.microsoft.com/office/drawing/2014/main" id="{A72CCB5C-978B-4B5F-ACAD-FB60CFFAAC9A}"/>
              </a:ext>
            </a:extLst>
          </p:cNvPr>
          <p:cNvCxnSpPr>
            <a:cxnSpLocks/>
          </p:cNvCxnSpPr>
          <p:nvPr/>
        </p:nvCxnSpPr>
        <p:spPr>
          <a:xfrm>
            <a:off x="2426172" y="1793205"/>
            <a:ext cx="10674" cy="3536629"/>
          </a:xfrm>
          <a:prstGeom prst="line">
            <a:avLst/>
          </a:prstGeom>
          <a:ln w="254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3948BB4-585B-4CCF-BB60-6F04372B7652}"/>
              </a:ext>
            </a:extLst>
          </p:cNvPr>
          <p:cNvSpPr>
            <a:spLocks noChangeAspect="1"/>
          </p:cNvSpPr>
          <p:nvPr/>
        </p:nvSpPr>
        <p:spPr>
          <a:xfrm flipV="1">
            <a:off x="2312563" y="2289341"/>
            <a:ext cx="237893" cy="2378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8BC753"/>
              </a:solidFill>
              <a:effectLst/>
              <a:uLnTx/>
              <a:uFillTx/>
              <a:latin typeface="Calibri"/>
              <a:ea typeface="+mn-ea"/>
              <a:cs typeface="+mn-cs"/>
            </a:endParaRPr>
          </a:p>
        </p:txBody>
      </p:sp>
      <p:sp>
        <p:nvSpPr>
          <p:cNvPr id="25" name="Oval 24">
            <a:extLst>
              <a:ext uri="{FF2B5EF4-FFF2-40B4-BE49-F238E27FC236}">
                <a16:creationId xmlns:a16="http://schemas.microsoft.com/office/drawing/2014/main" id="{7438596C-7A4D-4B83-A526-B644AF5C2EBE}"/>
              </a:ext>
            </a:extLst>
          </p:cNvPr>
          <p:cNvSpPr>
            <a:spLocks noChangeAspect="1"/>
          </p:cNvSpPr>
          <p:nvPr/>
        </p:nvSpPr>
        <p:spPr>
          <a:xfrm>
            <a:off x="2312563" y="3378607"/>
            <a:ext cx="237892" cy="237892"/>
          </a:xfrm>
          <a:prstGeom prst="ellipse">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FEF0DC"/>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074C8A3E-0097-4E16-BED7-2D0C3854CCCD}"/>
              </a:ext>
            </a:extLst>
          </p:cNvPr>
          <p:cNvSpPr>
            <a:spLocks noGrp="1"/>
          </p:cNvSpPr>
          <p:nvPr>
            <p:ph type="sldNum" sz="quarter" idx="4"/>
          </p:nvPr>
        </p:nvSpPr>
        <p:spPr/>
        <p:txBody>
          <a:bodyPr/>
          <a:lstStyle/>
          <a:p>
            <a:pPr marL="0" marR="0" lvl="0" indent="0" algn="ctr" defTabSz="1218468" rtl="0" eaLnBrk="1" fontAlgn="auto" latinLnBrk="0" hangingPunct="1">
              <a:lnSpc>
                <a:spcPct val="100000"/>
              </a:lnSpc>
              <a:spcBef>
                <a:spcPts val="0"/>
              </a:spcBef>
              <a:spcAft>
                <a:spcPts val="0"/>
              </a:spcAft>
              <a:buClrTx/>
              <a:buSzTx/>
              <a:buFontTx/>
              <a:buNone/>
              <a:tabLst/>
              <a:defRPr/>
            </a:pPr>
            <a:fld id="{1C897F9F-178E-40FE-BBF0-CD11DAF3CBDC}" type="slidenum">
              <a:rPr kumimoji="0" lang="en-IN" sz="1199" b="0" i="0" u="none" strike="noStrike" kern="1200" cap="none" spc="0" normalizeH="0" baseline="0" noProof="0">
                <a:ln>
                  <a:noFill/>
                </a:ln>
                <a:solidFill>
                  <a:srgbClr val="FEF0DC"/>
                </a:solidFill>
                <a:effectLst/>
                <a:uLnTx/>
                <a:uFillTx/>
                <a:latin typeface="Gazpacho Light" pitchFamily="2" charset="77"/>
                <a:ea typeface="+mn-ea"/>
                <a:cs typeface="+mn-cs"/>
              </a:rPr>
              <a:pPr marL="0" marR="0" lvl="0" indent="0" algn="ctr" defTabSz="1218468" rtl="0" eaLnBrk="1" fontAlgn="auto" latinLnBrk="0" hangingPunct="1">
                <a:lnSpc>
                  <a:spcPct val="100000"/>
                </a:lnSpc>
                <a:spcBef>
                  <a:spcPts val="0"/>
                </a:spcBef>
                <a:spcAft>
                  <a:spcPts val="0"/>
                </a:spcAft>
                <a:buClrTx/>
                <a:buSzTx/>
                <a:buFontTx/>
                <a:buNone/>
                <a:tabLst/>
                <a:defRPr/>
              </a:pPr>
              <a:t>5</a:t>
            </a:fld>
            <a:endParaRPr kumimoji="0" lang="en-IN" sz="1199" b="0" i="0" u="none" strike="noStrike" kern="1200" cap="none" spc="0" normalizeH="0" baseline="0" noProof="0" dirty="0">
              <a:ln>
                <a:noFill/>
              </a:ln>
              <a:solidFill>
                <a:srgbClr val="FEF0DC"/>
              </a:solidFill>
              <a:effectLst/>
              <a:uLnTx/>
              <a:uFillTx/>
              <a:latin typeface="Gazpacho Light" pitchFamily="2" charset="77"/>
              <a:ea typeface="+mn-ea"/>
              <a:cs typeface="+mn-cs"/>
            </a:endParaRPr>
          </a:p>
        </p:txBody>
      </p:sp>
      <p:sp>
        <p:nvSpPr>
          <p:cNvPr id="13" name="AutoShape 2">
            <a:extLst>
              <a:ext uri="{FF2B5EF4-FFF2-40B4-BE49-F238E27FC236}">
                <a16:creationId xmlns:a16="http://schemas.microsoft.com/office/drawing/2014/main" id="{8F43FC4F-62AF-B0BF-9FE3-4B1A7771576F}"/>
              </a:ext>
            </a:extLst>
          </p:cNvPr>
          <p:cNvSpPr>
            <a:spLocks noChangeAspect="1" noChangeArrowheads="1"/>
          </p:cNvSpPr>
          <p:nvPr/>
        </p:nvSpPr>
        <p:spPr bwMode="auto">
          <a:xfrm>
            <a:off x="5453348"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000B"/>
              </a:solidFill>
              <a:effectLst/>
              <a:uLnTx/>
              <a:uFillTx/>
              <a:latin typeface="Calibri"/>
              <a:ea typeface="+mn-ea"/>
              <a:cs typeface="+mn-cs"/>
            </a:endParaRPr>
          </a:p>
        </p:txBody>
      </p:sp>
      <p:sp>
        <p:nvSpPr>
          <p:cNvPr id="14" name="AutoShape 4">
            <a:extLst>
              <a:ext uri="{FF2B5EF4-FFF2-40B4-BE49-F238E27FC236}">
                <a16:creationId xmlns:a16="http://schemas.microsoft.com/office/drawing/2014/main" id="{47C48AC5-122E-681A-C057-49B958A2EAA2}"/>
              </a:ext>
            </a:extLst>
          </p:cNvPr>
          <p:cNvSpPr>
            <a:spLocks noChangeAspect="1" noChangeArrowheads="1"/>
          </p:cNvSpPr>
          <p:nvPr/>
        </p:nvSpPr>
        <p:spPr bwMode="auto">
          <a:xfrm>
            <a:off x="5605748"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000B"/>
              </a:solidFill>
              <a:effectLst/>
              <a:uLnTx/>
              <a:uFillTx/>
              <a:latin typeface="Calibri"/>
              <a:ea typeface="+mn-ea"/>
              <a:cs typeface="+mn-cs"/>
            </a:endParaRPr>
          </a:p>
        </p:txBody>
      </p:sp>
      <p:sp>
        <p:nvSpPr>
          <p:cNvPr id="16" name="AutoShape 8">
            <a:extLst>
              <a:ext uri="{FF2B5EF4-FFF2-40B4-BE49-F238E27FC236}">
                <a16:creationId xmlns:a16="http://schemas.microsoft.com/office/drawing/2014/main" id="{DCCBFAC8-1D46-872F-CB5C-33111CD2EE19}"/>
              </a:ext>
            </a:extLst>
          </p:cNvPr>
          <p:cNvSpPr>
            <a:spLocks noChangeAspect="1" noChangeArrowheads="1"/>
          </p:cNvSpPr>
          <p:nvPr/>
        </p:nvSpPr>
        <p:spPr bwMode="auto">
          <a:xfrm>
            <a:off x="5910548" y="3733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000B"/>
              </a:solidFill>
              <a:effectLst/>
              <a:uLnTx/>
              <a:uFillTx/>
              <a:latin typeface="Calibri"/>
              <a:ea typeface="+mn-ea"/>
              <a:cs typeface="+mn-cs"/>
            </a:endParaRPr>
          </a:p>
        </p:txBody>
      </p:sp>
      <p:sp>
        <p:nvSpPr>
          <p:cNvPr id="18" name="AutoShape 12">
            <a:extLst>
              <a:ext uri="{FF2B5EF4-FFF2-40B4-BE49-F238E27FC236}">
                <a16:creationId xmlns:a16="http://schemas.microsoft.com/office/drawing/2014/main" id="{E85C7437-09D3-F0F7-B48D-1E994128FF83}"/>
              </a:ext>
            </a:extLst>
          </p:cNvPr>
          <p:cNvSpPr>
            <a:spLocks noChangeAspect="1" noChangeArrowheads="1"/>
          </p:cNvSpPr>
          <p:nvPr/>
        </p:nvSpPr>
        <p:spPr bwMode="auto">
          <a:xfrm>
            <a:off x="5758148" y="3581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000B"/>
              </a:solidFill>
              <a:effectLst/>
              <a:uLnTx/>
              <a:uFillTx/>
              <a:latin typeface="Calibri"/>
              <a:ea typeface="+mn-ea"/>
              <a:cs typeface="+mn-cs"/>
            </a:endParaRPr>
          </a:p>
        </p:txBody>
      </p:sp>
      <p:sp>
        <p:nvSpPr>
          <p:cNvPr id="34" name="Oval 33">
            <a:extLst>
              <a:ext uri="{FF2B5EF4-FFF2-40B4-BE49-F238E27FC236}">
                <a16:creationId xmlns:a16="http://schemas.microsoft.com/office/drawing/2014/main" id="{2782CADE-FC9B-C045-A79F-50078773D1F2}"/>
              </a:ext>
            </a:extLst>
          </p:cNvPr>
          <p:cNvSpPr>
            <a:spLocks noChangeAspect="1"/>
          </p:cNvSpPr>
          <p:nvPr/>
        </p:nvSpPr>
        <p:spPr>
          <a:xfrm>
            <a:off x="2312563" y="1555313"/>
            <a:ext cx="237892" cy="237892"/>
          </a:xfrm>
          <a:prstGeom prst="ellipse">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8BC753"/>
              </a:solidFill>
              <a:effectLst/>
              <a:uLnTx/>
              <a:uFillTx/>
              <a:latin typeface="Calibri"/>
              <a:ea typeface="+mn-ea"/>
              <a:cs typeface="+mn-cs"/>
            </a:endParaRPr>
          </a:p>
        </p:txBody>
      </p:sp>
      <p:sp>
        <p:nvSpPr>
          <p:cNvPr id="9" name="Oval 8">
            <a:extLst>
              <a:ext uri="{FF2B5EF4-FFF2-40B4-BE49-F238E27FC236}">
                <a16:creationId xmlns:a16="http://schemas.microsoft.com/office/drawing/2014/main" id="{314C135F-D527-A27D-A39D-717B3C444946}"/>
              </a:ext>
            </a:extLst>
          </p:cNvPr>
          <p:cNvSpPr>
            <a:spLocks noChangeAspect="1"/>
          </p:cNvSpPr>
          <p:nvPr/>
        </p:nvSpPr>
        <p:spPr>
          <a:xfrm>
            <a:off x="2312563" y="4843963"/>
            <a:ext cx="237892" cy="237892"/>
          </a:xfrm>
          <a:prstGeom prst="ellipse">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FEF0DC"/>
              </a:solidFill>
              <a:effectLst/>
              <a:uLnTx/>
              <a:uFillTx/>
              <a:latin typeface="Calibri"/>
              <a:ea typeface="+mn-ea"/>
              <a:cs typeface="+mn-cs"/>
            </a:endParaRPr>
          </a:p>
        </p:txBody>
      </p:sp>
      <p:grpSp>
        <p:nvGrpSpPr>
          <p:cNvPr id="21" name="Group 20">
            <a:extLst>
              <a:ext uri="{FF2B5EF4-FFF2-40B4-BE49-F238E27FC236}">
                <a16:creationId xmlns:a16="http://schemas.microsoft.com/office/drawing/2014/main" id="{0F8C5254-26EC-DE6E-C379-DD85CDBA0692}"/>
              </a:ext>
            </a:extLst>
          </p:cNvPr>
          <p:cNvGrpSpPr/>
          <p:nvPr/>
        </p:nvGrpSpPr>
        <p:grpSpPr>
          <a:xfrm>
            <a:off x="10059346" y="162084"/>
            <a:ext cx="2079111" cy="2115523"/>
            <a:chOff x="10059346" y="162084"/>
            <a:chExt cx="2079111" cy="2115523"/>
          </a:xfrm>
        </p:grpSpPr>
        <p:sp>
          <p:nvSpPr>
            <p:cNvPr id="36" name="TextBox 35">
              <a:extLst>
                <a:ext uri="{FF2B5EF4-FFF2-40B4-BE49-F238E27FC236}">
                  <a16:creationId xmlns:a16="http://schemas.microsoft.com/office/drawing/2014/main" id="{168A4EC2-D1F5-43EA-A780-82DBDD1AFB68}"/>
                </a:ext>
              </a:extLst>
            </p:cNvPr>
            <p:cNvSpPr txBox="1"/>
            <p:nvPr/>
          </p:nvSpPr>
          <p:spPr>
            <a:xfrm>
              <a:off x="10059346" y="1965534"/>
              <a:ext cx="2079111" cy="312073"/>
            </a:xfrm>
            <a:prstGeom prst="rect">
              <a:avLst/>
            </a:prstGeom>
            <a:noFill/>
          </p:spPr>
          <p:txBody>
            <a:bodyPr wrap="square" lIns="0" tIns="0" rIns="0" bIns="0">
              <a:spAutoFit/>
            </a:bodyPr>
            <a:lstStyle/>
            <a:p>
              <a:pPr marL="0" marR="0" lvl="0" indent="0" algn="ctr" defTabSz="1218468" rtl="0" eaLnBrk="1" fontAlgn="auto" latinLnBrk="0" hangingPunct="1">
                <a:lnSpc>
                  <a:spcPts val="2400"/>
                </a:lnSpc>
                <a:spcBef>
                  <a:spcPts val="1199"/>
                </a:spcBef>
                <a:spcAft>
                  <a:spcPts val="0"/>
                </a:spcAft>
                <a:buClrTx/>
                <a:buSzTx/>
                <a:buFontTx/>
                <a:buNone/>
                <a:tabLst/>
                <a:defRPr/>
              </a:pPr>
              <a:r>
                <a:rPr kumimoji="0" lang="en-US" sz="2400" b="1" i="0" u="none" strike="noStrike" kern="1200" cap="none" spc="0" normalizeH="0" baseline="0" noProof="0" dirty="0">
                  <a:ln>
                    <a:noFill/>
                  </a:ln>
                  <a:solidFill>
                    <a:srgbClr val="3F000B"/>
                  </a:solidFill>
                  <a:effectLst/>
                  <a:uLnTx/>
                  <a:uFillTx/>
                  <a:latin typeface="Gazpacho Light" pitchFamily="2" charset="77"/>
                  <a:ea typeface="+mn-ea"/>
                  <a:cs typeface="+mn-cs"/>
                </a:rPr>
                <a:t>Milton Hershey</a:t>
              </a:r>
            </a:p>
          </p:txBody>
        </p:sp>
        <p:pic>
          <p:nvPicPr>
            <p:cNvPr id="1026" name="Picture 2" descr="Milton S. Hershey - Wikipedia">
              <a:extLst>
                <a:ext uri="{FF2B5EF4-FFF2-40B4-BE49-F238E27FC236}">
                  <a16:creationId xmlns:a16="http://schemas.microsoft.com/office/drawing/2014/main" id="{9C82A79D-0AC0-993D-E76F-9899C7D9D703}"/>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b="20697"/>
            <a:stretch/>
          </p:blipFill>
          <p:spPr bwMode="auto">
            <a:xfrm>
              <a:off x="10235724" y="162084"/>
              <a:ext cx="1726355" cy="1694365"/>
            </a:xfrm>
            <a:prstGeom prst="flowChartConnector">
              <a:avLst/>
            </a:prstGeom>
            <a:noFill/>
            <a:ln w="19050">
              <a:solidFill>
                <a:schemeClr val="bg1">
                  <a:lumMod val="50000"/>
                </a:schemeClr>
              </a:solidFill>
            </a:ln>
            <a:extLst>
              <a:ext uri="{909E8E84-426E-40DD-AFC4-6F175D3DCCD1}">
                <a14:hiddenFill xmlns:a14="http://schemas.microsoft.com/office/drawing/2010/main">
                  <a:solidFill>
                    <a:srgbClr val="FFFFFF"/>
                  </a:solidFill>
                </a14:hiddenFill>
              </a:ext>
            </a:extLst>
          </p:spPr>
        </p:pic>
      </p:grpSp>
      <p:sp>
        <p:nvSpPr>
          <p:cNvPr id="28" name="TextBox 27">
            <a:extLst>
              <a:ext uri="{FF2B5EF4-FFF2-40B4-BE49-F238E27FC236}">
                <a16:creationId xmlns:a16="http://schemas.microsoft.com/office/drawing/2014/main" id="{3C1F40D6-8D70-FCE0-7723-84CCDB2D3886}"/>
              </a:ext>
            </a:extLst>
          </p:cNvPr>
          <p:cNvSpPr txBox="1"/>
          <p:nvPr/>
        </p:nvSpPr>
        <p:spPr>
          <a:xfrm>
            <a:off x="2610557" y="1433915"/>
            <a:ext cx="7265529" cy="3785652"/>
          </a:xfrm>
          <a:prstGeom prst="rect">
            <a:avLst/>
          </a:prstGeom>
          <a:noFill/>
        </p:spPr>
        <p:txBody>
          <a:bodyPr wrap="square" rtlCol="0">
            <a:spAutoFit/>
          </a:bodyPr>
          <a:lstStyle/>
          <a:p>
            <a:pPr>
              <a:defRPr/>
            </a:pPr>
            <a:r>
              <a:rPr kumimoji="0" lang="en-US" sz="2400" b="1" i="0" u="none" strike="noStrike" kern="1200" cap="none" spc="0" normalizeH="0" baseline="0" noProof="0" dirty="0">
                <a:ln>
                  <a:noFill/>
                </a:ln>
                <a:solidFill>
                  <a:schemeClr val="accent4">
                    <a:lumMod val="50000"/>
                  </a:schemeClr>
                </a:solidFill>
                <a:effectLst/>
                <a:uLnTx/>
                <a:uFillTx/>
                <a:latin typeface="Calibri" panose="020F0502020204030204" pitchFamily="34" charset="0"/>
                <a:cs typeface="Calibri" panose="020F0502020204030204" pitchFamily="34" charset="0"/>
              </a:rPr>
              <a:t>1894: Hershey Company founded</a:t>
            </a:r>
          </a:p>
          <a:p>
            <a:pPr>
              <a:defRPr/>
            </a:pPr>
            <a:endParaRPr kumimoji="0" lang="en-US" sz="2400" b="1" i="0" u="none" strike="noStrike" kern="1200" cap="none" spc="0" normalizeH="0" baseline="0" noProof="0" dirty="0">
              <a:ln>
                <a:noFill/>
              </a:ln>
              <a:solidFill>
                <a:srgbClr val="FEF0DC"/>
              </a:solidFill>
              <a:effectLst/>
              <a:uLnTx/>
              <a:uFillTx/>
              <a:latin typeface="Calibri" panose="020F0502020204030204" pitchFamily="34" charset="0"/>
              <a:cs typeface="Calibri" panose="020F0502020204030204" pitchFamily="34" charset="0"/>
            </a:endParaRPr>
          </a:p>
          <a:p>
            <a:pPr>
              <a:defRPr/>
            </a:pPr>
            <a:r>
              <a:rPr lang="en-US" sz="2400" b="1" dirty="0">
                <a:solidFill>
                  <a:srgbClr val="FEF0DC"/>
                </a:solidFill>
                <a:latin typeface="Calibri" panose="020F0502020204030204" pitchFamily="34" charset="0"/>
                <a:cs typeface="Calibri" panose="020F0502020204030204" pitchFamily="34" charset="0"/>
              </a:rPr>
              <a:t>1909: Milton Hershey School founded</a:t>
            </a:r>
            <a:endParaRPr kumimoji="0" lang="en-US" sz="2400" b="1" i="0" u="none" strike="noStrike" kern="1200" cap="none" spc="0" normalizeH="0" baseline="0" noProof="0" dirty="0">
              <a:ln>
                <a:noFill/>
              </a:ln>
              <a:solidFill>
                <a:srgbClr val="FEF0DC"/>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EF0DC"/>
                </a:solidFill>
                <a:effectLst/>
                <a:uLnTx/>
                <a:uFillTx/>
                <a:latin typeface="Calibri" panose="020F0502020204030204" pitchFamily="34" charset="0"/>
                <a:cs typeface="Calibri" panose="020F0502020204030204" pitchFamily="34" charset="0"/>
              </a:rPr>
              <a:t>1918: Milton Hershey School </a:t>
            </a:r>
            <a:r>
              <a:rPr kumimoji="0" lang="en-US" sz="2400" b="1" i="0" u="none" strike="noStrike" kern="1200" cap="none" spc="0" normalizeH="0" baseline="0" noProof="0" dirty="0" err="1">
                <a:ln>
                  <a:noFill/>
                </a:ln>
                <a:solidFill>
                  <a:srgbClr val="FEF0DC"/>
                </a:solidFill>
                <a:effectLst/>
                <a:uLnTx/>
                <a:uFillTx/>
                <a:latin typeface="Calibri" panose="020F0502020204030204" pitchFamily="34" charset="0"/>
                <a:cs typeface="Calibri" panose="020F0502020204030204" pitchFamily="34" charset="0"/>
              </a:rPr>
              <a:t>Trus</a:t>
            </a:r>
            <a:r>
              <a:rPr lang="en-US" sz="2400" b="1" dirty="0">
                <a:solidFill>
                  <a:srgbClr val="FEF0DC"/>
                </a:solidFill>
                <a:latin typeface="Calibri" panose="020F0502020204030204" pitchFamily="34" charset="0"/>
                <a:cs typeface="Calibri" panose="020F0502020204030204" pitchFamily="34" charset="0"/>
              </a:rPr>
              <a:t>t Fund establish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b="1" dirty="0">
              <a:solidFill>
                <a:srgbClr val="FEF0DC"/>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4">
                    <a:lumMod val="50000"/>
                  </a:schemeClr>
                </a:solidFill>
                <a:effectLst/>
                <a:uLnTx/>
                <a:uFillTx/>
                <a:latin typeface="Calibri" panose="020F0502020204030204" pitchFamily="34" charset="0"/>
                <a:cs typeface="Calibri" panose="020F0502020204030204" pitchFamily="34" charset="0"/>
              </a:rPr>
              <a:t>1930-45: The </a:t>
            </a:r>
            <a:r>
              <a:rPr lang="en-US" sz="2400" b="1" dirty="0">
                <a:solidFill>
                  <a:schemeClr val="accent4">
                    <a:lumMod val="50000"/>
                  </a:schemeClr>
                </a:solidFill>
                <a:latin typeface="Calibri" panose="020F0502020204030204" pitchFamily="34" charset="0"/>
                <a:cs typeface="Calibri" panose="020F0502020204030204" pitchFamily="34" charset="0"/>
              </a:rPr>
              <a:t>Great Works Proje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b="1" dirty="0">
              <a:solidFill>
                <a:schemeClr val="accent4">
                  <a:lumMod val="50000"/>
                </a:schemeClr>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4">
                    <a:lumMod val="50000"/>
                  </a:schemeClr>
                </a:solidFill>
                <a:effectLst/>
                <a:uLnTx/>
                <a:uFillTx/>
                <a:latin typeface="Calibri" panose="020F0502020204030204" pitchFamily="34" charset="0"/>
                <a:cs typeface="Calibri" panose="020F0502020204030204" pitchFamily="34" charset="0"/>
              </a:rPr>
              <a:t>2000: World Cocoa Foundation start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accent4">
                  <a:lumMod val="50000"/>
                </a:schemeClr>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accent4">
                    <a:lumMod val="50000"/>
                  </a:schemeClr>
                </a:solidFill>
                <a:latin typeface="Calibri" panose="020F0502020204030204" pitchFamily="34" charset="0"/>
                <a:cs typeface="Calibri" panose="020F0502020204030204" pitchFamily="34" charset="0"/>
              </a:rPr>
              <a:t>2015: Project Vivi: Fortified Peanut Butter in Ghana</a:t>
            </a:r>
          </a:p>
        </p:txBody>
      </p:sp>
      <p:sp>
        <p:nvSpPr>
          <p:cNvPr id="33" name="TextBox 32">
            <a:extLst>
              <a:ext uri="{FF2B5EF4-FFF2-40B4-BE49-F238E27FC236}">
                <a16:creationId xmlns:a16="http://schemas.microsoft.com/office/drawing/2014/main" id="{4045FD78-5881-B6F3-99DB-FF6D25F883D0}"/>
              </a:ext>
            </a:extLst>
          </p:cNvPr>
          <p:cNvSpPr txBox="1"/>
          <p:nvPr/>
        </p:nvSpPr>
        <p:spPr>
          <a:xfrm>
            <a:off x="2610557" y="5226641"/>
            <a:ext cx="7265529"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25457"/>
                </a:solidFill>
                <a:effectLst/>
                <a:uLnTx/>
                <a:uFillTx/>
                <a:latin typeface="Calibri" panose="020F0502020204030204" pitchFamily="34" charset="0"/>
                <a:cs typeface="Calibri" panose="020F0502020204030204" pitchFamily="34" charset="0"/>
              </a:rPr>
              <a:t>Future Goal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525457"/>
                </a:solidFill>
                <a:effectLst/>
                <a:uLnTx/>
                <a:uFillTx/>
                <a:latin typeface="Calibri" panose="020F0502020204030204" pitchFamily="34" charset="0"/>
                <a:cs typeface="Calibri" panose="020F0502020204030204" pitchFamily="34" charset="0"/>
              </a:rPr>
              <a:t>2025: 100% child labor free cocoa sourc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solidFill>
                  <a:srgbClr val="525457"/>
                </a:solidFill>
                <a:latin typeface="Calibri" panose="020F0502020204030204" pitchFamily="34" charset="0"/>
                <a:cs typeface="Calibri" panose="020F0502020204030204" pitchFamily="34" charset="0"/>
              </a:rPr>
              <a:t>2025: </a:t>
            </a:r>
            <a:r>
              <a:rPr kumimoji="0" lang="en-US" sz="2000" b="1" i="0" u="none" strike="noStrike" kern="1200" cap="none" spc="0" normalizeH="0" baseline="0" noProof="0" dirty="0">
                <a:ln>
                  <a:noFill/>
                </a:ln>
                <a:solidFill>
                  <a:srgbClr val="525457"/>
                </a:solidFill>
                <a:effectLst/>
                <a:uLnTx/>
                <a:uFillTx/>
                <a:latin typeface="Calibri" panose="020F0502020204030204" pitchFamily="34" charset="0"/>
                <a:cs typeface="Calibri" panose="020F0502020204030204" pitchFamily="34" charset="0"/>
              </a:rPr>
              <a:t>100% sustainable sourcing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solidFill>
                  <a:srgbClr val="525457"/>
                </a:solidFill>
                <a:latin typeface="Calibri" panose="020F0502020204030204" pitchFamily="34" charset="0"/>
                <a:cs typeface="Calibri" panose="020F0502020204030204" pitchFamily="34" charset="0"/>
              </a:rPr>
              <a:t>2030: 100% recyclable/sustainable packaging material</a:t>
            </a:r>
          </a:p>
        </p:txBody>
      </p:sp>
      <p:sp>
        <p:nvSpPr>
          <p:cNvPr id="37" name="Oval 36">
            <a:extLst>
              <a:ext uri="{FF2B5EF4-FFF2-40B4-BE49-F238E27FC236}">
                <a16:creationId xmlns:a16="http://schemas.microsoft.com/office/drawing/2014/main" id="{5CA2F4B9-E871-8E39-10A4-5575FFF62188}"/>
              </a:ext>
            </a:extLst>
          </p:cNvPr>
          <p:cNvSpPr>
            <a:spLocks noChangeAspect="1"/>
          </p:cNvSpPr>
          <p:nvPr/>
        </p:nvSpPr>
        <p:spPr>
          <a:xfrm>
            <a:off x="2312563" y="4091763"/>
            <a:ext cx="237892" cy="237892"/>
          </a:xfrm>
          <a:prstGeom prst="ellipse">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FEF0DC"/>
              </a:solidFill>
              <a:effectLst/>
              <a:uLnTx/>
              <a:uFillTx/>
              <a:latin typeface="Calibri"/>
              <a:ea typeface="+mn-ea"/>
              <a:cs typeface="+mn-cs"/>
            </a:endParaRPr>
          </a:p>
        </p:txBody>
      </p:sp>
      <p:sp>
        <p:nvSpPr>
          <p:cNvPr id="38" name="Oval 37">
            <a:extLst>
              <a:ext uri="{FF2B5EF4-FFF2-40B4-BE49-F238E27FC236}">
                <a16:creationId xmlns:a16="http://schemas.microsoft.com/office/drawing/2014/main" id="{B5D91AA6-9080-0D03-1765-1615879BA0EA}"/>
              </a:ext>
            </a:extLst>
          </p:cNvPr>
          <p:cNvSpPr>
            <a:spLocks noChangeAspect="1"/>
          </p:cNvSpPr>
          <p:nvPr/>
        </p:nvSpPr>
        <p:spPr>
          <a:xfrm>
            <a:off x="2312563" y="5341416"/>
            <a:ext cx="237892" cy="237892"/>
          </a:xfrm>
          <a:prstGeom prst="ellipse">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FEF0DC"/>
              </a:solidFill>
              <a:effectLst/>
              <a:uLnTx/>
              <a:uFillTx/>
              <a:latin typeface="Calibri"/>
              <a:ea typeface="+mn-ea"/>
              <a:cs typeface="+mn-cs"/>
            </a:endParaRPr>
          </a:p>
        </p:txBody>
      </p:sp>
      <p:sp>
        <p:nvSpPr>
          <p:cNvPr id="39" name="Oval 38">
            <a:extLst>
              <a:ext uri="{FF2B5EF4-FFF2-40B4-BE49-F238E27FC236}">
                <a16:creationId xmlns:a16="http://schemas.microsoft.com/office/drawing/2014/main" id="{FD3322C8-4BE9-8BF8-CBA4-81F80684B647}"/>
              </a:ext>
            </a:extLst>
          </p:cNvPr>
          <p:cNvSpPr>
            <a:spLocks noChangeAspect="1"/>
          </p:cNvSpPr>
          <p:nvPr/>
        </p:nvSpPr>
        <p:spPr>
          <a:xfrm flipV="1">
            <a:off x="2312563" y="2660679"/>
            <a:ext cx="237893" cy="2378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468"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8BC753"/>
              </a:solidFill>
              <a:effectLst/>
              <a:uLnTx/>
              <a:uFillTx/>
              <a:latin typeface="Calibri"/>
              <a:ea typeface="+mn-ea"/>
              <a:cs typeface="+mn-cs"/>
            </a:endParaRPr>
          </a:p>
        </p:txBody>
      </p:sp>
      <p:grpSp>
        <p:nvGrpSpPr>
          <p:cNvPr id="22" name="Group 21">
            <a:extLst>
              <a:ext uri="{FF2B5EF4-FFF2-40B4-BE49-F238E27FC236}">
                <a16:creationId xmlns:a16="http://schemas.microsoft.com/office/drawing/2014/main" id="{AA8041A7-51D0-7DEA-B81E-76D07FFB5339}"/>
              </a:ext>
            </a:extLst>
          </p:cNvPr>
          <p:cNvGrpSpPr/>
          <p:nvPr/>
        </p:nvGrpSpPr>
        <p:grpSpPr>
          <a:xfrm>
            <a:off x="10059346" y="2894192"/>
            <a:ext cx="2079111" cy="1261460"/>
            <a:chOff x="10059346" y="3039438"/>
            <a:chExt cx="2079111" cy="1261460"/>
          </a:xfrm>
        </p:grpSpPr>
        <p:pic>
          <p:nvPicPr>
            <p:cNvPr id="4" name="Picture 2" descr="Moral Icon - Slide Team">
              <a:extLst>
                <a:ext uri="{FF2B5EF4-FFF2-40B4-BE49-F238E27FC236}">
                  <a16:creationId xmlns:a16="http://schemas.microsoft.com/office/drawing/2014/main" id="{76353B8C-D2D1-027B-E86E-C04B6CD03B2C}"/>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28427" t="18581" r="27461"/>
            <a:stretch/>
          </p:blipFill>
          <p:spPr bwMode="auto">
            <a:xfrm>
              <a:off x="10658537" y="3039438"/>
              <a:ext cx="880728" cy="91622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0A68FC3-90D3-6D9F-E8E0-33C8BE4E292D}"/>
                </a:ext>
              </a:extLst>
            </p:cNvPr>
            <p:cNvSpPr txBox="1"/>
            <p:nvPr/>
          </p:nvSpPr>
          <p:spPr>
            <a:xfrm>
              <a:off x="10059346" y="3988825"/>
              <a:ext cx="2079111" cy="312073"/>
            </a:xfrm>
            <a:prstGeom prst="rect">
              <a:avLst/>
            </a:prstGeom>
            <a:noFill/>
          </p:spPr>
          <p:txBody>
            <a:bodyPr wrap="square" lIns="0" tIns="0" rIns="0" bIns="0">
              <a:spAutoFit/>
            </a:bodyPr>
            <a:lstStyle/>
            <a:p>
              <a:pPr marL="0" marR="0" lvl="0" indent="0" algn="ctr" defTabSz="1218468" rtl="0" eaLnBrk="1" fontAlgn="auto" latinLnBrk="0" hangingPunct="1">
                <a:lnSpc>
                  <a:spcPts val="2400"/>
                </a:lnSpc>
                <a:spcBef>
                  <a:spcPts val="1199"/>
                </a:spcBef>
                <a:spcAft>
                  <a:spcPts val="0"/>
                </a:spcAft>
                <a:buClrTx/>
                <a:buSzTx/>
                <a:buFontTx/>
                <a:buNone/>
                <a:tabLst/>
                <a:defRPr/>
              </a:pPr>
              <a:r>
                <a:rPr kumimoji="0" lang="en-US" sz="2400" b="1" i="0" u="none" strike="noStrike" kern="1200" cap="none" spc="0" normalizeH="0" baseline="0" noProof="0" dirty="0">
                  <a:ln>
                    <a:noFill/>
                  </a:ln>
                  <a:solidFill>
                    <a:srgbClr val="3F000B"/>
                  </a:solidFill>
                  <a:effectLst/>
                  <a:uLnTx/>
                  <a:uFillTx/>
                  <a:latin typeface="Gazpacho Light" pitchFamily="2" charset="77"/>
                  <a:ea typeface="+mn-ea"/>
                  <a:cs typeface="+mn-cs"/>
                </a:rPr>
                <a:t>Personal Values</a:t>
              </a:r>
            </a:p>
          </p:txBody>
        </p:sp>
      </p:grpSp>
      <p:grpSp>
        <p:nvGrpSpPr>
          <p:cNvPr id="23" name="Group 22">
            <a:extLst>
              <a:ext uri="{FF2B5EF4-FFF2-40B4-BE49-F238E27FC236}">
                <a16:creationId xmlns:a16="http://schemas.microsoft.com/office/drawing/2014/main" id="{45C53BA5-6B99-E87E-5ACB-2E07A1A4D562}"/>
              </a:ext>
            </a:extLst>
          </p:cNvPr>
          <p:cNvGrpSpPr/>
          <p:nvPr/>
        </p:nvGrpSpPr>
        <p:grpSpPr>
          <a:xfrm>
            <a:off x="10059346" y="4772238"/>
            <a:ext cx="2079111" cy="1823813"/>
            <a:chOff x="10059346" y="4772238"/>
            <a:chExt cx="2079111" cy="1823813"/>
          </a:xfrm>
        </p:grpSpPr>
        <p:pic>
          <p:nvPicPr>
            <p:cNvPr id="1028" name="Picture 4" descr="Legacy - Free miscellaneous icons">
              <a:extLst>
                <a:ext uri="{FF2B5EF4-FFF2-40B4-BE49-F238E27FC236}">
                  <a16:creationId xmlns:a16="http://schemas.microsoft.com/office/drawing/2014/main" id="{A074235A-C88C-517A-F8DB-15BDD58CB2D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9305936">
              <a:off x="10529724" y="4772238"/>
              <a:ext cx="1138354" cy="113835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1EBAB48-D813-6C49-5B75-0D694C8C45F3}"/>
                </a:ext>
              </a:extLst>
            </p:cNvPr>
            <p:cNvSpPr txBox="1"/>
            <p:nvPr/>
          </p:nvSpPr>
          <p:spPr>
            <a:xfrm>
              <a:off x="10059346" y="5976201"/>
              <a:ext cx="2079111" cy="619850"/>
            </a:xfrm>
            <a:prstGeom prst="rect">
              <a:avLst/>
            </a:prstGeom>
            <a:noFill/>
          </p:spPr>
          <p:txBody>
            <a:bodyPr wrap="square" lIns="0" tIns="0" rIns="0" bIns="0">
              <a:spAutoFit/>
            </a:bodyPr>
            <a:lstStyle/>
            <a:p>
              <a:pPr marL="0" marR="0" lvl="0" indent="0" algn="ctr" defTabSz="1218468" rtl="0" eaLnBrk="1" fontAlgn="auto" latinLnBrk="0" hangingPunct="1">
                <a:lnSpc>
                  <a:spcPts val="2400"/>
                </a:lnSpc>
                <a:spcBef>
                  <a:spcPts val="1199"/>
                </a:spcBef>
                <a:spcAft>
                  <a:spcPts val="0"/>
                </a:spcAft>
                <a:buClrTx/>
                <a:buSzTx/>
                <a:buFontTx/>
                <a:buNone/>
                <a:tabLst/>
                <a:defRPr/>
              </a:pPr>
              <a:r>
                <a:rPr kumimoji="0" lang="en-US" sz="2400" b="1" i="0" u="none" strike="noStrike" kern="1200" cap="none" spc="0" normalizeH="0" baseline="0" noProof="0" dirty="0">
                  <a:ln>
                    <a:noFill/>
                  </a:ln>
                  <a:solidFill>
                    <a:srgbClr val="3F000B"/>
                  </a:solidFill>
                  <a:effectLst/>
                  <a:uLnTx/>
                  <a:uFillTx/>
                  <a:latin typeface="Gazpacho Light" pitchFamily="2" charset="77"/>
                  <a:ea typeface="+mn-ea"/>
                  <a:cs typeface="+mn-cs"/>
                </a:rPr>
                <a:t>Hershey’s Legacy</a:t>
              </a:r>
            </a:p>
          </p:txBody>
        </p:sp>
      </p:grpSp>
    </p:spTree>
    <p:extLst>
      <p:ext uri="{BB962C8B-B14F-4D97-AF65-F5344CB8AC3E}">
        <p14:creationId xmlns:p14="http://schemas.microsoft.com/office/powerpoint/2010/main" val="41624980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2EC39C54-9427-BC00-7699-806ECB64BA11}"/>
              </a:ext>
            </a:extLst>
          </p:cNvPr>
          <p:cNvGraphicFramePr>
            <a:graphicFrameLocks noChangeAspect="1"/>
          </p:cNvGraphicFramePr>
          <p:nvPr>
            <p:custDataLst>
              <p:tags r:id="rId1"/>
            </p:custDataLst>
            <p:extLst>
              <p:ext uri="{D42A27DB-BD31-4B8C-83A1-F6EECF244321}">
                <p14:modId xmlns:p14="http://schemas.microsoft.com/office/powerpoint/2010/main" val="375090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7" name="Object 26" hidden="1">
                        <a:extLst>
                          <a:ext uri="{FF2B5EF4-FFF2-40B4-BE49-F238E27FC236}">
                            <a16:creationId xmlns:a16="http://schemas.microsoft.com/office/drawing/2014/main" id="{2EC39C54-9427-BC00-7699-806ECB64BA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6837F1D0-72B5-89F9-1EED-B0FCD2DCB4BE}"/>
              </a:ext>
            </a:extLst>
          </p:cNvPr>
          <p:cNvGrpSpPr/>
          <p:nvPr/>
        </p:nvGrpSpPr>
        <p:grpSpPr>
          <a:xfrm>
            <a:off x="304053" y="975147"/>
            <a:ext cx="11583895" cy="5968515"/>
            <a:chOff x="122532" y="975147"/>
            <a:chExt cx="11583895" cy="5968515"/>
          </a:xfrm>
        </p:grpSpPr>
        <p:sp>
          <p:nvSpPr>
            <p:cNvPr id="6" name="Rectangle 5">
              <a:extLst>
                <a:ext uri="{FF2B5EF4-FFF2-40B4-BE49-F238E27FC236}">
                  <a16:creationId xmlns:a16="http://schemas.microsoft.com/office/drawing/2014/main" id="{118109BF-D5D4-6CC5-96F4-271C008462EF}"/>
                </a:ext>
              </a:extLst>
            </p:cNvPr>
            <p:cNvSpPr/>
            <p:nvPr/>
          </p:nvSpPr>
          <p:spPr>
            <a:xfrm>
              <a:off x="199176" y="6043034"/>
              <a:ext cx="1623020" cy="626729"/>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7" name="Rectangle: Rounded Corners 6">
              <a:extLst>
                <a:ext uri="{FF2B5EF4-FFF2-40B4-BE49-F238E27FC236}">
                  <a16:creationId xmlns:a16="http://schemas.microsoft.com/office/drawing/2014/main" id="{C718BF3A-7288-F95B-A507-ACF981784DE0}"/>
                </a:ext>
              </a:extLst>
            </p:cNvPr>
            <p:cNvSpPr/>
            <p:nvPr/>
          </p:nvSpPr>
          <p:spPr>
            <a:xfrm>
              <a:off x="122534" y="975147"/>
              <a:ext cx="4982864" cy="602222"/>
            </a:xfrm>
            <a:prstGeom prst="round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EF0DC"/>
                  </a:solidFill>
                  <a:latin typeface="Calibri" panose="020F0502020204030204" pitchFamily="34" charset="0"/>
                  <a:cs typeface="Calibri" panose="020F0502020204030204" pitchFamily="34" charset="0"/>
                </a:rPr>
                <a:t>Milton Hershey &amp; MHS then</a:t>
              </a:r>
            </a:p>
          </p:txBody>
        </p:sp>
        <p:pic>
          <p:nvPicPr>
            <p:cNvPr id="2054" name="Picture 6" descr="About Milton Hershey School | Milton Hershey School History">
              <a:extLst>
                <a:ext uri="{FF2B5EF4-FFF2-40B4-BE49-F238E27FC236}">
                  <a16:creationId xmlns:a16="http://schemas.microsoft.com/office/drawing/2014/main" id="{91321A87-AF50-DA52-83EA-A2D89883ED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532" y="3617599"/>
              <a:ext cx="4982866" cy="332606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976E17C-740A-5AE7-2A16-6EF5378C74AC}"/>
                </a:ext>
              </a:extLst>
            </p:cNvPr>
            <p:cNvSpPr txBox="1"/>
            <p:nvPr/>
          </p:nvSpPr>
          <p:spPr>
            <a:xfrm>
              <a:off x="122533" y="1577369"/>
              <a:ext cx="4982864" cy="2062103"/>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Milton and wife Catherine loved children, but were unable to have their own</a:t>
              </a:r>
            </a:p>
            <a:p>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Originally founded in 1909 as a home &amp; school for orphaned boys as “Hershey Industrial School”</a:t>
              </a:r>
            </a:p>
            <a:p>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In 1918, Milton donated his entire fortune ($60M) to the school, and established the Hershey Trust Fund</a:t>
              </a:r>
            </a:p>
          </p:txBody>
        </p:sp>
        <p:sp>
          <p:nvSpPr>
            <p:cNvPr id="10" name="Isosceles Triangle 9">
              <a:extLst>
                <a:ext uri="{FF2B5EF4-FFF2-40B4-BE49-F238E27FC236}">
                  <a16:creationId xmlns:a16="http://schemas.microsoft.com/office/drawing/2014/main" id="{1DBE2CA4-7526-C2CA-9321-7CAF932263B0}"/>
                </a:ext>
              </a:extLst>
            </p:cNvPr>
            <p:cNvSpPr/>
            <p:nvPr/>
          </p:nvSpPr>
          <p:spPr>
            <a:xfrm rot="5400000">
              <a:off x="3743588" y="3807147"/>
              <a:ext cx="4479399" cy="221471"/>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11" name="Rectangle: Rounded Corners 10">
              <a:extLst>
                <a:ext uri="{FF2B5EF4-FFF2-40B4-BE49-F238E27FC236}">
                  <a16:creationId xmlns:a16="http://schemas.microsoft.com/office/drawing/2014/main" id="{7CB4B11E-1EFA-1FD5-4372-C9F9DA3FACAE}"/>
                </a:ext>
              </a:extLst>
            </p:cNvPr>
            <p:cNvSpPr/>
            <p:nvPr/>
          </p:nvSpPr>
          <p:spPr>
            <a:xfrm>
              <a:off x="6723561" y="975147"/>
              <a:ext cx="4982865" cy="602222"/>
            </a:xfrm>
            <a:prstGeom prst="roundRect">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EF0DC"/>
                  </a:solidFill>
                  <a:latin typeface="Calibri" panose="020F0502020204030204" pitchFamily="34" charset="0"/>
                  <a:cs typeface="Calibri" panose="020F0502020204030204" pitchFamily="34" charset="0"/>
                </a:rPr>
                <a:t>Hershey Company &amp; MHS now</a:t>
              </a:r>
            </a:p>
          </p:txBody>
        </p:sp>
        <p:sp>
          <p:nvSpPr>
            <p:cNvPr id="12" name="TextBox 11">
              <a:extLst>
                <a:ext uri="{FF2B5EF4-FFF2-40B4-BE49-F238E27FC236}">
                  <a16:creationId xmlns:a16="http://schemas.microsoft.com/office/drawing/2014/main" id="{E032A5F4-FBC5-F52A-C151-08B351DB4523}"/>
                </a:ext>
              </a:extLst>
            </p:cNvPr>
            <p:cNvSpPr txBox="1"/>
            <p:nvPr/>
          </p:nvSpPr>
          <p:spPr>
            <a:xfrm>
              <a:off x="6723561" y="1581916"/>
              <a:ext cx="4982864" cy="1815882"/>
            </a:xfrm>
            <a:prstGeom prst="rect">
              <a:avLst/>
            </a:prstGeom>
            <a:noFill/>
          </p:spPr>
          <p:txBody>
            <a:bodyPr wrap="square" rtlCol="0">
              <a:spAutoFit/>
            </a:bodyPr>
            <a:lstStyle/>
            <a:p>
              <a:r>
                <a:rPr lang="en-US" sz="1600" dirty="0">
                  <a:latin typeface="Calibri" panose="020F0502020204030204" pitchFamily="34" charset="0"/>
                  <a:cs typeface="Calibri" panose="020F0502020204030204" pitchFamily="34" charset="0"/>
                </a:rPr>
                <a:t>Milton Hershey School Trust has controlling majority of Hershey common stock (~30% of shares)</a:t>
              </a:r>
            </a:p>
            <a:p>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Continued legacy of engagement through alumni career program &amp; internships</a:t>
              </a:r>
            </a:p>
            <a:p>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  ~50 new hires between 2021-now are MHS alumni</a:t>
              </a:r>
            </a:p>
          </p:txBody>
        </p:sp>
        <p:pic>
          <p:nvPicPr>
            <p:cNvPr id="14" name="Picture 13" descr="A group of people posing for a photo&#10;&#10;Description automatically generated">
              <a:extLst>
                <a:ext uri="{FF2B5EF4-FFF2-40B4-BE49-F238E27FC236}">
                  <a16:creationId xmlns:a16="http://schemas.microsoft.com/office/drawing/2014/main" id="{8DAB3C43-B3A4-C87C-D855-0DA67D946BB8}"/>
                </a:ext>
              </a:extLst>
            </p:cNvPr>
            <p:cNvPicPr>
              <a:picLocks noChangeAspect="1"/>
            </p:cNvPicPr>
            <p:nvPr/>
          </p:nvPicPr>
          <p:blipFill rotWithShape="1">
            <a:blip r:embed="rId6"/>
            <a:srcRect l="5975" t="2194" r="8670" b="-1"/>
            <a:stretch/>
          </p:blipFill>
          <p:spPr>
            <a:xfrm>
              <a:off x="6723561" y="3552146"/>
              <a:ext cx="4982866" cy="3305854"/>
            </a:xfrm>
            <a:prstGeom prst="rect">
              <a:avLst/>
            </a:prstGeom>
          </p:spPr>
        </p:pic>
      </p:grpSp>
      <p:sp>
        <p:nvSpPr>
          <p:cNvPr id="16" name="Title 1">
            <a:extLst>
              <a:ext uri="{FF2B5EF4-FFF2-40B4-BE49-F238E27FC236}">
                <a16:creationId xmlns:a16="http://schemas.microsoft.com/office/drawing/2014/main" id="{DBE07DDA-2D27-F5A7-6E4C-401471D006E0}"/>
              </a:ext>
            </a:extLst>
          </p:cNvPr>
          <p:cNvSpPr txBox="1">
            <a:spLocks/>
          </p:cNvSpPr>
          <p:nvPr/>
        </p:nvSpPr>
        <p:spPr>
          <a:xfrm>
            <a:off x="244687" y="171452"/>
            <a:ext cx="11702627" cy="387798"/>
          </a:xfrm>
          <a:prstGeom prst="rect">
            <a:avLst/>
          </a:prstGeom>
        </p:spPr>
        <p:txBody>
          <a:bodyPr vert="horz" wrap="square" lIns="0" tIns="0" rIns="0" bIns="0" rtlCol="0" anchor="t">
            <a:spAutoFit/>
          </a:bodyPr>
          <a:lstStyle>
            <a:lvl1pPr marL="0" algn="l" defTabSz="913486" rtl="0" eaLnBrk="1" latinLnBrk="0" hangingPunct="1">
              <a:lnSpc>
                <a:spcPct val="90000"/>
              </a:lnSpc>
              <a:spcBef>
                <a:spcPct val="0"/>
              </a:spcBef>
              <a:buNone/>
              <a:defRPr lang="en-IN" sz="3198" b="1" i="0" kern="1200">
                <a:solidFill>
                  <a:schemeClr val="tx1"/>
                </a:solidFill>
                <a:latin typeface="+mj-lt"/>
                <a:ea typeface="+mj-ea"/>
                <a:cs typeface="+mj-cs"/>
              </a:defRPr>
            </a:lvl1pPr>
          </a:lstStyle>
          <a:p>
            <a:pPr algn="ctr"/>
            <a:r>
              <a:rPr lang="en-US" sz="2800" dirty="0">
                <a:latin typeface="+mj-lt"/>
              </a:rPr>
              <a:t>“Doing Well by Doing Good” is a core value that’s continued for over 100 years</a:t>
            </a:r>
            <a:endParaRPr lang="en-US" sz="2800" dirty="0"/>
          </a:p>
        </p:txBody>
      </p:sp>
    </p:spTree>
    <p:extLst>
      <p:ext uri="{BB962C8B-B14F-4D97-AF65-F5344CB8AC3E}">
        <p14:creationId xmlns:p14="http://schemas.microsoft.com/office/powerpoint/2010/main" val="3997391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2EC39C54-9427-BC00-7699-806ECB64BA11}"/>
              </a:ext>
            </a:extLst>
          </p:cNvPr>
          <p:cNvGraphicFramePr>
            <a:graphicFrameLocks noChangeAspect="1"/>
          </p:cNvGraphicFramePr>
          <p:nvPr>
            <p:custDataLst>
              <p:tags r:id="rId1"/>
            </p:custDataLst>
            <p:extLst>
              <p:ext uri="{D42A27DB-BD31-4B8C-83A1-F6EECF244321}">
                <p14:modId xmlns:p14="http://schemas.microsoft.com/office/powerpoint/2010/main" val="191761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7" name="Object 26" hidden="1">
                        <a:extLst>
                          <a:ext uri="{FF2B5EF4-FFF2-40B4-BE49-F238E27FC236}">
                            <a16:creationId xmlns:a16="http://schemas.microsoft.com/office/drawing/2014/main" id="{2EC39C54-9427-BC00-7699-806ECB64BA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Rounded Corners 5">
            <a:extLst>
              <a:ext uri="{FF2B5EF4-FFF2-40B4-BE49-F238E27FC236}">
                <a16:creationId xmlns:a16="http://schemas.microsoft.com/office/drawing/2014/main" id="{CB4BD29D-5A3F-4272-2AD8-B62C7DE24BFD}"/>
              </a:ext>
            </a:extLst>
          </p:cNvPr>
          <p:cNvSpPr/>
          <p:nvPr/>
        </p:nvSpPr>
        <p:spPr>
          <a:xfrm>
            <a:off x="9702297" y="4699403"/>
            <a:ext cx="2330157" cy="2158063"/>
          </a:xfrm>
          <a:prstGeom prst="roundRect">
            <a:avLst/>
          </a:prstGeom>
          <a:solidFill>
            <a:srgbClr val="FEF0DC"/>
          </a:solidFill>
          <a:ln>
            <a:solidFill>
              <a:srgbClr val="3F00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solidFill>
                <a:srgbClr val="3F000B"/>
              </a:solidFill>
              <a:latin typeface="TT Norms Pro" panose="02000503030000020003" pitchFamily="2" charset="0"/>
            </a:endParaRPr>
          </a:p>
        </p:txBody>
      </p:sp>
      <p:sp>
        <p:nvSpPr>
          <p:cNvPr id="89" name="Arrow: Pentagon 88">
            <a:extLst>
              <a:ext uri="{FF2B5EF4-FFF2-40B4-BE49-F238E27FC236}">
                <a16:creationId xmlns:a16="http://schemas.microsoft.com/office/drawing/2014/main" id="{7FF49C1B-EFAF-523D-3FD2-D6BEEF43D456}"/>
              </a:ext>
            </a:extLst>
          </p:cNvPr>
          <p:cNvSpPr/>
          <p:nvPr/>
        </p:nvSpPr>
        <p:spPr>
          <a:xfrm>
            <a:off x="2239032" y="4716975"/>
            <a:ext cx="7583978" cy="1056316"/>
          </a:xfrm>
          <a:prstGeom prst="homePlate">
            <a:avLst>
              <a:gd name="adj" fmla="val 28573"/>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90" name="Arrow: Pentagon 89">
            <a:extLst>
              <a:ext uri="{FF2B5EF4-FFF2-40B4-BE49-F238E27FC236}">
                <a16:creationId xmlns:a16="http://schemas.microsoft.com/office/drawing/2014/main" id="{C2BEE1E7-5203-5333-1B1B-41DF45C8445A}"/>
              </a:ext>
            </a:extLst>
          </p:cNvPr>
          <p:cNvSpPr/>
          <p:nvPr/>
        </p:nvSpPr>
        <p:spPr>
          <a:xfrm>
            <a:off x="2239032" y="5811037"/>
            <a:ext cx="7583978" cy="1046962"/>
          </a:xfrm>
          <a:prstGeom prst="homePlate">
            <a:avLst>
              <a:gd name="adj" fmla="val 29246"/>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2" name="Title 1">
            <a:extLst>
              <a:ext uri="{FF2B5EF4-FFF2-40B4-BE49-F238E27FC236}">
                <a16:creationId xmlns:a16="http://schemas.microsoft.com/office/drawing/2014/main" id="{6DE5E596-BDDD-D374-A717-32BFC395CAD9}"/>
              </a:ext>
            </a:extLst>
          </p:cNvPr>
          <p:cNvSpPr>
            <a:spLocks noGrp="1"/>
          </p:cNvSpPr>
          <p:nvPr>
            <p:ph type="title"/>
          </p:nvPr>
        </p:nvSpPr>
        <p:spPr>
          <a:xfrm>
            <a:off x="0" y="171452"/>
            <a:ext cx="12192000" cy="387798"/>
          </a:xfrm>
        </p:spPr>
        <p:txBody>
          <a:bodyPr vert="horz"/>
          <a:lstStyle/>
          <a:p>
            <a:pPr algn="ctr"/>
            <a:r>
              <a:rPr lang="en-US" sz="2800" dirty="0">
                <a:latin typeface="+mj-lt"/>
              </a:rPr>
              <a:t>The Milton Hershey School Today: </a:t>
            </a:r>
            <a:r>
              <a:rPr lang="en-US" sz="2800" dirty="0"/>
              <a:t>“Greater Together” by continuing to “Do Good”</a:t>
            </a:r>
            <a:endParaRPr lang="en-US" sz="2800" dirty="0">
              <a:latin typeface="+mj-lt"/>
            </a:endParaRPr>
          </a:p>
        </p:txBody>
      </p:sp>
      <p:sp>
        <p:nvSpPr>
          <p:cNvPr id="3" name="Rectangle 2">
            <a:extLst>
              <a:ext uri="{FF2B5EF4-FFF2-40B4-BE49-F238E27FC236}">
                <a16:creationId xmlns:a16="http://schemas.microsoft.com/office/drawing/2014/main" id="{5A5FC402-141E-21AF-0E01-EF3A9773A4BE}"/>
              </a:ext>
            </a:extLst>
          </p:cNvPr>
          <p:cNvSpPr/>
          <p:nvPr/>
        </p:nvSpPr>
        <p:spPr>
          <a:xfrm>
            <a:off x="199176" y="6043034"/>
            <a:ext cx="1623020" cy="626729"/>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grpSp>
        <p:nvGrpSpPr>
          <p:cNvPr id="76" name="Group 75">
            <a:extLst>
              <a:ext uri="{FF2B5EF4-FFF2-40B4-BE49-F238E27FC236}">
                <a16:creationId xmlns:a16="http://schemas.microsoft.com/office/drawing/2014/main" id="{2C3C3D8B-C3A7-E2E1-F9FA-536F1C2051F6}"/>
              </a:ext>
            </a:extLst>
          </p:cNvPr>
          <p:cNvGrpSpPr/>
          <p:nvPr/>
        </p:nvGrpSpPr>
        <p:grpSpPr>
          <a:xfrm>
            <a:off x="235694" y="897949"/>
            <a:ext cx="2724150" cy="3644294"/>
            <a:chOff x="235694" y="1069399"/>
            <a:chExt cx="2724150" cy="3644294"/>
          </a:xfrm>
        </p:grpSpPr>
        <p:pic>
          <p:nvPicPr>
            <p:cNvPr id="1028" name="Picture 4" descr="MHS - School information">
              <a:extLst>
                <a:ext uri="{FF2B5EF4-FFF2-40B4-BE49-F238E27FC236}">
                  <a16:creationId xmlns:a16="http://schemas.microsoft.com/office/drawing/2014/main" id="{4CB08703-18C2-2C67-CE04-2F59FE1BCBD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5694" y="1069399"/>
              <a:ext cx="2724150" cy="1390650"/>
            </a:xfrm>
            <a:prstGeom prst="rect">
              <a:avLst/>
            </a:prstGeom>
            <a:noFill/>
            <a:extLst>
              <a:ext uri="{909E8E84-426E-40DD-AFC4-6F175D3DCCD1}">
                <a14:hiddenFill xmlns:a14="http://schemas.microsoft.com/office/drawing/2010/main">
                  <a:solidFill>
                    <a:srgbClr val="FFFFFF"/>
                  </a:solidFill>
                </a14:hiddenFill>
              </a:ext>
            </a:extLst>
          </p:spPr>
        </p:pic>
        <p:sp>
          <p:nvSpPr>
            <p:cNvPr id="26" name="Arrow: Pentagon 25">
              <a:extLst>
                <a:ext uri="{FF2B5EF4-FFF2-40B4-BE49-F238E27FC236}">
                  <a16:creationId xmlns:a16="http://schemas.microsoft.com/office/drawing/2014/main" id="{433BCB90-B037-093D-B8EF-EE19A49EE677}"/>
                </a:ext>
              </a:extLst>
            </p:cNvPr>
            <p:cNvSpPr/>
            <p:nvPr/>
          </p:nvSpPr>
          <p:spPr>
            <a:xfrm rot="5400000">
              <a:off x="447678" y="2257252"/>
              <a:ext cx="2300184" cy="2612698"/>
            </a:xfrm>
            <a:prstGeom prst="homePlate">
              <a:avLst>
                <a:gd name="adj" fmla="val 14980"/>
              </a:avLst>
            </a:prstGeom>
            <a:solidFill>
              <a:srgbClr val="3F00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28" name="TextBox 27">
              <a:extLst>
                <a:ext uri="{FF2B5EF4-FFF2-40B4-BE49-F238E27FC236}">
                  <a16:creationId xmlns:a16="http://schemas.microsoft.com/office/drawing/2014/main" id="{E9E870EB-B46E-A6C6-DFBC-65E16670B897}"/>
                </a:ext>
              </a:extLst>
            </p:cNvPr>
            <p:cNvSpPr txBox="1"/>
            <p:nvPr/>
          </p:nvSpPr>
          <p:spPr>
            <a:xfrm>
              <a:off x="443213" y="2413503"/>
              <a:ext cx="2319037" cy="2031325"/>
            </a:xfrm>
            <a:prstGeom prst="rect">
              <a:avLst/>
            </a:prstGeom>
            <a:noFill/>
          </p:spPr>
          <p:txBody>
            <a:bodyPr wrap="square" rtlCol="0">
              <a:spAutoFit/>
            </a:bodyPr>
            <a:lstStyle/>
            <a:p>
              <a:pPr algn="ctr"/>
              <a:r>
                <a:rPr lang="en-US" b="1" u="sng" dirty="0">
                  <a:solidFill>
                    <a:srgbClr val="FEF0DC"/>
                  </a:solidFill>
                  <a:effectLst/>
                  <a:latin typeface="Calibri" panose="020F0502020204030204" pitchFamily="34" charset="0"/>
                  <a:cs typeface="Calibri" panose="020F0502020204030204" pitchFamily="34" charset="0"/>
                </a:rPr>
                <a:t>Mission Statement</a:t>
              </a:r>
            </a:p>
            <a:p>
              <a:pPr algn="ctr"/>
              <a:endParaRPr lang="en-US" b="1" u="sng" dirty="0">
                <a:solidFill>
                  <a:srgbClr val="FEF0DC"/>
                </a:solidFill>
                <a:effectLst/>
                <a:latin typeface="Calibri" panose="020F0502020204030204" pitchFamily="34" charset="0"/>
                <a:cs typeface="Calibri" panose="020F0502020204030204" pitchFamily="34" charset="0"/>
              </a:endParaRPr>
            </a:p>
            <a:p>
              <a:pPr algn="ctr"/>
              <a:r>
                <a:rPr lang="en-US" b="0" i="1" dirty="0">
                  <a:solidFill>
                    <a:srgbClr val="FEF0DC"/>
                  </a:solidFill>
                  <a:effectLst/>
                  <a:latin typeface="Calibri" panose="020F0502020204030204" pitchFamily="34" charset="0"/>
                  <a:cs typeface="Calibri" panose="020F0502020204030204" pitchFamily="34" charset="0"/>
                </a:rPr>
                <a:t>To nurtures and educates children in social and financial need to lead fulfilling and productive lives</a:t>
              </a:r>
              <a:endParaRPr lang="en-US" dirty="0">
                <a:solidFill>
                  <a:srgbClr val="FEF0DC"/>
                </a:solidFill>
                <a:latin typeface="Calibri" panose="020F0502020204030204" pitchFamily="34" charset="0"/>
                <a:cs typeface="Calibri" panose="020F0502020204030204" pitchFamily="34" charset="0"/>
              </a:endParaRPr>
            </a:p>
          </p:txBody>
        </p:sp>
      </p:grpSp>
      <p:grpSp>
        <p:nvGrpSpPr>
          <p:cNvPr id="75" name="Group 74">
            <a:extLst>
              <a:ext uri="{FF2B5EF4-FFF2-40B4-BE49-F238E27FC236}">
                <a16:creationId xmlns:a16="http://schemas.microsoft.com/office/drawing/2014/main" id="{2A0A6F3A-FA13-40B6-B789-B612294D4A2E}"/>
              </a:ext>
            </a:extLst>
          </p:cNvPr>
          <p:cNvGrpSpPr/>
          <p:nvPr/>
        </p:nvGrpSpPr>
        <p:grpSpPr>
          <a:xfrm>
            <a:off x="3545243" y="821241"/>
            <a:ext cx="4001629" cy="3846009"/>
            <a:chOff x="3186770" y="992691"/>
            <a:chExt cx="4001629" cy="3846009"/>
          </a:xfrm>
        </p:grpSpPr>
        <p:pic>
          <p:nvPicPr>
            <p:cNvPr id="1030" name="Picture 6" descr="Family icon Royalty Free Vector Image - VectorStock">
              <a:extLst>
                <a:ext uri="{FF2B5EF4-FFF2-40B4-BE49-F238E27FC236}">
                  <a16:creationId xmlns:a16="http://schemas.microsoft.com/office/drawing/2014/main" id="{F86C077D-F8CD-90C1-E03F-D2A172C48673}"/>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16953" b="24053"/>
            <a:stretch/>
          </p:blipFill>
          <p:spPr bwMode="auto">
            <a:xfrm>
              <a:off x="5248285" y="2673253"/>
              <a:ext cx="1427069" cy="908147"/>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E7C086F-E0C4-9D4B-1FA6-CAB7CCD16A08}"/>
                </a:ext>
              </a:extLst>
            </p:cNvPr>
            <p:cNvSpPr/>
            <p:nvPr/>
          </p:nvSpPr>
          <p:spPr>
            <a:xfrm>
              <a:off x="4735240" y="3459436"/>
              <a:ext cx="2453159" cy="709920"/>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3F000B"/>
                  </a:solidFill>
                  <a:latin typeface="Calibri" panose="020F0502020204030204" pitchFamily="34" charset="0"/>
                  <a:cs typeface="Calibri" panose="020F0502020204030204" pitchFamily="34" charset="0"/>
                </a:rPr>
                <a:t>Avg family income $24,000</a:t>
              </a:r>
            </a:p>
            <a:p>
              <a:pPr algn="ctr"/>
              <a:r>
                <a:rPr lang="en-US" sz="1000" b="1" dirty="0">
                  <a:solidFill>
                    <a:srgbClr val="3F000B"/>
                  </a:solidFill>
                  <a:latin typeface="Calibri" panose="020F0502020204030204" pitchFamily="34" charset="0"/>
                  <a:cs typeface="Calibri" panose="020F0502020204030204" pitchFamily="34" charset="0"/>
                </a:rPr>
                <a:t>($3,000 below federal poverty line)</a:t>
              </a:r>
            </a:p>
          </p:txBody>
        </p:sp>
        <p:pic>
          <p:nvPicPr>
            <p:cNvPr id="31" name="Picture 30">
              <a:extLst>
                <a:ext uri="{FF2B5EF4-FFF2-40B4-BE49-F238E27FC236}">
                  <a16:creationId xmlns:a16="http://schemas.microsoft.com/office/drawing/2014/main" id="{013BB6BB-6607-7F6B-F2C9-9568AAA2F694}"/>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3369180" y="1096558"/>
              <a:ext cx="3123765" cy="3742142"/>
            </a:xfrm>
            <a:prstGeom prst="rect">
              <a:avLst/>
            </a:prstGeom>
          </p:spPr>
        </p:pic>
        <p:sp>
          <p:nvSpPr>
            <p:cNvPr id="32" name="Rectangle 31">
              <a:extLst>
                <a:ext uri="{FF2B5EF4-FFF2-40B4-BE49-F238E27FC236}">
                  <a16:creationId xmlns:a16="http://schemas.microsoft.com/office/drawing/2014/main" id="{C5D8DD02-DA8B-B0F0-2C52-DA682359DC71}"/>
                </a:ext>
              </a:extLst>
            </p:cNvPr>
            <p:cNvSpPr/>
            <p:nvPr/>
          </p:nvSpPr>
          <p:spPr>
            <a:xfrm>
              <a:off x="3186770" y="992691"/>
              <a:ext cx="2013901" cy="34703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u="sng" dirty="0">
                  <a:solidFill>
                    <a:srgbClr val="3F000B"/>
                  </a:solidFill>
                  <a:latin typeface="Calibri" panose="020F0502020204030204" pitchFamily="34" charset="0"/>
                  <a:cs typeface="Calibri" panose="020F0502020204030204" pitchFamily="34" charset="0"/>
                </a:rPr>
                <a:t>Demographics</a:t>
              </a:r>
            </a:p>
          </p:txBody>
        </p:sp>
      </p:grpSp>
      <p:sp>
        <p:nvSpPr>
          <p:cNvPr id="35" name="Rectangle 34">
            <a:extLst>
              <a:ext uri="{FF2B5EF4-FFF2-40B4-BE49-F238E27FC236}">
                <a16:creationId xmlns:a16="http://schemas.microsoft.com/office/drawing/2014/main" id="{EFABE2CE-C38E-3D9E-81D7-1A8AB92C6AC2}"/>
              </a:ext>
            </a:extLst>
          </p:cNvPr>
          <p:cNvSpPr/>
          <p:nvPr/>
        </p:nvSpPr>
        <p:spPr>
          <a:xfrm>
            <a:off x="7366271" y="821241"/>
            <a:ext cx="3088735" cy="3470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u="sng" dirty="0">
                <a:solidFill>
                  <a:srgbClr val="3F000B"/>
                </a:solidFill>
                <a:latin typeface="Calibri" panose="020F0502020204030204" pitchFamily="34" charset="0"/>
                <a:cs typeface="Calibri" panose="020F0502020204030204" pitchFamily="34" charset="0"/>
              </a:rPr>
              <a:t>Student Population</a:t>
            </a:r>
          </a:p>
        </p:txBody>
      </p:sp>
      <p:grpSp>
        <p:nvGrpSpPr>
          <p:cNvPr id="74" name="Group 73">
            <a:extLst>
              <a:ext uri="{FF2B5EF4-FFF2-40B4-BE49-F238E27FC236}">
                <a16:creationId xmlns:a16="http://schemas.microsoft.com/office/drawing/2014/main" id="{67AC39D7-FF12-91CF-45B5-AE1FD7CE04CD}"/>
              </a:ext>
            </a:extLst>
          </p:cNvPr>
          <p:cNvGrpSpPr/>
          <p:nvPr/>
        </p:nvGrpSpPr>
        <p:grpSpPr>
          <a:xfrm>
            <a:off x="7839076" y="1605557"/>
            <a:ext cx="4352924" cy="2699743"/>
            <a:chOff x="7839076" y="1777007"/>
            <a:chExt cx="4352924" cy="2699743"/>
          </a:xfrm>
        </p:grpSpPr>
        <p:pic>
          <p:nvPicPr>
            <p:cNvPr id="1032" name="Picture 8" descr="States Of America Territory On White Background North America Vector  Illustration Stock Illustration - Download Image Now">
              <a:extLst>
                <a:ext uri="{FF2B5EF4-FFF2-40B4-BE49-F238E27FC236}">
                  <a16:creationId xmlns:a16="http://schemas.microsoft.com/office/drawing/2014/main" id="{44FED583-99B7-C281-4084-FD7CA0FF133D}"/>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t="21058" b="18946"/>
            <a:stretch/>
          </p:blipFill>
          <p:spPr bwMode="auto">
            <a:xfrm>
              <a:off x="7839076" y="1777007"/>
              <a:ext cx="4352924" cy="2699743"/>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1E3E4511-91FE-AC33-4B16-727E5B6643AE}"/>
                </a:ext>
              </a:extLst>
            </p:cNvPr>
            <p:cNvSpPr/>
            <p:nvPr/>
          </p:nvSpPr>
          <p:spPr>
            <a:xfrm>
              <a:off x="8072084" y="2125517"/>
              <a:ext cx="1611350" cy="656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F000B"/>
                  </a:solidFill>
                  <a:latin typeface="Calibri" panose="020F0502020204030204" pitchFamily="34" charset="0"/>
                  <a:cs typeface="Calibri" panose="020F0502020204030204" pitchFamily="34" charset="0"/>
                </a:rPr>
                <a:t>22% from regional counties</a:t>
              </a:r>
            </a:p>
          </p:txBody>
        </p:sp>
        <p:sp>
          <p:nvSpPr>
            <p:cNvPr id="43" name="Rectangle 42">
              <a:extLst>
                <a:ext uri="{FF2B5EF4-FFF2-40B4-BE49-F238E27FC236}">
                  <a16:creationId xmlns:a16="http://schemas.microsoft.com/office/drawing/2014/main" id="{DCE89A60-3FF8-439A-C19D-377B9730F4E6}"/>
                </a:ext>
              </a:extLst>
            </p:cNvPr>
            <p:cNvSpPr/>
            <p:nvPr/>
          </p:nvSpPr>
          <p:spPr>
            <a:xfrm>
              <a:off x="9166812" y="2890302"/>
              <a:ext cx="1336806" cy="417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F000B"/>
                  </a:solidFill>
                  <a:latin typeface="Calibri" panose="020F0502020204030204" pitchFamily="34" charset="0"/>
                  <a:cs typeface="Calibri" panose="020F0502020204030204" pitchFamily="34" charset="0"/>
                </a:rPr>
                <a:t>48% from other PA counties</a:t>
              </a:r>
            </a:p>
          </p:txBody>
        </p:sp>
        <p:sp>
          <p:nvSpPr>
            <p:cNvPr id="71" name="Rectangle 70">
              <a:extLst>
                <a:ext uri="{FF2B5EF4-FFF2-40B4-BE49-F238E27FC236}">
                  <a16:creationId xmlns:a16="http://schemas.microsoft.com/office/drawing/2014/main" id="{6D5EF4AD-FD17-C550-A5AB-1E22095A9766}"/>
                </a:ext>
              </a:extLst>
            </p:cNvPr>
            <p:cNvSpPr/>
            <p:nvPr/>
          </p:nvSpPr>
          <p:spPr>
            <a:xfrm>
              <a:off x="9986996" y="3415855"/>
              <a:ext cx="1336805" cy="417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rgbClr val="3F000B"/>
                  </a:solidFill>
                  <a:latin typeface="Calibri" panose="020F0502020204030204" pitchFamily="34" charset="0"/>
                  <a:cs typeface="Calibri" panose="020F0502020204030204" pitchFamily="34" charset="0"/>
                </a:rPr>
                <a:t>30% from other states</a:t>
              </a:r>
            </a:p>
          </p:txBody>
        </p:sp>
      </p:grpSp>
      <p:sp>
        <p:nvSpPr>
          <p:cNvPr id="72" name="Rectangle 71">
            <a:extLst>
              <a:ext uri="{FF2B5EF4-FFF2-40B4-BE49-F238E27FC236}">
                <a16:creationId xmlns:a16="http://schemas.microsoft.com/office/drawing/2014/main" id="{0148702A-04C8-F9EF-66E4-96017883D27F}"/>
              </a:ext>
            </a:extLst>
          </p:cNvPr>
          <p:cNvSpPr/>
          <p:nvPr/>
        </p:nvSpPr>
        <p:spPr>
          <a:xfrm>
            <a:off x="8073427" y="1267705"/>
            <a:ext cx="3884222" cy="3957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3F000B"/>
                </a:solidFill>
                <a:latin typeface="Calibri" panose="020F0502020204030204" pitchFamily="34" charset="0"/>
                <a:cs typeface="Calibri" panose="020F0502020204030204" pitchFamily="34" charset="0"/>
              </a:rPr>
              <a:t>~2,000 students</a:t>
            </a:r>
          </a:p>
          <a:p>
            <a:pPr algn="ctr"/>
            <a:r>
              <a:rPr lang="en-US" sz="1600" b="1" dirty="0">
                <a:solidFill>
                  <a:srgbClr val="3F000B"/>
                </a:solidFill>
                <a:latin typeface="Calibri" panose="020F0502020204030204" pitchFamily="34" charset="0"/>
                <a:cs typeface="Calibri" panose="020F0502020204030204" pitchFamily="34" charset="0"/>
              </a:rPr>
              <a:t>49% male / 51% female</a:t>
            </a:r>
          </a:p>
        </p:txBody>
      </p:sp>
      <p:sp>
        <p:nvSpPr>
          <p:cNvPr id="86" name="TextBox 85">
            <a:extLst>
              <a:ext uri="{FF2B5EF4-FFF2-40B4-BE49-F238E27FC236}">
                <a16:creationId xmlns:a16="http://schemas.microsoft.com/office/drawing/2014/main" id="{334CD500-0906-0368-E25A-0974E2E0806A}"/>
              </a:ext>
            </a:extLst>
          </p:cNvPr>
          <p:cNvSpPr txBox="1"/>
          <p:nvPr/>
        </p:nvSpPr>
        <p:spPr>
          <a:xfrm>
            <a:off x="2458194" y="4625812"/>
            <a:ext cx="8840049" cy="1200329"/>
          </a:xfrm>
          <a:prstGeom prst="rect">
            <a:avLst/>
          </a:prstGeom>
          <a:noFill/>
        </p:spPr>
        <p:txBody>
          <a:bodyPr wrap="square" rtlCol="0">
            <a:spAutoFit/>
          </a:bodyPr>
          <a:lstStyle/>
          <a:p>
            <a:r>
              <a:rPr lang="en-US" b="1" i="1" dirty="0">
                <a:solidFill>
                  <a:srgbClr val="FEF0DC"/>
                </a:solidFill>
              </a:rPr>
              <a:t>Each student receives…</a:t>
            </a:r>
          </a:p>
          <a:p>
            <a:pPr marL="285750" indent="-285750">
              <a:buFont typeface="Arial" panose="020B0604020202020204" pitchFamily="34" charset="0"/>
              <a:buChar char="•"/>
            </a:pPr>
            <a:r>
              <a:rPr lang="en-US" dirty="0">
                <a:solidFill>
                  <a:srgbClr val="FEF0DC"/>
                </a:solidFill>
              </a:rPr>
              <a:t>Best in class medical &amp; dental coverage, &amp; psychological &amp; behavioral care</a:t>
            </a:r>
          </a:p>
          <a:p>
            <a:pPr marL="285750" indent="-285750">
              <a:buFont typeface="Arial" panose="020B0604020202020204" pitchFamily="34" charset="0"/>
              <a:buChar char="•"/>
            </a:pPr>
            <a:r>
              <a:rPr lang="en-US" dirty="0">
                <a:solidFill>
                  <a:srgbClr val="FEF0DC"/>
                </a:solidFill>
              </a:rPr>
              <a:t>Food, clothes, shelter, and all transportation costs covered</a:t>
            </a:r>
          </a:p>
          <a:p>
            <a:pPr marL="285750" indent="-285750">
              <a:buFont typeface="Arial" panose="020B0604020202020204" pitchFamily="34" charset="0"/>
              <a:buChar char="•"/>
            </a:pPr>
            <a:r>
              <a:rPr lang="en-US" dirty="0">
                <a:solidFill>
                  <a:srgbClr val="FEF0DC"/>
                </a:solidFill>
              </a:rPr>
              <a:t>All education resources covered</a:t>
            </a:r>
          </a:p>
        </p:txBody>
      </p:sp>
      <p:sp>
        <p:nvSpPr>
          <p:cNvPr id="87" name="Rectangle: Rounded Corners 86">
            <a:extLst>
              <a:ext uri="{FF2B5EF4-FFF2-40B4-BE49-F238E27FC236}">
                <a16:creationId xmlns:a16="http://schemas.microsoft.com/office/drawing/2014/main" id="{C122C785-83DF-440F-CF11-481A059DD924}"/>
              </a:ext>
            </a:extLst>
          </p:cNvPr>
          <p:cNvSpPr/>
          <p:nvPr/>
        </p:nvSpPr>
        <p:spPr>
          <a:xfrm>
            <a:off x="159546" y="4699403"/>
            <a:ext cx="2330157" cy="2158063"/>
          </a:xfrm>
          <a:prstGeom prst="roundRect">
            <a:avLst/>
          </a:prstGeom>
          <a:solidFill>
            <a:srgbClr val="FEF0DC"/>
          </a:solidFill>
          <a:ln>
            <a:solidFill>
              <a:srgbClr val="3F00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3F000B"/>
                </a:solidFill>
                <a:latin typeface="TT Norms Pro" panose="02000503030000020003" pitchFamily="2" charset="0"/>
              </a:rPr>
              <a:t>Whole Child Care Approach</a:t>
            </a:r>
          </a:p>
          <a:p>
            <a:pPr algn="ctr"/>
            <a:endParaRPr lang="en-US" sz="2400" b="1" dirty="0">
              <a:solidFill>
                <a:srgbClr val="3F000B"/>
              </a:solidFill>
              <a:latin typeface="TT Norms Pro" panose="02000503030000020003" pitchFamily="2" charset="0"/>
            </a:endParaRPr>
          </a:p>
          <a:p>
            <a:pPr algn="ctr"/>
            <a:endParaRPr lang="en-US" sz="2400" b="1" dirty="0">
              <a:solidFill>
                <a:srgbClr val="3F000B"/>
              </a:solidFill>
              <a:latin typeface="TT Norms Pro" panose="02000503030000020003" pitchFamily="2" charset="0"/>
            </a:endParaRPr>
          </a:p>
        </p:txBody>
      </p:sp>
      <p:sp>
        <p:nvSpPr>
          <p:cNvPr id="91" name="TextBox 90">
            <a:extLst>
              <a:ext uri="{FF2B5EF4-FFF2-40B4-BE49-F238E27FC236}">
                <a16:creationId xmlns:a16="http://schemas.microsoft.com/office/drawing/2014/main" id="{0E1D1DD1-BB10-209F-15A9-A8DC3CC00424}"/>
              </a:ext>
            </a:extLst>
          </p:cNvPr>
          <p:cNvSpPr txBox="1"/>
          <p:nvPr/>
        </p:nvSpPr>
        <p:spPr>
          <a:xfrm>
            <a:off x="2458194" y="5720334"/>
            <a:ext cx="8840049" cy="1200329"/>
          </a:xfrm>
          <a:prstGeom prst="rect">
            <a:avLst/>
          </a:prstGeom>
          <a:noFill/>
        </p:spPr>
        <p:txBody>
          <a:bodyPr wrap="square" rtlCol="0">
            <a:spAutoFit/>
          </a:bodyPr>
          <a:lstStyle/>
          <a:p>
            <a:r>
              <a:rPr lang="en-US" b="1" i="1" dirty="0">
                <a:solidFill>
                  <a:srgbClr val="FEF0DC"/>
                </a:solidFill>
              </a:rPr>
              <a:t>Each alumni receives…</a:t>
            </a:r>
          </a:p>
          <a:p>
            <a:pPr marL="285750" indent="-285750">
              <a:buFont typeface="Arial" panose="020B0604020202020204" pitchFamily="34" charset="0"/>
              <a:buChar char="•"/>
            </a:pPr>
            <a:r>
              <a:rPr lang="en-US" dirty="0">
                <a:solidFill>
                  <a:srgbClr val="FEF0DC"/>
                </a:solidFill>
              </a:rPr>
              <a:t>College application assistance (for those continuing their education)</a:t>
            </a:r>
          </a:p>
          <a:p>
            <a:pPr marL="285750" indent="-285750">
              <a:buFont typeface="Arial" panose="020B0604020202020204" pitchFamily="34" charset="0"/>
              <a:buChar char="•"/>
            </a:pPr>
            <a:r>
              <a:rPr lang="en-US" dirty="0">
                <a:solidFill>
                  <a:srgbClr val="FEF0DC"/>
                </a:solidFill>
              </a:rPr>
              <a:t>Tuition &amp; room &amp; board coverage at any private college</a:t>
            </a:r>
          </a:p>
          <a:p>
            <a:pPr marL="285750" indent="-285750">
              <a:buFont typeface="Arial" panose="020B0604020202020204" pitchFamily="34" charset="0"/>
              <a:buChar char="•"/>
            </a:pPr>
            <a:r>
              <a:rPr lang="en-US" dirty="0">
                <a:solidFill>
                  <a:srgbClr val="FEF0DC"/>
                </a:solidFill>
              </a:rPr>
              <a:t>1:1 professional support for the working world</a:t>
            </a:r>
          </a:p>
        </p:txBody>
      </p:sp>
      <p:sp>
        <p:nvSpPr>
          <p:cNvPr id="113" name="Rectangle 112">
            <a:extLst>
              <a:ext uri="{FF2B5EF4-FFF2-40B4-BE49-F238E27FC236}">
                <a16:creationId xmlns:a16="http://schemas.microsoft.com/office/drawing/2014/main" id="{4039CA32-F5DB-FB91-4694-30ECCB721C17}"/>
              </a:ext>
            </a:extLst>
          </p:cNvPr>
          <p:cNvSpPr/>
          <p:nvPr/>
        </p:nvSpPr>
        <p:spPr>
          <a:xfrm>
            <a:off x="7839076" y="4230019"/>
            <a:ext cx="4352924" cy="3957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rgbClr val="3F000B"/>
                </a:solidFill>
                <a:latin typeface="Calibri" panose="020F0502020204030204" pitchFamily="34" charset="0"/>
                <a:cs typeface="Calibri" panose="020F0502020204030204" pitchFamily="34" charset="0"/>
              </a:rPr>
              <a:t>~</a:t>
            </a:r>
            <a:r>
              <a:rPr lang="en-US" sz="1600" b="1" u="sng" dirty="0">
                <a:solidFill>
                  <a:srgbClr val="3F000B"/>
                </a:solidFill>
                <a:latin typeface="Calibri" panose="020F0502020204030204" pitchFamily="34" charset="0"/>
                <a:cs typeface="Calibri" panose="020F0502020204030204" pitchFamily="34" charset="0"/>
              </a:rPr>
              <a:t>50% experienced a traumatic childhood event</a:t>
            </a:r>
          </a:p>
        </p:txBody>
      </p:sp>
      <p:pic>
        <p:nvPicPr>
          <p:cNvPr id="7" name="Picture 2" descr="Milton S. Hershey - Wikipedia">
            <a:extLst>
              <a:ext uri="{FF2B5EF4-FFF2-40B4-BE49-F238E27FC236}">
                <a16:creationId xmlns:a16="http://schemas.microsoft.com/office/drawing/2014/main" id="{809734FF-2F9F-0926-DDFD-0F2A9679E0D1}"/>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b="20697"/>
          <a:stretch/>
        </p:blipFill>
        <p:spPr bwMode="auto">
          <a:xfrm>
            <a:off x="10492578" y="4830269"/>
            <a:ext cx="749595" cy="735704"/>
          </a:xfrm>
          <a:prstGeom prst="flowChartConnector">
            <a:avLst/>
          </a:prstGeom>
          <a:noFill/>
          <a:ln w="19050">
            <a:solidFill>
              <a:schemeClr val="bg1">
                <a:lumMod val="50000"/>
              </a:schemeClr>
            </a:solidFill>
          </a:ln>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EEAA9CE-A83A-B08F-4EA3-105FEF22CDA4}"/>
              </a:ext>
            </a:extLst>
          </p:cNvPr>
          <p:cNvSpPr txBox="1"/>
          <p:nvPr/>
        </p:nvSpPr>
        <p:spPr>
          <a:xfrm>
            <a:off x="9702297" y="5629170"/>
            <a:ext cx="2330157" cy="1200329"/>
          </a:xfrm>
          <a:prstGeom prst="rect">
            <a:avLst/>
          </a:prstGeom>
          <a:noFill/>
        </p:spPr>
        <p:txBody>
          <a:bodyPr wrap="square" rtlCol="0">
            <a:spAutoFit/>
          </a:bodyPr>
          <a:lstStyle/>
          <a:p>
            <a:pPr algn="ctr"/>
            <a:r>
              <a:rPr lang="en-US" b="1" dirty="0"/>
              <a:t>Continuing Hershey’s legacy of producing productive members of society </a:t>
            </a:r>
          </a:p>
        </p:txBody>
      </p:sp>
      <p:pic>
        <p:nvPicPr>
          <p:cNvPr id="10" name="Picture 9">
            <a:extLst>
              <a:ext uri="{FF2B5EF4-FFF2-40B4-BE49-F238E27FC236}">
                <a16:creationId xmlns:a16="http://schemas.microsoft.com/office/drawing/2014/main" id="{FFEAFFCE-0F28-3A50-1ECF-F698C05E5BD2}"/>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369945" y="5768048"/>
            <a:ext cx="1909358" cy="815196"/>
          </a:xfrm>
          <a:prstGeom prst="rect">
            <a:avLst/>
          </a:prstGeom>
        </p:spPr>
      </p:pic>
    </p:spTree>
    <p:extLst>
      <p:ext uri="{BB962C8B-B14F-4D97-AF65-F5344CB8AC3E}">
        <p14:creationId xmlns:p14="http://schemas.microsoft.com/office/powerpoint/2010/main" val="1632941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2EC39C54-9427-BC00-7699-806ECB64BA11}"/>
              </a:ext>
            </a:extLst>
          </p:cNvPr>
          <p:cNvGraphicFramePr>
            <a:graphicFrameLocks noChangeAspect="1"/>
          </p:cNvGraphicFramePr>
          <p:nvPr>
            <p:custDataLst>
              <p:tags r:id="rId1"/>
            </p:custDataLst>
            <p:extLst>
              <p:ext uri="{D42A27DB-BD31-4B8C-83A1-F6EECF244321}">
                <p14:modId xmlns:p14="http://schemas.microsoft.com/office/powerpoint/2010/main" val="337204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7" name="Object 26" hidden="1">
                        <a:extLst>
                          <a:ext uri="{FF2B5EF4-FFF2-40B4-BE49-F238E27FC236}">
                            <a16:creationId xmlns:a16="http://schemas.microsoft.com/office/drawing/2014/main" id="{2EC39C54-9427-BC00-7699-806ECB64BA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784D243-FD99-89CE-9998-AAD65E832B81}"/>
              </a:ext>
            </a:extLst>
          </p:cNvPr>
          <p:cNvSpPr/>
          <p:nvPr/>
        </p:nvSpPr>
        <p:spPr>
          <a:xfrm>
            <a:off x="199176" y="6043034"/>
            <a:ext cx="1623020" cy="626729"/>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pic>
        <p:nvPicPr>
          <p:cNvPr id="14" name="Picture 13">
            <a:extLst>
              <a:ext uri="{FF2B5EF4-FFF2-40B4-BE49-F238E27FC236}">
                <a16:creationId xmlns:a16="http://schemas.microsoft.com/office/drawing/2014/main" id="{9B82969F-C584-81EA-97DC-0A5CE4DF892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70936" y="235050"/>
            <a:ext cx="4745508" cy="1757248"/>
          </a:xfrm>
          <a:prstGeom prst="rect">
            <a:avLst/>
          </a:prstGeom>
        </p:spPr>
      </p:pic>
      <p:sp>
        <p:nvSpPr>
          <p:cNvPr id="15" name="Rectangle 14">
            <a:extLst>
              <a:ext uri="{FF2B5EF4-FFF2-40B4-BE49-F238E27FC236}">
                <a16:creationId xmlns:a16="http://schemas.microsoft.com/office/drawing/2014/main" id="{49CA6E67-704D-8F2E-E95C-C20F1E5F6796}"/>
              </a:ext>
            </a:extLst>
          </p:cNvPr>
          <p:cNvSpPr/>
          <p:nvPr/>
        </p:nvSpPr>
        <p:spPr>
          <a:xfrm>
            <a:off x="4101220" y="1647736"/>
            <a:ext cx="606582" cy="172016"/>
          </a:xfrm>
          <a:prstGeom prst="rect">
            <a:avLst/>
          </a:prstGeom>
          <a:solidFill>
            <a:srgbClr val="9F2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pic>
        <p:nvPicPr>
          <p:cNvPr id="17" name="Picture 16">
            <a:extLst>
              <a:ext uri="{FF2B5EF4-FFF2-40B4-BE49-F238E27FC236}">
                <a16:creationId xmlns:a16="http://schemas.microsoft.com/office/drawing/2014/main" id="{284E02D2-54EC-4CB9-E5D5-5CCE7F8705AA}"/>
              </a:ext>
            </a:extLst>
          </p:cNvPr>
          <p:cNvPicPr>
            <a:picLocks noChangeAspect="1"/>
          </p:cNvPicPr>
          <p:nvPr/>
        </p:nvPicPr>
        <p:blipFill rotWithShape="1">
          <a:blip r:embed="rId6"/>
          <a:srcRect r="67705"/>
          <a:stretch/>
        </p:blipFill>
        <p:spPr>
          <a:xfrm>
            <a:off x="69125" y="2757120"/>
            <a:ext cx="2350448" cy="3467584"/>
          </a:xfrm>
          <a:prstGeom prst="rect">
            <a:avLst/>
          </a:prstGeom>
        </p:spPr>
      </p:pic>
      <p:pic>
        <p:nvPicPr>
          <p:cNvPr id="18" name="Picture 17">
            <a:extLst>
              <a:ext uri="{FF2B5EF4-FFF2-40B4-BE49-F238E27FC236}">
                <a16:creationId xmlns:a16="http://schemas.microsoft.com/office/drawing/2014/main" id="{BC845C9C-661C-17B4-BAC3-B7797A6DE9CF}"/>
              </a:ext>
            </a:extLst>
          </p:cNvPr>
          <p:cNvPicPr>
            <a:picLocks noChangeAspect="1"/>
          </p:cNvPicPr>
          <p:nvPr/>
        </p:nvPicPr>
        <p:blipFill rotWithShape="1">
          <a:blip r:embed="rId6"/>
          <a:srcRect l="34006" r="33699"/>
          <a:stretch/>
        </p:blipFill>
        <p:spPr>
          <a:xfrm>
            <a:off x="5257105" y="235050"/>
            <a:ext cx="2350448" cy="3467584"/>
          </a:xfrm>
          <a:prstGeom prst="rect">
            <a:avLst/>
          </a:prstGeom>
        </p:spPr>
      </p:pic>
      <p:pic>
        <p:nvPicPr>
          <p:cNvPr id="19" name="Picture 18">
            <a:extLst>
              <a:ext uri="{FF2B5EF4-FFF2-40B4-BE49-F238E27FC236}">
                <a16:creationId xmlns:a16="http://schemas.microsoft.com/office/drawing/2014/main" id="{8259C6E6-B25D-F285-828F-4E41F821C0D6}"/>
              </a:ext>
            </a:extLst>
          </p:cNvPr>
          <p:cNvPicPr>
            <a:picLocks noChangeAspect="1"/>
          </p:cNvPicPr>
          <p:nvPr/>
        </p:nvPicPr>
        <p:blipFill rotWithShape="1">
          <a:blip r:embed="rId6"/>
          <a:srcRect l="66308" t="-676" r="-14816" b="676"/>
          <a:stretch/>
        </p:blipFill>
        <p:spPr>
          <a:xfrm>
            <a:off x="9579000" y="3307755"/>
            <a:ext cx="3530416" cy="3467584"/>
          </a:xfrm>
          <a:prstGeom prst="rect">
            <a:avLst/>
          </a:prstGeom>
        </p:spPr>
      </p:pic>
      <p:pic>
        <p:nvPicPr>
          <p:cNvPr id="21" name="Picture 20">
            <a:extLst>
              <a:ext uri="{FF2B5EF4-FFF2-40B4-BE49-F238E27FC236}">
                <a16:creationId xmlns:a16="http://schemas.microsoft.com/office/drawing/2014/main" id="{BD472A06-BE95-B995-059E-613E34002A8B}"/>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2693196" y="4160106"/>
            <a:ext cx="6014804" cy="2567654"/>
          </a:xfrm>
          <a:prstGeom prst="rect">
            <a:avLst/>
          </a:prstGeom>
        </p:spPr>
      </p:pic>
      <p:sp>
        <p:nvSpPr>
          <p:cNvPr id="22" name="Rectangle 21">
            <a:extLst>
              <a:ext uri="{FF2B5EF4-FFF2-40B4-BE49-F238E27FC236}">
                <a16:creationId xmlns:a16="http://schemas.microsoft.com/office/drawing/2014/main" id="{6370F110-EBC2-CEB3-41D5-596280FFDA05}"/>
              </a:ext>
            </a:extLst>
          </p:cNvPr>
          <p:cNvSpPr/>
          <p:nvPr/>
        </p:nvSpPr>
        <p:spPr>
          <a:xfrm>
            <a:off x="5839485" y="4037631"/>
            <a:ext cx="2942376" cy="398571"/>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23" name="Rectangle 22">
            <a:extLst>
              <a:ext uri="{FF2B5EF4-FFF2-40B4-BE49-F238E27FC236}">
                <a16:creationId xmlns:a16="http://schemas.microsoft.com/office/drawing/2014/main" id="{455C3EDA-1784-5F8B-7D82-CB995FA15BEC}"/>
              </a:ext>
            </a:extLst>
          </p:cNvPr>
          <p:cNvSpPr/>
          <p:nvPr/>
        </p:nvSpPr>
        <p:spPr>
          <a:xfrm>
            <a:off x="4816444" y="6070799"/>
            <a:ext cx="606582" cy="172016"/>
          </a:xfrm>
          <a:prstGeom prst="rect">
            <a:avLst/>
          </a:prstGeom>
          <a:solidFill>
            <a:srgbClr val="9F2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pic>
        <p:nvPicPr>
          <p:cNvPr id="25" name="Picture 24">
            <a:extLst>
              <a:ext uri="{FF2B5EF4-FFF2-40B4-BE49-F238E27FC236}">
                <a16:creationId xmlns:a16="http://schemas.microsoft.com/office/drawing/2014/main" id="{876024FD-5EF5-ED23-CBA7-9531FA13B7DB}"/>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8342768" y="235050"/>
            <a:ext cx="3677978" cy="2697918"/>
          </a:xfrm>
          <a:prstGeom prst="rect">
            <a:avLst/>
          </a:prstGeom>
        </p:spPr>
      </p:pic>
      <p:sp>
        <p:nvSpPr>
          <p:cNvPr id="29" name="Rectangle 28">
            <a:extLst>
              <a:ext uri="{FF2B5EF4-FFF2-40B4-BE49-F238E27FC236}">
                <a16:creationId xmlns:a16="http://schemas.microsoft.com/office/drawing/2014/main" id="{504D7651-459E-7F5E-4BDB-F8367EA87CCC}"/>
              </a:ext>
            </a:extLst>
          </p:cNvPr>
          <p:cNvSpPr/>
          <p:nvPr/>
        </p:nvSpPr>
        <p:spPr>
          <a:xfrm>
            <a:off x="11242519" y="2726320"/>
            <a:ext cx="606582" cy="172016"/>
          </a:xfrm>
          <a:prstGeom prst="rect">
            <a:avLst/>
          </a:prstGeom>
          <a:solidFill>
            <a:srgbClr val="9F2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44" name="Rectangle 43">
            <a:extLst>
              <a:ext uri="{FF2B5EF4-FFF2-40B4-BE49-F238E27FC236}">
                <a16:creationId xmlns:a16="http://schemas.microsoft.com/office/drawing/2014/main" id="{9067A477-767D-8644-C9EE-7BD36BDF1E44}"/>
              </a:ext>
            </a:extLst>
          </p:cNvPr>
          <p:cNvSpPr/>
          <p:nvPr/>
        </p:nvSpPr>
        <p:spPr>
          <a:xfrm>
            <a:off x="3376613" y="746115"/>
            <a:ext cx="862012" cy="13260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42" name="TextBox 41">
            <a:extLst>
              <a:ext uri="{FF2B5EF4-FFF2-40B4-BE49-F238E27FC236}">
                <a16:creationId xmlns:a16="http://schemas.microsoft.com/office/drawing/2014/main" id="{3991CAB5-0622-07BC-7460-D67EA453A789}"/>
              </a:ext>
            </a:extLst>
          </p:cNvPr>
          <p:cNvSpPr txBox="1"/>
          <p:nvPr/>
        </p:nvSpPr>
        <p:spPr>
          <a:xfrm>
            <a:off x="3276231" y="700530"/>
            <a:ext cx="1167345" cy="207749"/>
          </a:xfrm>
          <a:prstGeom prst="rect">
            <a:avLst/>
          </a:prstGeom>
          <a:noFill/>
        </p:spPr>
        <p:txBody>
          <a:bodyPr wrap="square" rtlCol="0">
            <a:spAutoFit/>
          </a:bodyPr>
          <a:lstStyle/>
          <a:p>
            <a:r>
              <a:rPr lang="en-US" sz="750" b="1" u="sng" dirty="0">
                <a:solidFill>
                  <a:srgbClr val="00B050"/>
                </a:solidFill>
              </a:rPr>
              <a:t>MORE OPPORTUNTIES</a:t>
            </a:r>
          </a:p>
        </p:txBody>
      </p:sp>
      <p:sp>
        <p:nvSpPr>
          <p:cNvPr id="46" name="Rectangle 45">
            <a:extLst>
              <a:ext uri="{FF2B5EF4-FFF2-40B4-BE49-F238E27FC236}">
                <a16:creationId xmlns:a16="http://schemas.microsoft.com/office/drawing/2014/main" id="{A0C1AFE0-4FA4-29BC-6360-0E8044252906}"/>
              </a:ext>
            </a:extLst>
          </p:cNvPr>
          <p:cNvSpPr/>
          <p:nvPr/>
        </p:nvSpPr>
        <p:spPr>
          <a:xfrm>
            <a:off x="100382" y="4958798"/>
            <a:ext cx="1263248" cy="133902"/>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47" name="TextBox 46">
            <a:extLst>
              <a:ext uri="{FF2B5EF4-FFF2-40B4-BE49-F238E27FC236}">
                <a16:creationId xmlns:a16="http://schemas.microsoft.com/office/drawing/2014/main" id="{A0EBB575-DF4B-583D-39D7-B5EC80450ADE}"/>
              </a:ext>
            </a:extLst>
          </p:cNvPr>
          <p:cNvSpPr txBox="1"/>
          <p:nvPr/>
        </p:nvSpPr>
        <p:spPr>
          <a:xfrm>
            <a:off x="47626" y="4921227"/>
            <a:ext cx="1354104" cy="207749"/>
          </a:xfrm>
          <a:prstGeom prst="rect">
            <a:avLst/>
          </a:prstGeom>
          <a:noFill/>
        </p:spPr>
        <p:txBody>
          <a:bodyPr wrap="square" rtlCol="0">
            <a:spAutoFit/>
          </a:bodyPr>
          <a:lstStyle/>
          <a:p>
            <a:r>
              <a:rPr lang="en-US" sz="750" b="1" u="sng" dirty="0">
                <a:solidFill>
                  <a:srgbClr val="00B050"/>
                </a:solidFill>
              </a:rPr>
              <a:t>MEMBER OF A COMMUNITY</a:t>
            </a:r>
          </a:p>
        </p:txBody>
      </p:sp>
      <p:sp>
        <p:nvSpPr>
          <p:cNvPr id="48" name="Rectangle 47">
            <a:extLst>
              <a:ext uri="{FF2B5EF4-FFF2-40B4-BE49-F238E27FC236}">
                <a16:creationId xmlns:a16="http://schemas.microsoft.com/office/drawing/2014/main" id="{F4A12FC9-2FE0-9E9F-3E9A-5B890E725EDE}"/>
              </a:ext>
            </a:extLst>
          </p:cNvPr>
          <p:cNvSpPr/>
          <p:nvPr/>
        </p:nvSpPr>
        <p:spPr>
          <a:xfrm>
            <a:off x="1548182" y="4797735"/>
            <a:ext cx="704481" cy="13260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49" name="TextBox 48">
            <a:extLst>
              <a:ext uri="{FF2B5EF4-FFF2-40B4-BE49-F238E27FC236}">
                <a16:creationId xmlns:a16="http://schemas.microsoft.com/office/drawing/2014/main" id="{ADE5A9EC-EEAF-D0EB-6B34-C72C44693765}"/>
              </a:ext>
            </a:extLst>
          </p:cNvPr>
          <p:cNvSpPr txBox="1"/>
          <p:nvPr/>
        </p:nvSpPr>
        <p:spPr>
          <a:xfrm>
            <a:off x="1474845" y="4760164"/>
            <a:ext cx="1167345" cy="207749"/>
          </a:xfrm>
          <a:prstGeom prst="rect">
            <a:avLst/>
          </a:prstGeom>
          <a:noFill/>
        </p:spPr>
        <p:txBody>
          <a:bodyPr wrap="square" rtlCol="0">
            <a:spAutoFit/>
          </a:bodyPr>
          <a:lstStyle/>
          <a:p>
            <a:r>
              <a:rPr lang="en-US" sz="750" b="1" u="sng" dirty="0">
                <a:solidFill>
                  <a:srgbClr val="00B050"/>
                </a:solidFill>
              </a:rPr>
              <a:t>PRODUCTIVE</a:t>
            </a:r>
          </a:p>
        </p:txBody>
      </p:sp>
      <p:sp>
        <p:nvSpPr>
          <p:cNvPr id="50" name="Rectangle 49">
            <a:extLst>
              <a:ext uri="{FF2B5EF4-FFF2-40B4-BE49-F238E27FC236}">
                <a16:creationId xmlns:a16="http://schemas.microsoft.com/office/drawing/2014/main" id="{19091597-08EF-257A-3481-F34E1DE3D796}"/>
              </a:ext>
            </a:extLst>
          </p:cNvPr>
          <p:cNvSpPr/>
          <p:nvPr/>
        </p:nvSpPr>
        <p:spPr>
          <a:xfrm>
            <a:off x="4300908" y="5280891"/>
            <a:ext cx="754352" cy="172016"/>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51" name="TextBox 50">
            <a:extLst>
              <a:ext uri="{FF2B5EF4-FFF2-40B4-BE49-F238E27FC236}">
                <a16:creationId xmlns:a16="http://schemas.microsoft.com/office/drawing/2014/main" id="{74A0F897-B734-CC56-72ED-E4D68F2D5635}"/>
              </a:ext>
            </a:extLst>
          </p:cNvPr>
          <p:cNvSpPr txBox="1"/>
          <p:nvPr/>
        </p:nvSpPr>
        <p:spPr>
          <a:xfrm>
            <a:off x="4213352" y="5254684"/>
            <a:ext cx="1354104" cy="207749"/>
          </a:xfrm>
          <a:prstGeom prst="rect">
            <a:avLst/>
          </a:prstGeom>
          <a:noFill/>
        </p:spPr>
        <p:txBody>
          <a:bodyPr wrap="square" rtlCol="0">
            <a:spAutoFit/>
          </a:bodyPr>
          <a:lstStyle/>
          <a:p>
            <a:r>
              <a:rPr lang="en-US" sz="750" b="1" u="sng" dirty="0">
                <a:solidFill>
                  <a:srgbClr val="00B050"/>
                </a:solidFill>
              </a:rPr>
              <a:t>BRIGHTER FUTURE</a:t>
            </a:r>
          </a:p>
        </p:txBody>
      </p:sp>
      <p:sp>
        <p:nvSpPr>
          <p:cNvPr id="55" name="Rectangle 54">
            <a:extLst>
              <a:ext uri="{FF2B5EF4-FFF2-40B4-BE49-F238E27FC236}">
                <a16:creationId xmlns:a16="http://schemas.microsoft.com/office/drawing/2014/main" id="{6D1080F8-AF4D-D137-7DB2-F9CDF3F22587}"/>
              </a:ext>
            </a:extLst>
          </p:cNvPr>
          <p:cNvSpPr/>
          <p:nvPr/>
        </p:nvSpPr>
        <p:spPr>
          <a:xfrm>
            <a:off x="11107517" y="1662274"/>
            <a:ext cx="500283" cy="13260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56" name="TextBox 55">
            <a:extLst>
              <a:ext uri="{FF2B5EF4-FFF2-40B4-BE49-F238E27FC236}">
                <a16:creationId xmlns:a16="http://schemas.microsoft.com/office/drawing/2014/main" id="{C405D416-DEE9-41D0-3C4B-A60A09366184}"/>
              </a:ext>
            </a:extLst>
          </p:cNvPr>
          <p:cNvSpPr txBox="1"/>
          <p:nvPr/>
        </p:nvSpPr>
        <p:spPr>
          <a:xfrm>
            <a:off x="11008252" y="1627878"/>
            <a:ext cx="1167345" cy="207749"/>
          </a:xfrm>
          <a:prstGeom prst="rect">
            <a:avLst/>
          </a:prstGeom>
          <a:noFill/>
        </p:spPr>
        <p:txBody>
          <a:bodyPr wrap="square" rtlCol="0">
            <a:spAutoFit/>
          </a:bodyPr>
          <a:lstStyle/>
          <a:p>
            <a:r>
              <a:rPr lang="en-US" sz="730" b="1" u="sng" dirty="0">
                <a:solidFill>
                  <a:srgbClr val="00B050"/>
                </a:solidFill>
              </a:rPr>
              <a:t>BEST FOR ME</a:t>
            </a:r>
          </a:p>
        </p:txBody>
      </p:sp>
      <p:sp>
        <p:nvSpPr>
          <p:cNvPr id="59" name="Rectangle 58">
            <a:extLst>
              <a:ext uri="{FF2B5EF4-FFF2-40B4-BE49-F238E27FC236}">
                <a16:creationId xmlns:a16="http://schemas.microsoft.com/office/drawing/2014/main" id="{0BCBB8DF-079B-DD08-EB90-49D77F0FAF73}"/>
              </a:ext>
            </a:extLst>
          </p:cNvPr>
          <p:cNvSpPr/>
          <p:nvPr/>
        </p:nvSpPr>
        <p:spPr>
          <a:xfrm>
            <a:off x="11295668" y="5393577"/>
            <a:ext cx="500283" cy="13260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60" name="TextBox 59">
            <a:extLst>
              <a:ext uri="{FF2B5EF4-FFF2-40B4-BE49-F238E27FC236}">
                <a16:creationId xmlns:a16="http://schemas.microsoft.com/office/drawing/2014/main" id="{8AA98BE3-4EF6-00A7-5E55-54CE957CA462}"/>
              </a:ext>
            </a:extLst>
          </p:cNvPr>
          <p:cNvSpPr txBox="1"/>
          <p:nvPr/>
        </p:nvSpPr>
        <p:spPr>
          <a:xfrm>
            <a:off x="11212278" y="5351244"/>
            <a:ext cx="1167345" cy="207749"/>
          </a:xfrm>
          <a:prstGeom prst="rect">
            <a:avLst/>
          </a:prstGeom>
          <a:noFill/>
        </p:spPr>
        <p:txBody>
          <a:bodyPr wrap="square" rtlCol="0">
            <a:spAutoFit/>
          </a:bodyPr>
          <a:lstStyle/>
          <a:p>
            <a:r>
              <a:rPr lang="en-US" sz="730" b="1" u="sng" dirty="0">
                <a:solidFill>
                  <a:srgbClr val="00B050"/>
                </a:solidFill>
              </a:rPr>
              <a:t>GROW AS A</a:t>
            </a:r>
          </a:p>
        </p:txBody>
      </p:sp>
      <p:sp>
        <p:nvSpPr>
          <p:cNvPr id="61" name="Rectangle 60">
            <a:extLst>
              <a:ext uri="{FF2B5EF4-FFF2-40B4-BE49-F238E27FC236}">
                <a16:creationId xmlns:a16="http://schemas.microsoft.com/office/drawing/2014/main" id="{652E3D29-D2C4-DE31-5AE8-67276287040B}"/>
              </a:ext>
            </a:extLst>
          </p:cNvPr>
          <p:cNvSpPr/>
          <p:nvPr/>
        </p:nvSpPr>
        <p:spPr>
          <a:xfrm>
            <a:off x="9579000" y="5553120"/>
            <a:ext cx="500283" cy="13260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62" name="TextBox 61">
            <a:extLst>
              <a:ext uri="{FF2B5EF4-FFF2-40B4-BE49-F238E27FC236}">
                <a16:creationId xmlns:a16="http://schemas.microsoft.com/office/drawing/2014/main" id="{FD396079-9481-1CD7-674D-8DFAD1968EC3}"/>
              </a:ext>
            </a:extLst>
          </p:cNvPr>
          <p:cNvSpPr txBox="1"/>
          <p:nvPr/>
        </p:nvSpPr>
        <p:spPr>
          <a:xfrm>
            <a:off x="9646864" y="5514280"/>
            <a:ext cx="1167345" cy="207749"/>
          </a:xfrm>
          <a:prstGeom prst="rect">
            <a:avLst/>
          </a:prstGeom>
          <a:noFill/>
        </p:spPr>
        <p:txBody>
          <a:bodyPr wrap="square" rtlCol="0">
            <a:spAutoFit/>
          </a:bodyPr>
          <a:lstStyle/>
          <a:p>
            <a:r>
              <a:rPr lang="en-US" sz="730" b="1" u="sng" dirty="0">
                <a:solidFill>
                  <a:srgbClr val="00B050"/>
                </a:solidFill>
              </a:rPr>
              <a:t>PERSON</a:t>
            </a:r>
          </a:p>
        </p:txBody>
      </p:sp>
      <p:sp>
        <p:nvSpPr>
          <p:cNvPr id="63" name="Rectangle 62">
            <a:extLst>
              <a:ext uri="{FF2B5EF4-FFF2-40B4-BE49-F238E27FC236}">
                <a16:creationId xmlns:a16="http://schemas.microsoft.com/office/drawing/2014/main" id="{E4A3433C-F448-E4F5-3286-9256B46B37F6}"/>
              </a:ext>
            </a:extLst>
          </p:cNvPr>
          <p:cNvSpPr/>
          <p:nvPr/>
        </p:nvSpPr>
        <p:spPr>
          <a:xfrm>
            <a:off x="6734177" y="2437071"/>
            <a:ext cx="690220" cy="13260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65" name="Rectangle 64">
            <a:extLst>
              <a:ext uri="{FF2B5EF4-FFF2-40B4-BE49-F238E27FC236}">
                <a16:creationId xmlns:a16="http://schemas.microsoft.com/office/drawing/2014/main" id="{1157DE6E-75D3-E9BE-37B0-6210ADC2B4E4}"/>
              </a:ext>
            </a:extLst>
          </p:cNvPr>
          <p:cNvSpPr/>
          <p:nvPr/>
        </p:nvSpPr>
        <p:spPr>
          <a:xfrm>
            <a:off x="5188744" y="2604395"/>
            <a:ext cx="2023862" cy="132608"/>
          </a:xfrm>
          <a:prstGeom prst="rect">
            <a:avLst/>
          </a:prstGeom>
          <a:solidFill>
            <a:srgbClr val="FEF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err="1">
              <a:solidFill>
                <a:schemeClr val="accent5"/>
              </a:solidFill>
              <a:latin typeface="TT Norms Pro" panose="02000503030000020003" pitchFamily="2" charset="0"/>
            </a:endParaRPr>
          </a:p>
        </p:txBody>
      </p:sp>
      <p:sp>
        <p:nvSpPr>
          <p:cNvPr id="66" name="TextBox 65">
            <a:extLst>
              <a:ext uri="{FF2B5EF4-FFF2-40B4-BE49-F238E27FC236}">
                <a16:creationId xmlns:a16="http://schemas.microsoft.com/office/drawing/2014/main" id="{1B9CBF09-8F88-0F90-5F08-CEBB966EB43E}"/>
              </a:ext>
            </a:extLst>
          </p:cNvPr>
          <p:cNvSpPr txBox="1"/>
          <p:nvPr/>
        </p:nvSpPr>
        <p:spPr>
          <a:xfrm>
            <a:off x="6639147" y="2402355"/>
            <a:ext cx="1167345" cy="207749"/>
          </a:xfrm>
          <a:prstGeom prst="rect">
            <a:avLst/>
          </a:prstGeom>
          <a:noFill/>
        </p:spPr>
        <p:txBody>
          <a:bodyPr wrap="square" rtlCol="0">
            <a:spAutoFit/>
          </a:bodyPr>
          <a:lstStyle/>
          <a:p>
            <a:r>
              <a:rPr lang="en-US" sz="750" b="1" u="sng" dirty="0">
                <a:solidFill>
                  <a:srgbClr val="00B050"/>
                </a:solidFill>
              </a:rPr>
              <a:t>FOR ME TO BE</a:t>
            </a:r>
          </a:p>
        </p:txBody>
      </p:sp>
      <p:sp>
        <p:nvSpPr>
          <p:cNvPr id="67" name="TextBox 66">
            <a:extLst>
              <a:ext uri="{FF2B5EF4-FFF2-40B4-BE49-F238E27FC236}">
                <a16:creationId xmlns:a16="http://schemas.microsoft.com/office/drawing/2014/main" id="{891E290F-5EB8-34ED-AE15-6621AF9B69C7}"/>
              </a:ext>
            </a:extLst>
          </p:cNvPr>
          <p:cNvSpPr txBox="1"/>
          <p:nvPr/>
        </p:nvSpPr>
        <p:spPr>
          <a:xfrm>
            <a:off x="5254302" y="2566667"/>
            <a:ext cx="2097449" cy="207749"/>
          </a:xfrm>
          <a:prstGeom prst="rect">
            <a:avLst/>
          </a:prstGeom>
          <a:noFill/>
        </p:spPr>
        <p:txBody>
          <a:bodyPr wrap="square" rtlCol="0">
            <a:spAutoFit/>
          </a:bodyPr>
          <a:lstStyle/>
          <a:p>
            <a:r>
              <a:rPr lang="en-US" sz="750" b="1" u="sng" dirty="0">
                <a:solidFill>
                  <a:srgbClr val="00B050"/>
                </a:solidFill>
              </a:rPr>
              <a:t>SUCCESSFUL, I NEEDED TO TAKE ADVANTAGE</a:t>
            </a:r>
          </a:p>
        </p:txBody>
      </p:sp>
      <p:pic>
        <p:nvPicPr>
          <p:cNvPr id="69" name="Picture 68">
            <a:extLst>
              <a:ext uri="{FF2B5EF4-FFF2-40B4-BE49-F238E27FC236}">
                <a16:creationId xmlns:a16="http://schemas.microsoft.com/office/drawing/2014/main" id="{C46112AC-1314-D4E2-FBAA-37C06B4A501B}"/>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7674151" y="3393336"/>
            <a:ext cx="1909358" cy="815196"/>
          </a:xfrm>
          <a:prstGeom prst="rect">
            <a:avLst/>
          </a:prstGeom>
        </p:spPr>
      </p:pic>
      <p:grpSp>
        <p:nvGrpSpPr>
          <p:cNvPr id="77" name="Group 76">
            <a:extLst>
              <a:ext uri="{FF2B5EF4-FFF2-40B4-BE49-F238E27FC236}">
                <a16:creationId xmlns:a16="http://schemas.microsoft.com/office/drawing/2014/main" id="{8FDA2225-B5FA-D9BB-1534-418EB6FB55AA}"/>
              </a:ext>
            </a:extLst>
          </p:cNvPr>
          <p:cNvGrpSpPr/>
          <p:nvPr/>
        </p:nvGrpSpPr>
        <p:grpSpPr>
          <a:xfrm>
            <a:off x="2608491" y="2492379"/>
            <a:ext cx="2334263" cy="830997"/>
            <a:chOff x="2467025" y="2861996"/>
            <a:chExt cx="2334263" cy="830997"/>
          </a:xfrm>
        </p:grpSpPr>
        <p:sp>
          <p:nvSpPr>
            <p:cNvPr id="70" name="TextBox 69">
              <a:extLst>
                <a:ext uri="{FF2B5EF4-FFF2-40B4-BE49-F238E27FC236}">
                  <a16:creationId xmlns:a16="http://schemas.microsoft.com/office/drawing/2014/main" id="{979F008D-1A8C-2C87-B122-4ECBF498BA8B}"/>
                </a:ext>
              </a:extLst>
            </p:cNvPr>
            <p:cNvSpPr txBox="1"/>
            <p:nvPr/>
          </p:nvSpPr>
          <p:spPr>
            <a:xfrm>
              <a:off x="2467025" y="2861996"/>
              <a:ext cx="2334263" cy="830997"/>
            </a:xfrm>
            <a:prstGeom prst="rect">
              <a:avLst/>
            </a:prstGeom>
            <a:noFill/>
          </p:spPr>
          <p:txBody>
            <a:bodyPr wrap="square" rtlCol="0">
              <a:spAutoFit/>
            </a:bodyPr>
            <a:lstStyle/>
            <a:p>
              <a:r>
                <a:rPr lang="en-US" sz="2400" dirty="0">
                  <a:latin typeface="Britannic Bold" panose="020B0903060703020204" pitchFamily="34" charset="0"/>
                </a:rPr>
                <a:t>DOING WELL BY DOING GOOD</a:t>
              </a:r>
            </a:p>
          </p:txBody>
        </p:sp>
        <p:pic>
          <p:nvPicPr>
            <p:cNvPr id="73" name="Picture 72">
              <a:extLst>
                <a:ext uri="{FF2B5EF4-FFF2-40B4-BE49-F238E27FC236}">
                  <a16:creationId xmlns:a16="http://schemas.microsoft.com/office/drawing/2014/main" id="{39ED8723-0C40-7A5F-1D61-C5E6A11DC25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355036" y="3229992"/>
              <a:ext cx="273366" cy="337419"/>
            </a:xfrm>
            <a:prstGeom prst="rect">
              <a:avLst/>
            </a:prstGeom>
          </p:spPr>
        </p:pic>
      </p:grpSp>
    </p:spTree>
    <p:extLst>
      <p:ext uri="{BB962C8B-B14F-4D97-AF65-F5344CB8AC3E}">
        <p14:creationId xmlns:p14="http://schemas.microsoft.com/office/powerpoint/2010/main" val="1572260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Hershey">
      <a:dk1>
        <a:srgbClr val="000000"/>
      </a:dk1>
      <a:lt1>
        <a:srgbClr val="FFFFFF"/>
      </a:lt1>
      <a:dk2>
        <a:srgbClr val="3F000B"/>
      </a:dk2>
      <a:lt2>
        <a:srgbClr val="808080"/>
      </a:lt2>
      <a:accent1>
        <a:srgbClr val="00A8E1"/>
      </a:accent1>
      <a:accent2>
        <a:srgbClr val="8EC03F"/>
      </a:accent2>
      <a:accent3>
        <a:srgbClr val="B00060"/>
      </a:accent3>
      <a:accent4>
        <a:srgbClr val="FFC627"/>
      </a:accent4>
      <a:accent5>
        <a:srgbClr val="003594"/>
      </a:accent5>
      <a:accent6>
        <a:srgbClr val="EE7700"/>
      </a:accent6>
      <a:hlink>
        <a:srgbClr val="FCD7A7"/>
      </a:hlink>
      <a:folHlink>
        <a:srgbClr val="8B7B4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E2E2E2"/>
        </a:solidFill>
        <a:ln w="9525" algn="ctr">
          <a:solidFill>
            <a:srgbClr val="E2E2E2"/>
          </a:solidFill>
          <a:miter lim="800000"/>
          <a:headEnd type="none" w="lg" len="lg"/>
          <a:tailEnd type="none" w="lg" len="lg"/>
        </a:ln>
        <a:effectLst/>
      </a:spPr>
      <a:bodyPr wrap="square" tIns="91440" bIns="91440" rtlCol="0" anchor="ctr" anchorCtr="0">
        <a:noAutofit/>
      </a:bodyPr>
      <a:lstStyle>
        <a:defPPr algn="ctr">
          <a:defRPr sz="1400" dirty="0" err="1" smtClean="0"/>
        </a:defPPr>
      </a:lstStyle>
    </a:spDef>
    <a:lnDef>
      <a:spPr>
        <a:ln>
          <a:solidFill>
            <a:srgbClr val="8B8D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tIns="90000" bIns="90000" rtlCol="0" anchor="t">
        <a:spAutoFit/>
      </a:bodyPr>
      <a:lstStyle>
        <a:defPPr algn="ctr">
          <a:defRPr sz="1400" smtClean="0"/>
        </a:defPPr>
      </a:lstStyle>
    </a:txDef>
  </a:objectDefaults>
  <a:extraClrSchemeLst/>
</a:theme>
</file>

<file path=ppt/theme/theme2.xml><?xml version="1.0" encoding="utf-8"?>
<a:theme xmlns:a="http://schemas.openxmlformats.org/drawingml/2006/main" name="HersheyTheme2016">
  <a:themeElements>
    <a:clrScheme name="HersheyCompanyVIS">
      <a:dk1>
        <a:sysClr val="windowText" lastClr="000000"/>
      </a:dk1>
      <a:lt1>
        <a:sysClr val="window" lastClr="FFFFFF"/>
      </a:lt1>
      <a:dk2>
        <a:srgbClr val="3F000B"/>
      </a:dk2>
      <a:lt2>
        <a:srgbClr val="8B8D8D"/>
      </a:lt2>
      <a:accent1>
        <a:srgbClr val="00A8E1"/>
      </a:accent1>
      <a:accent2>
        <a:srgbClr val="8EC03F"/>
      </a:accent2>
      <a:accent3>
        <a:srgbClr val="EB0029"/>
      </a:accent3>
      <a:accent4>
        <a:srgbClr val="FFC627"/>
      </a:accent4>
      <a:accent5>
        <a:srgbClr val="003594"/>
      </a:accent5>
      <a:accent6>
        <a:srgbClr val="B00060"/>
      </a:accent6>
      <a:hlink>
        <a:srgbClr val="00A8E1"/>
      </a:hlink>
      <a:folHlink>
        <a:srgbClr val="B000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ersheyTheme2016" id="{AFC419CF-A87F-4C26-9281-628C877159A0}" vid="{F928E8AB-F1D3-437B-9A82-D0ED6FAEBFDE}"/>
    </a:ext>
  </a:extLst>
</a:theme>
</file>

<file path=ppt/theme/theme3.xml><?xml version="1.0" encoding="utf-8"?>
<a:theme xmlns:a="http://schemas.openxmlformats.org/drawingml/2006/main" name="1_Corporate VIS">
  <a:themeElements>
    <a:clrScheme name="Custom 31">
      <a:dk1>
        <a:srgbClr val="3F000B"/>
      </a:dk1>
      <a:lt1>
        <a:srgbClr val="FEF0DC"/>
      </a:lt1>
      <a:dk2>
        <a:srgbClr val="00ABE4"/>
      </a:dk2>
      <a:lt2>
        <a:srgbClr val="7D4E9F"/>
      </a:lt2>
      <a:accent1>
        <a:srgbClr val="00B7A8"/>
      </a:accent1>
      <a:accent2>
        <a:srgbClr val="8BC753"/>
      </a:accent2>
      <a:accent3>
        <a:srgbClr val="FFD79A"/>
      </a:accent3>
      <a:accent4>
        <a:srgbClr val="A7A9AC"/>
      </a:accent4>
      <a:accent5>
        <a:srgbClr val="FFFFFF"/>
      </a:accent5>
      <a:accent6>
        <a:srgbClr val="F26726"/>
      </a:accent6>
      <a:hlink>
        <a:srgbClr val="FFF200"/>
      </a:hlink>
      <a:folHlink>
        <a:srgbClr val="EE3134"/>
      </a:folHlink>
    </a:clrScheme>
    <a:fontScheme name="Custom 8">
      <a:majorFont>
        <a:latin typeface="Gazpacho Bold"/>
        <a:ea typeface=""/>
        <a:cs typeface=""/>
      </a:majorFont>
      <a:minorFont>
        <a:latin typeface="TT Norm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sz="2400" dirty="0" err="1" smtClean="0">
            <a:solidFill>
              <a:schemeClr val="accent5"/>
            </a:solidFill>
            <a:latin typeface="TT Norms Pro" panose="02000503030000020003"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extLst>
    <a:ext uri="{05A4C25C-085E-4340-85A3-A5531E510DB2}">
      <thm15:themeFamily xmlns:thm15="http://schemas.microsoft.com/office/thememl/2012/main" name="HSY_2023_PPT_Enterprise-Template_v01" id="{67D52F5A-9B49-CB42-8C40-5B6EE06B1C67}" vid="{6165B736-354C-E74A-991C-B64A2DE0C09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f7e0eb3-82ff-4d89-a764-69908ee86b30">
      <Terms xmlns="http://schemas.microsoft.com/office/infopath/2007/PartnerControls"/>
    </lcf76f155ced4ddcb4097134ff3c332f>
    <TaxCatchAll xmlns="9ba59fc9-06e4-4808-8bb8-71631fc1608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12CBC337995340923694E12A8927A0" ma:contentTypeVersion="" ma:contentTypeDescription="Create a new document." ma:contentTypeScope="" ma:versionID="e954796bd42cc6545e5ac1134d78ca86">
  <xsd:schema xmlns:xsd="http://www.w3.org/2001/XMLSchema" xmlns:xs="http://www.w3.org/2001/XMLSchema" xmlns:p="http://schemas.microsoft.com/office/2006/metadata/properties" xmlns:ns2="bf7e0eb3-82ff-4d89-a764-69908ee86b30" xmlns:ns3="9ba59fc9-06e4-4808-8bb8-71631fc16085" targetNamespace="http://schemas.microsoft.com/office/2006/metadata/properties" ma:root="true" ma:fieldsID="847df1d926a1e98e1fb59f2d888caefa" ns2:_="" ns3:_="">
    <xsd:import namespace="bf7e0eb3-82ff-4d89-a764-69908ee86b30"/>
    <xsd:import namespace="9ba59fc9-06e4-4808-8bb8-71631fc1608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EventHashCode" minOccurs="0"/>
                <xsd:element ref="ns2:MediaServiceGenerationTime"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7e0eb3-82ff-4d89-a764-69908ee86b3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88f3527-dc42-478e-97c7-ca7d7f338c0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ba59fc9-06e4-4808-8bb8-71631fc1608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da735fb-4297-433c-9cf4-17b7df1feca8}" ma:internalName="TaxCatchAll" ma:showField="CatchAllData" ma:web="9ba59fc9-06e4-4808-8bb8-71631fc160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Application xmlns="http://www.sap.com/cof/powerpoint/application">
  <Version>2</Version>
  <Revision>2.8.1401.98825</Revision>
</Application>
</file>

<file path=customXml/itemProps1.xml><?xml version="1.0" encoding="utf-8"?>
<ds:datastoreItem xmlns:ds="http://schemas.openxmlformats.org/officeDocument/2006/customXml" ds:itemID="{F06A5869-BC50-49AF-BCBB-FBD10C693D85}">
  <ds:schemaRefs>
    <ds:schemaRef ds:uri="http://schemas.microsoft.com/sharepoint/v3/contenttype/forms"/>
  </ds:schemaRefs>
</ds:datastoreItem>
</file>

<file path=customXml/itemProps2.xml><?xml version="1.0" encoding="utf-8"?>
<ds:datastoreItem xmlns:ds="http://schemas.openxmlformats.org/officeDocument/2006/customXml" ds:itemID="{D9F692B0-D010-4042-9F48-000C7EF94906}">
  <ds:schemaRefs>
    <ds:schemaRef ds:uri="http://purl.org/dc/elements/1.1/"/>
    <ds:schemaRef ds:uri="http://schemas.microsoft.com/office/2006/documentManagement/types"/>
    <ds:schemaRef ds:uri="http://schemas.microsoft.com/office/infopath/2007/PartnerControls"/>
    <ds:schemaRef ds:uri="d50a2452-c812-4e55-a82b-dcdeaceecd46"/>
    <ds:schemaRef ds:uri="1957b90c-ee87-476a-998a-bb4467ea5351"/>
    <ds:schemaRef ds:uri="http://purl.org/dc/dcmitype/"/>
    <ds:schemaRef ds:uri="http://www.w3.org/XML/1998/namespace"/>
    <ds:schemaRef ds:uri="http://schemas.microsoft.com/office/2006/metadata/properties"/>
    <ds:schemaRef ds:uri="http://purl.org/dc/terms/"/>
    <ds:schemaRef ds:uri="http://schemas.openxmlformats.org/package/2006/metadata/core-properties"/>
    <ds:schemaRef ds:uri="http://schemas.microsoft.com/sharepoint/v3"/>
    <ds:schemaRef ds:uri="bf7e0eb3-82ff-4d89-a764-69908ee86b30"/>
    <ds:schemaRef ds:uri="9ba59fc9-06e4-4808-8bb8-71631fc16085"/>
  </ds:schemaRefs>
</ds:datastoreItem>
</file>

<file path=customXml/itemProps3.xml><?xml version="1.0" encoding="utf-8"?>
<ds:datastoreItem xmlns:ds="http://schemas.openxmlformats.org/officeDocument/2006/customXml" ds:itemID="{1FA89F84-B862-46BD-8754-DDAE875A58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7e0eb3-82ff-4d89-a764-69908ee86b30"/>
    <ds:schemaRef ds:uri="9ba59fc9-06e4-4808-8bb8-71631fc160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9C1FAB7C-82CE-48F5-9B99-B3B7F3B26A0D}">
  <ds:schemaRefs>
    <ds:schemaRef ds:uri="http://www.sap.com/cof/powerpoint/application"/>
  </ds:schemaRefs>
</ds:datastoreItem>
</file>

<file path=docMetadata/LabelInfo.xml><?xml version="1.0" encoding="utf-8"?>
<clbl:labelList xmlns:clbl="http://schemas.microsoft.com/office/2020/mipLabelMetadata">
  <clbl:label id="{ecb9909e-a632-4cc5-be2e-ce284d9ed345}" enabled="1" method="Standard" siteId="{90254b37-ddd6-4784-a73c-67a28484e423}" removed="0"/>
</clbl:labelList>
</file>

<file path=docProps/app.xml><?xml version="1.0" encoding="utf-8"?>
<Properties xmlns="http://schemas.openxmlformats.org/officeDocument/2006/extended-properties" xmlns:vt="http://schemas.openxmlformats.org/officeDocument/2006/docPropsVTypes">
  <TotalTime>1050</TotalTime>
  <Words>950</Words>
  <Application>Microsoft Office PowerPoint</Application>
  <PresentationFormat>Widescreen</PresentationFormat>
  <Paragraphs>146</Paragraphs>
  <Slides>8</Slides>
  <Notes>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9" baseType="lpstr">
      <vt:lpstr>.AppleSystemUIFont</vt:lpstr>
      <vt:lpstr>Arial</vt:lpstr>
      <vt:lpstr>Britannic Bold</vt:lpstr>
      <vt:lpstr>Calibri</vt:lpstr>
      <vt:lpstr>Gazpacho Bold</vt:lpstr>
      <vt:lpstr>Gazpacho Light</vt:lpstr>
      <vt:lpstr>TT Norms Pro</vt:lpstr>
      <vt:lpstr>blank</vt:lpstr>
      <vt:lpstr>HersheyTheme2016</vt:lpstr>
      <vt:lpstr>1_Corporate VIS</vt:lpstr>
      <vt:lpstr>think-cell Slide</vt:lpstr>
      <vt:lpstr>Brian Gouldsbury, Senior Manager, European &amp; WTR Supply Chains</vt:lpstr>
      <vt:lpstr>PowerPoint Presentation</vt:lpstr>
      <vt:lpstr>“Doing Well by Doing Good” A Purpose Driven Workforce Creating Moments of Goodness</vt:lpstr>
      <vt:lpstr>PowerPoint Presentation</vt:lpstr>
      <vt:lpstr>A History of goodness: What Is Unique About The Hershey Company?</vt:lpstr>
      <vt:lpstr>PowerPoint Presentation</vt:lpstr>
      <vt:lpstr>The Milton Hershey School Today: “Greater Together” by continuing to “Do Goo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irez, Jessica Alejandra</dc:creator>
  <cp:lastModifiedBy>Gouldsbury, Brian</cp:lastModifiedBy>
  <cp:revision>12</cp:revision>
  <cp:lastPrinted>2021-09-28T11:48:51Z</cp:lastPrinted>
  <dcterms:created xsi:type="dcterms:W3CDTF">2021-08-25T22:12:17Z</dcterms:created>
  <dcterms:modified xsi:type="dcterms:W3CDTF">2023-05-23T12:3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5EF9BCC512B3469551520E6AB392AE</vt:lpwstr>
  </property>
</Properties>
</file>